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omments/modernComment_7FFFFFFF_DDE68B9B.xml" ContentType="application/vnd.ms-powerpoint.comment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63" r:id="rId4"/>
  </p:sldMasterIdLst>
  <p:notesMasterIdLst>
    <p:notesMasterId r:id="rId23"/>
  </p:notesMasterIdLst>
  <p:handoutMasterIdLst>
    <p:handoutMasterId r:id="rId24"/>
  </p:handoutMasterIdLst>
  <p:sldIdLst>
    <p:sldId id="2147482195" r:id="rId5"/>
    <p:sldId id="262" r:id="rId6"/>
    <p:sldId id="2147482906" r:id="rId7"/>
    <p:sldId id="2147483645" r:id="rId8"/>
    <p:sldId id="2147483647" r:id="rId9"/>
    <p:sldId id="295" r:id="rId10"/>
    <p:sldId id="296" r:id="rId11"/>
    <p:sldId id="297" r:id="rId12"/>
    <p:sldId id="298" r:id="rId13"/>
    <p:sldId id="299" r:id="rId14"/>
    <p:sldId id="300" r:id="rId15"/>
    <p:sldId id="302" r:id="rId16"/>
    <p:sldId id="303" r:id="rId17"/>
    <p:sldId id="2147483646" r:id="rId18"/>
    <p:sldId id="291" r:id="rId19"/>
    <p:sldId id="289" r:id="rId20"/>
    <p:sldId id="294" r:id="rId21"/>
    <p:sldId id="311" r:id="rId2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A9F1683E-FBAA-4624-A610-DA012F5BA6B8}">
          <p14:sldIdLst>
            <p14:sldId id="2147482195"/>
            <p14:sldId id="262"/>
            <p14:sldId id="2147482906"/>
            <p14:sldId id="2147483645"/>
            <p14:sldId id="2147483647"/>
            <p14:sldId id="295"/>
            <p14:sldId id="296"/>
            <p14:sldId id="297"/>
            <p14:sldId id="298"/>
            <p14:sldId id="299"/>
            <p14:sldId id="300"/>
            <p14:sldId id="302"/>
            <p14:sldId id="303"/>
            <p14:sldId id="2147483646"/>
            <p14:sldId id="291"/>
            <p14:sldId id="289"/>
            <p14:sldId id="294"/>
            <p14:sldId id="311"/>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D5FD90F-7CB7-6E72-2B6D-67FD26DCE288}" name="William R Thomas" initials="WRT" userId="S::William.Thomas@ey.com::29e472e7-cdae-40b9-8329-80aad34e7cb7" providerId="AD"/>
  <p188:author id="{BF81FA46-5B0C-7BF2-7B87-784CA5E295B8}" name="Jon L Belteau" initials="JB" userId="S::Jon.Belteau@ey.com::e7354e2b-7de2-4e75-9b32-67d592ec2fe1" providerId="AD"/>
  <p188:author id="{B2EDF357-3C29-0CBC-2776-AA71422CA1C9}" name="William R Thomas" initials="WT" userId="S::william.thomas@ey.com::29e472e7-cdae-40b9-8329-80aad34e7cb7" providerId="AD"/>
  <p188:author id="{D8C8336F-134E-6942-CE8F-29D9BB2EB864}" name="Mindi L Friese" initials="MF" userId="S::Mindi.Friese@ey.com::2c4964ef-2950-4780-bba8-1ca34aa5d13b" providerId="AD"/>
  <p188:author id="{5D804774-3CE1-28B6-2FA1-459E9D00BB28}" name="Harshit Minglani" initials="HM" userId="S::Harshit.Minglani@gds.ey.com::1d189cd3-da50-4f1c-9258-553434572161" providerId="AD"/>
  <p188:author id="{96A2A59F-2D94-82D4-0BE3-2492CD49FB9E}" name="Beth L Kent" initials="BK" userId="S::Elizabeth.Kent@ey.com::b24e450a-ace9-42e2-b75b-bb8194ac63eb" providerId="AD"/>
  <p188:author id="{16FB24AB-5B85-2D17-A224-C728271A9FDE}" name="Suhavni Dhall" initials="SD" userId="S::Suhavni.Dhall@gds.ey.com::8bc4d9cc-71e9-4bfc-8f73-a6c2fccb0300" providerId="AD"/>
  <p188:author id="{061C37AD-497F-CE19-7987-E7384CE57746}" name="Kyle F Baldwin" initials="KB" userId="S::Kyle.F.Baldwin@ey.com::caae9e43-11af-4b0b-874a-9b396dd6fc35" providerId="AD"/>
  <p188:author id="{29B3E9AF-239E-3AA2-03A8-29508B72F5A6}" name="Gauri Suri" initials="GS" userId="S::Gauri.Suri@gds.ey.com::188b5df8-775a-4f03-b7de-0ad80fe23fd2" providerId="AD"/>
  <p188:author id="{141DDCC0-E2FD-0A43-D727-572E44F46B10}" name="John Schaefer" initials="JS" userId="S::John.Schaefer@ey.com::d3442a73-7d3b-4b4d-8b17-98486b99966a" providerId="AD"/>
  <p188:author id="{BFB532C4-A694-867E-1FE9-8C00BAE9AF45}" name="Rosa Song" initials="RS" userId="S::Yang.Song@ey.com::b8a9319a-2c16-4e5d-a914-6cac495c56d9" providerId="AD"/>
  <p188:author id="{842276C5-D6BB-90DD-4321-6A1003596281}" name="Joseph Fonger" initials="JF" userId="S::Joseph.Fonger@ey.com::4ce2650d-f2e0-457d-a37c-d64390b2c207"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4"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C981B2"/>
    <a:srgbClr val="2D2C37"/>
    <a:srgbClr val="2C2C36"/>
    <a:srgbClr val="FFE6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173" autoAdjust="0"/>
    <p:restoredTop sz="87132" autoAdjust="0"/>
  </p:normalViewPr>
  <p:slideViewPr>
    <p:cSldViewPr snapToGrid="0" showGuides="1">
      <p:cViewPr varScale="1">
        <p:scale>
          <a:sx n="95" d="100"/>
          <a:sy n="95" d="100"/>
        </p:scale>
        <p:origin x="462" y="9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seph Fonger" userId="4ce2650d-f2e0-457d-a37c-d64390b2c207" providerId="ADAL" clId="{BD40B240-93AF-449D-9172-E2197442B2E4}"/>
    <pc:docChg chg="modSld">
      <pc:chgData name="Joseph Fonger" userId="4ce2650d-f2e0-457d-a37c-d64390b2c207" providerId="ADAL" clId="{BD40B240-93AF-449D-9172-E2197442B2E4}" dt="2024-10-22T04:20:30.827" v="15" actId="20577"/>
      <pc:docMkLst>
        <pc:docMk/>
      </pc:docMkLst>
      <pc:sldChg chg="modSp mod">
        <pc:chgData name="Joseph Fonger" userId="4ce2650d-f2e0-457d-a37c-d64390b2c207" providerId="ADAL" clId="{BD40B240-93AF-449D-9172-E2197442B2E4}" dt="2024-10-22T04:20:30.827" v="15" actId="20577"/>
        <pc:sldMkLst>
          <pc:docMk/>
          <pc:sldMk cId="3722873755" sldId="2147483647"/>
        </pc:sldMkLst>
        <pc:graphicFrameChg chg="modGraphic">
          <ac:chgData name="Joseph Fonger" userId="4ce2650d-f2e0-457d-a37c-d64390b2c207" providerId="ADAL" clId="{BD40B240-93AF-449D-9172-E2197442B2E4}" dt="2024-10-22T04:20:30.827" v="15" actId="20577"/>
          <ac:graphicFrameMkLst>
            <pc:docMk/>
            <pc:sldMk cId="3722873755" sldId="2147483647"/>
            <ac:graphicFrameMk id="7" creationId="{58BF506E-424C-52C7-BAD7-2C47F7ABD251}"/>
          </ac:graphicFrameMkLst>
        </pc:graphicFrame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solidFill>
                  <a:schemeClr val="bg1"/>
                </a:solidFill>
              </a:rPr>
              <a:t>Oklahoma gross production severance tax (million)</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N$31</c:f>
              <c:strCache>
                <c:ptCount val="1"/>
                <c:pt idx="0">
                  <c:v>Gross Production Severance Tax (million)</c:v>
                </c:pt>
              </c:strCache>
            </c:strRef>
          </c:tx>
          <c:spPr>
            <a:solidFill>
              <a:schemeClr val="accent3"/>
            </a:solidFill>
            <a:ln>
              <a:noFill/>
            </a:ln>
            <a:effectLst/>
          </c:spPr>
          <c:invertIfNegative val="0"/>
          <c:cat>
            <c:numRef>
              <c:f>Sheet1!$M$32:$M$63</c:f>
              <c:numCache>
                <c:formatCode>General</c:formatCode>
                <c:ptCount val="32"/>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numCache>
            </c:numRef>
          </c:cat>
          <c:val>
            <c:numRef>
              <c:f>Sheet1!$O$32:$O$63</c:f>
              <c:numCache>
                <c:formatCode>General</c:formatCode>
                <c:ptCount val="32"/>
                <c:pt idx="0">
                  <c:v>396.01703736000002</c:v>
                </c:pt>
                <c:pt idx="1">
                  <c:v>411.83339882999996</c:v>
                </c:pt>
                <c:pt idx="2">
                  <c:v>352.83353937999999</c:v>
                </c:pt>
                <c:pt idx="3">
                  <c:v>393.92362072000003</c:v>
                </c:pt>
                <c:pt idx="4">
                  <c:v>366.92018564</c:v>
                </c:pt>
                <c:pt idx="5">
                  <c:v>304.82011547000002</c:v>
                </c:pt>
                <c:pt idx="6">
                  <c:v>319.87273361000001</c:v>
                </c:pt>
                <c:pt idx="7">
                  <c:v>407.98418930000003</c:v>
                </c:pt>
                <c:pt idx="8">
                  <c:v>355.20367643999998</c:v>
                </c:pt>
                <c:pt idx="9">
                  <c:v>249.40533004</c:v>
                </c:pt>
                <c:pt idx="10">
                  <c:v>404.79740931999999</c:v>
                </c:pt>
                <c:pt idx="11">
                  <c:v>735.22879037999996</c:v>
                </c:pt>
                <c:pt idx="12">
                  <c:v>411.46671716000003</c:v>
                </c:pt>
                <c:pt idx="13">
                  <c:v>592.89659600999994</c:v>
                </c:pt>
                <c:pt idx="14">
                  <c:v>863.91936654999995</c:v>
                </c:pt>
                <c:pt idx="15">
                  <c:v>1153.0003108699998</c:v>
                </c:pt>
                <c:pt idx="16">
                  <c:v>987.97228522</c:v>
                </c:pt>
                <c:pt idx="17">
                  <c:v>1158.63914486</c:v>
                </c:pt>
                <c:pt idx="18">
                  <c:v>857.47076377999997</c:v>
                </c:pt>
                <c:pt idx="19">
                  <c:v>964.93588360000001</c:v>
                </c:pt>
                <c:pt idx="20">
                  <c:v>882.66037839000001</c:v>
                </c:pt>
                <c:pt idx="21">
                  <c:v>702.50872904999994</c:v>
                </c:pt>
                <c:pt idx="22">
                  <c:v>843.70833399000003</c:v>
                </c:pt>
                <c:pt idx="23">
                  <c:v>683.51735126999995</c:v>
                </c:pt>
                <c:pt idx="24">
                  <c:v>355.90616262000003</c:v>
                </c:pt>
                <c:pt idx="25">
                  <c:v>429.81453605000002</c:v>
                </c:pt>
                <c:pt idx="26">
                  <c:v>683.95507408000003</c:v>
                </c:pt>
                <c:pt idx="27">
                  <c:v>1153.13799505</c:v>
                </c:pt>
                <c:pt idx="28">
                  <c:v>815.68423019000011</c:v>
                </c:pt>
                <c:pt idx="29">
                  <c:v>742.17856516999996</c:v>
                </c:pt>
                <c:pt idx="30">
                  <c:v>1506.52381623</c:v>
                </c:pt>
                <c:pt idx="31">
                  <c:v>1808.5157975699999</c:v>
                </c:pt>
              </c:numCache>
            </c:numRef>
          </c:val>
          <c:extLst>
            <c:ext xmlns:c16="http://schemas.microsoft.com/office/drawing/2014/chart" uri="{C3380CC4-5D6E-409C-BE32-E72D297353CC}">
              <c16:uniqueId val="{00000000-0DBE-440E-ABA7-84688FEE222E}"/>
            </c:ext>
          </c:extLst>
        </c:ser>
        <c:dLbls>
          <c:showLegendKey val="0"/>
          <c:showVal val="0"/>
          <c:showCatName val="0"/>
          <c:showSerName val="0"/>
          <c:showPercent val="0"/>
          <c:showBubbleSize val="0"/>
        </c:dLbls>
        <c:gapWidth val="219"/>
        <c:overlap val="-27"/>
        <c:axId val="2097154991"/>
        <c:axId val="2097156911"/>
      </c:barChart>
      <c:catAx>
        <c:axId val="209715499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2097156911"/>
        <c:crosses val="autoZero"/>
        <c:auto val="1"/>
        <c:lblAlgn val="ctr"/>
        <c:lblOffset val="100"/>
        <c:noMultiLvlLbl val="0"/>
      </c:catAx>
      <c:valAx>
        <c:axId val="2097156911"/>
        <c:scaling>
          <c:orientation val="minMax"/>
        </c:scaling>
        <c:delete val="0"/>
        <c:axPos val="l"/>
        <c:majorGridlines>
          <c:spPr>
            <a:ln w="9525" cap="flat" cmpd="sng" algn="ctr">
              <a:solidFill>
                <a:schemeClr val="tx1">
                  <a:lumMod val="15000"/>
                  <a:lumOff val="85000"/>
                </a:schemeClr>
              </a:solidFill>
              <a:round/>
            </a:ln>
            <a:effectLst/>
          </c:spPr>
        </c:majorGridlines>
        <c:numFmt formatCode="_(&quot;$&quot;* #,##0_);_(&quot;$&quot;* \(#,##0\);_(&quot;$&quot;* &quot;-&quot;_);_(@_)"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209715499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 id="16">
  <a:schemeClr val="accent3"/>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omments/modernComment_7FFFFFFF_DDE68B9B.xml><?xml version="1.0" encoding="utf-8"?>
<p188:cmLst xmlns:a="http://schemas.openxmlformats.org/drawingml/2006/main" xmlns:r="http://schemas.openxmlformats.org/officeDocument/2006/relationships" xmlns:p188="http://schemas.microsoft.com/office/powerpoint/2018/8/main">
  <p188:cm id="{BA2DC29B-F292-420B-AC96-58A03C6DC823}" authorId="{141DDCC0-E2FD-0A43-D727-572E44F46B10}" status="resolved" created="2024-10-21T19:43:52.268" complete="100000">
    <ac:txMkLst xmlns:ac="http://schemas.microsoft.com/office/drawing/2013/main/command">
      <pc:docMk xmlns:pc="http://schemas.microsoft.com/office/powerpoint/2013/main/command"/>
      <pc:sldMk xmlns:pc="http://schemas.microsoft.com/office/powerpoint/2013/main/command" cId="3722873755" sldId="2147483647"/>
      <ac:spMk id="2" creationId="{9BA6BC1C-739C-6400-21BD-8EE8D8F61B75}"/>
      <ac:txMk cp="0" len="5">
        <ac:context len="26" hash="3277492758"/>
      </ac:txMk>
    </ac:txMkLst>
    <p188:pos x="747561" y="234766"/>
    <p188:txBody>
      <a:bodyPr/>
      <a:lstStyle/>
      <a:p>
        <a:r>
          <a:rPr lang="en-US"/>
          <a:t>To keep the states in alphabetical order, Michigan should be ahead of Mississippi and Texas should be ahead of Utah</a:t>
        </a:r>
      </a:p>
    </p188:txBody>
    <p188:extLst>
      <p:ext xmlns:p="http://schemas.openxmlformats.org/presentationml/2006/main" uri="{57CB4572-C831-44C2-8A1C-0ADB6CCDFE69}">
        <p223:reactions xmlns:p223="http://schemas.microsoft.com/office/powerpoint/2022/03/main">
          <p223:rxn type="👍">
            <p223:instance time="2024-10-21T20:05:24.315" authorId="{842276C5-D6BB-90DD-4321-6A1003596281}"/>
          </p223:rxn>
        </p223:reactions>
      </p:ext>
    </p188:extLst>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8FEF042-EC7A-7EA1-1817-E01AA749C704}"/>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A" dirty="0"/>
          </a:p>
        </p:txBody>
      </p:sp>
      <p:sp>
        <p:nvSpPr>
          <p:cNvPr id="3" name="Date Placeholder 2">
            <a:extLst>
              <a:ext uri="{FF2B5EF4-FFF2-40B4-BE49-F238E27FC236}">
                <a16:creationId xmlns:a16="http://schemas.microsoft.com/office/drawing/2014/main" id="{477A732E-6F6E-9E8A-0645-59A6E59AC523}"/>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13C25B2-9B8E-4FAF-A6DB-703BF7F43C37}" type="datetimeFigureOut">
              <a:rPr lang="en-CA" smtClean="0"/>
              <a:t>2024-10-21</a:t>
            </a:fld>
            <a:endParaRPr lang="en-CA" dirty="0"/>
          </a:p>
        </p:txBody>
      </p:sp>
      <p:sp>
        <p:nvSpPr>
          <p:cNvPr id="4" name="Footer Placeholder 3">
            <a:extLst>
              <a:ext uri="{FF2B5EF4-FFF2-40B4-BE49-F238E27FC236}">
                <a16:creationId xmlns:a16="http://schemas.microsoft.com/office/drawing/2014/main" id="{77D110A1-ED3D-17A1-4D9F-616D3913DEE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r>
              <a:rPr lang="en-CA" dirty="0"/>
              <a:t>Responsible AI Training Session #2</a:t>
            </a:r>
          </a:p>
        </p:txBody>
      </p:sp>
      <p:sp>
        <p:nvSpPr>
          <p:cNvPr id="5" name="Slide Number Placeholder 4">
            <a:extLst>
              <a:ext uri="{FF2B5EF4-FFF2-40B4-BE49-F238E27FC236}">
                <a16:creationId xmlns:a16="http://schemas.microsoft.com/office/drawing/2014/main" id="{18B0A91D-AF1E-8F60-1242-DC07C57167C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925BFC4-CFB9-4A3B-B502-FB2F179FC357}" type="slidenum">
              <a:rPr lang="en-CA" smtClean="0"/>
              <a:t>‹#›</a:t>
            </a:fld>
            <a:endParaRPr lang="en-CA" dirty="0"/>
          </a:p>
        </p:txBody>
      </p:sp>
    </p:spTree>
    <p:extLst>
      <p:ext uri="{BB962C8B-B14F-4D97-AF65-F5344CB8AC3E}">
        <p14:creationId xmlns:p14="http://schemas.microsoft.com/office/powerpoint/2010/main" val="1662511180"/>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2B42CA9-D0CC-48D9-8376-B42F37E30F16}" type="datetimeFigureOut">
              <a:rPr lang="en-CA" smtClean="0"/>
              <a:t>2024-10-21</a:t>
            </a:fld>
            <a:endParaRPr lang="en-C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A"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r>
              <a:rPr lang="en-CA" dirty="0"/>
              <a:t>Responsible AI Training Session #2</a:t>
            </a: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34B7297-59EB-40A5-BB5C-1D575AAF2FF9}" type="slidenum">
              <a:rPr lang="en-CA" smtClean="0"/>
              <a:t>‹#›</a:t>
            </a:fld>
            <a:endParaRPr lang="en-CA" dirty="0"/>
          </a:p>
        </p:txBody>
      </p:sp>
    </p:spTree>
    <p:extLst>
      <p:ext uri="{BB962C8B-B14F-4D97-AF65-F5344CB8AC3E}">
        <p14:creationId xmlns:p14="http://schemas.microsoft.com/office/powerpoint/2010/main" val="1344594160"/>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1</a:t>
            </a:fld>
            <a:endParaRPr lang="en-GB" dirty="0"/>
          </a:p>
        </p:txBody>
      </p:sp>
      <p:sp>
        <p:nvSpPr>
          <p:cNvPr id="5" name="Footer Placeholder 4">
            <a:extLst>
              <a:ext uri="{FF2B5EF4-FFF2-40B4-BE49-F238E27FC236}">
                <a16:creationId xmlns:a16="http://schemas.microsoft.com/office/drawing/2014/main" id="{B8C02142-B424-FEA3-B448-79ADAD5B2994}"/>
              </a:ext>
            </a:extLst>
          </p:cNvPr>
          <p:cNvSpPr>
            <a:spLocks noGrp="1"/>
          </p:cNvSpPr>
          <p:nvPr>
            <p:ph type="ftr" sz="quarter" idx="4"/>
          </p:nvPr>
        </p:nvSpPr>
        <p:spPr/>
        <p:txBody>
          <a:bodyPr/>
          <a:lstStyle/>
          <a:p>
            <a:r>
              <a:rPr lang="en-CA" dirty="0"/>
              <a:t>Responsible AI Training Session #2</a:t>
            </a:r>
          </a:p>
        </p:txBody>
      </p:sp>
    </p:spTree>
    <p:extLst>
      <p:ext uri="{BB962C8B-B14F-4D97-AF65-F5344CB8AC3E}">
        <p14:creationId xmlns:p14="http://schemas.microsoft.com/office/powerpoint/2010/main" val="24225566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958850" y="354013"/>
            <a:ext cx="4710113" cy="2649537"/>
          </a:xfrm>
        </p:spPr>
      </p:sp>
      <p:sp>
        <p:nvSpPr>
          <p:cNvPr id="5" name="Notes Placeholder 4"/>
          <p:cNvSpPr>
            <a:spLocks noGrp="1"/>
          </p:cNvSpPr>
          <p:nvPr>
            <p:ph type="body" idx="1"/>
          </p:nvPr>
        </p:nvSpPr>
        <p:spPr/>
        <p:txBody>
          <a:bodyPr>
            <a:normAutofit/>
          </a:bodyPr>
          <a:lstStyle/>
          <a:p>
            <a:endParaRPr lang="en-US" dirty="0"/>
          </a:p>
        </p:txBody>
      </p:sp>
      <p:sp>
        <p:nvSpPr>
          <p:cNvPr id="8" name="Slide Number Placeholder 7"/>
          <p:cNvSpPr>
            <a:spLocks noGrp="1"/>
          </p:cNvSpPr>
          <p:nvPr>
            <p:ph type="sldNum" sz="quarter" idx="12"/>
          </p:nvPr>
        </p:nvSpPr>
        <p:spPr/>
        <p:txBody>
          <a:bodyPr/>
          <a:lstStyle/>
          <a:p>
            <a:fld id="{BDB99F4F-4F92-44CC-AB91-5B2DE14F9F1C}" type="slidenum">
              <a:rPr lang="en-US" smtClean="0">
                <a:solidFill>
                  <a:prstClr val="black"/>
                </a:solidFill>
              </a:rPr>
              <a:pPr/>
              <a:t>2</a:t>
            </a:fld>
            <a:endParaRPr lang="en-US" dirty="0">
              <a:solidFill>
                <a:prstClr val="black"/>
              </a:solidFill>
            </a:endParaRPr>
          </a:p>
        </p:txBody>
      </p:sp>
      <p:sp>
        <p:nvSpPr>
          <p:cNvPr id="2" name="Date Placeholder 1"/>
          <p:cNvSpPr>
            <a:spLocks noGrp="1"/>
          </p:cNvSpPr>
          <p:nvPr>
            <p:ph type="dt" idx="13"/>
          </p:nvPr>
        </p:nvSpPr>
        <p:spPr/>
        <p:txBody>
          <a:bodyPr/>
          <a:lstStyle/>
          <a:p>
            <a:r>
              <a:rPr lang="en-US" dirty="0"/>
              <a:t>11/20/2017</a:t>
            </a:r>
            <a:endParaRPr lang="en-GB" dirty="0"/>
          </a:p>
        </p:txBody>
      </p:sp>
    </p:spTree>
    <p:extLst>
      <p:ext uri="{BB962C8B-B14F-4D97-AF65-F5344CB8AC3E}">
        <p14:creationId xmlns:p14="http://schemas.microsoft.com/office/powerpoint/2010/main" val="14360475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966612">
              <a:defRPr/>
            </a:pPr>
            <a:fld id="{1A88C4C3-1F34-4255-A878-E23B8B0D494B}" type="slidenum">
              <a:rPr lang="en-US">
                <a:solidFill>
                  <a:prstClr val="black"/>
                </a:solidFill>
              </a:rPr>
              <a:pPr defTabSz="966612">
                <a:defRPr/>
              </a:pPr>
              <a:t>3</a:t>
            </a:fld>
            <a:endParaRPr lang="en-US" dirty="0">
              <a:solidFill>
                <a:prstClr val="black"/>
              </a:solidFill>
            </a:endParaRPr>
          </a:p>
        </p:txBody>
      </p:sp>
    </p:spTree>
    <p:extLst>
      <p:ext uri="{BB962C8B-B14F-4D97-AF65-F5344CB8AC3E}">
        <p14:creationId xmlns:p14="http://schemas.microsoft.com/office/powerpoint/2010/main" val="222704536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14.jpeg"/></Relationships>
</file>

<file path=ppt/slideLayouts/_rels/slideLayout11.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15.png"/><Relationship Id="rId1" Type="http://schemas.openxmlformats.org/officeDocument/2006/relationships/slideMaster" Target="../slideMasters/slideMaster1.xml"/><Relationship Id="rId4" Type="http://schemas.openxmlformats.org/officeDocument/2006/relationships/image" Target="../media/image16.jpeg"/></Relationships>
</file>

<file path=ppt/slideLayouts/_rels/slideLayout12.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18.jpeg"/></Relationships>
</file>

<file path=ppt/slideLayouts/_rels/slideLayout13.xml.rels><?xml version="1.0" encoding="UTF-8" standalone="yes"?>
<Relationships xmlns="http://schemas.openxmlformats.org/package/2006/relationships"><Relationship Id="rId3" Type="http://schemas.microsoft.com/office/2007/relationships/hdphoto" Target="../media/hdphoto9.wdp"/><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20.jpeg"/></Relationships>
</file>

<file path=ppt/slideLayouts/_rels/slideLayout14.xml.rels><?xml version="1.0" encoding="UTF-8" standalone="yes"?>
<Relationships xmlns="http://schemas.openxmlformats.org/package/2006/relationships"><Relationship Id="rId3" Type="http://schemas.microsoft.com/office/2007/relationships/hdphoto" Target="../media/hdphoto10.wdp"/><Relationship Id="rId2" Type="http://schemas.openxmlformats.org/officeDocument/2006/relationships/image" Target="../media/image21.png"/><Relationship Id="rId1" Type="http://schemas.openxmlformats.org/officeDocument/2006/relationships/slideMaster" Target="../slideMasters/slideMaster1.xml"/><Relationship Id="rId4" Type="http://schemas.openxmlformats.org/officeDocument/2006/relationships/image" Target="../media/image22.jpeg"/></Relationships>
</file>

<file path=ppt/slideLayouts/_rels/slideLayout15.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10.jpeg"/></Relationships>
</file>

<file path=ppt/slideLayouts/_rels/slideLayout1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12.jpeg"/></Relationships>
</file>

<file path=ppt/slideLayouts/_rels/slideLayout17.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14.jpeg"/></Relationships>
</file>

<file path=ppt/slideLayouts/_rels/slideLayout18.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15.png"/><Relationship Id="rId1" Type="http://schemas.openxmlformats.org/officeDocument/2006/relationships/slideMaster" Target="../slideMasters/slideMaster1.xml"/><Relationship Id="rId4" Type="http://schemas.openxmlformats.org/officeDocument/2006/relationships/image" Target="../media/image16.jpeg"/></Relationships>
</file>

<file path=ppt/slideLayouts/_rels/slideLayout19.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18.jpe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microsoft.com/office/2007/relationships/hdphoto" Target="../media/hdphoto9.wdp"/><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20.jpeg"/></Relationships>
</file>

<file path=ppt/slideLayouts/_rels/slideLayout21.xml.rels><?xml version="1.0" encoding="UTF-8" standalone="yes"?>
<Relationships xmlns="http://schemas.openxmlformats.org/package/2006/relationships"><Relationship Id="rId3" Type="http://schemas.microsoft.com/office/2007/relationships/hdphoto" Target="../media/hdphoto10.wdp"/><Relationship Id="rId2" Type="http://schemas.openxmlformats.org/officeDocument/2006/relationships/image" Target="../media/image21.png"/><Relationship Id="rId1" Type="http://schemas.openxmlformats.org/officeDocument/2006/relationships/slideMaster" Target="../slideMasters/slideMaster1.xml"/><Relationship Id="rId4" Type="http://schemas.openxmlformats.org/officeDocument/2006/relationships/image" Target="../media/image22.jpeg"/></Relationships>
</file>

<file path=ppt/slideLayouts/_rels/slideLayout22.xml.rels><?xml version="1.0" encoding="UTF-8" standalone="yes"?>
<Relationships xmlns="http://schemas.openxmlformats.org/package/2006/relationships"><Relationship Id="rId3" Type="http://schemas.microsoft.com/office/2007/relationships/hdphoto" Target="../media/hdphoto11.wdp"/><Relationship Id="rId2" Type="http://schemas.openxmlformats.org/officeDocument/2006/relationships/image" Target="../media/image23.png"/><Relationship Id="rId1" Type="http://schemas.openxmlformats.org/officeDocument/2006/relationships/slideMaster" Target="../slideMasters/slideMaster1.xml"/><Relationship Id="rId4" Type="http://schemas.openxmlformats.org/officeDocument/2006/relationships/image" Target="../media/image24.jpeg"/></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Master" Target="../slideMasters/slideMaster1.xml"/><Relationship Id="rId4" Type="http://schemas.openxmlformats.org/officeDocument/2006/relationships/image" Target="../media/image28.sv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jpe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jpeg"/></Relationships>
</file>

<file path=ppt/slideLayouts/_rels/slideLayout7.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8.jpeg"/></Relationships>
</file>

<file path=ppt/slideLayouts/_rels/slideLayout8.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10.jpeg"/></Relationships>
</file>

<file path=ppt/slideLayouts/_rels/slideLayout9.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12.jpe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Cover">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7856" y="795662"/>
            <a:ext cx="4927845"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sp>
        <p:nvSpPr>
          <p:cNvPr id="11" name="Title 1"/>
          <p:cNvSpPr>
            <a:spLocks noGrp="1"/>
          </p:cNvSpPr>
          <p:nvPr>
            <p:ph type="ctrTitle"/>
          </p:nvPr>
        </p:nvSpPr>
        <p:spPr>
          <a:xfrm>
            <a:off x="775100" y="1954221"/>
            <a:ext cx="4326679" cy="979702"/>
          </a:xfrm>
        </p:spPr>
        <p:txBody>
          <a:bodyPr/>
          <a:lstStyle>
            <a:lvl1pPr>
              <a:defRPr sz="2999" b="0">
                <a:solidFill>
                  <a:schemeClr val="tx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100" y="3046159"/>
            <a:ext cx="4326679" cy="1046323"/>
          </a:xfrm>
        </p:spPr>
        <p:txBody>
          <a:bodyPr/>
          <a:lstStyle>
            <a:lvl1pPr marL="0" indent="0" algn="l">
              <a:spcAft>
                <a:spcPts val="1199"/>
              </a:spcAft>
              <a:buNone/>
              <a:defRPr sz="1999">
                <a:solidFill>
                  <a:schemeClr val="tx1"/>
                </a:solidFill>
                <a:latin typeface="EYInterstate" panose="02000503020000020004" pitchFamily="2" charset="0"/>
                <a:cs typeface="Arial" pitchFamily="34" charset="0"/>
              </a:defRPr>
            </a:lvl1pPr>
            <a:lvl2pPr marL="0" indent="0" algn="l">
              <a:buNone/>
              <a:defRPr sz="1599" b="1">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2490" y="5709060"/>
            <a:ext cx="8117873"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744" y="5605201"/>
            <a:ext cx="1044529" cy="197581"/>
          </a:xfrm>
          <a:prstGeom prst="rect">
            <a:avLst/>
          </a:prstGeom>
          <a:noFill/>
        </p:spPr>
        <p:txBody>
          <a:bodyPr wrap="square" lIns="0" tIns="0" rIns="0" bIns="0" rtlCol="0" anchor="ctr" anchorCtr="0">
            <a:noAutofit/>
          </a:bodyPr>
          <a:lstStyle/>
          <a:p>
            <a:r>
              <a:rPr lang="en-GB" sz="1199" dirty="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332490" y="6019189"/>
            <a:ext cx="3087667" cy="180000"/>
          </a:xfrm>
        </p:spPr>
        <p:txBody>
          <a:bodyPr/>
          <a:lstStyle>
            <a:lvl1pPr marL="0" indent="0">
              <a:buNone/>
              <a:defRPr sz="1199">
                <a:solidFill>
                  <a:schemeClr val="tx2"/>
                </a:solidFill>
              </a:defRPr>
            </a:lvl1pPr>
          </a:lstStyle>
          <a:p>
            <a:pPr lvl="0"/>
            <a:r>
              <a:rPr lang="en-US"/>
              <a:t>Name Surname</a:t>
            </a:r>
            <a:endParaRPr lang="en-GB"/>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332490" y="6216807"/>
            <a:ext cx="3087667" cy="180000"/>
          </a:xfrm>
        </p:spPr>
        <p:txBody>
          <a:bodyPr/>
          <a:lstStyle>
            <a:lvl1pPr marL="0" indent="0">
              <a:buNone/>
              <a:defRPr sz="1199">
                <a:solidFill>
                  <a:schemeClr val="bg1"/>
                </a:solidFill>
              </a:defRPr>
            </a:lvl1pPr>
          </a:lstStyle>
          <a:p>
            <a:pPr lvl="0"/>
            <a:r>
              <a:rPr lang="en-US"/>
              <a:t>Job Title</a:t>
            </a:r>
            <a:endParaRPr lang="en-GB"/>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p:nvPr>
        </p:nvSpPr>
        <p:spPr>
          <a:xfrm>
            <a:off x="461743" y="5914642"/>
            <a:ext cx="575700" cy="576000"/>
          </a:xfrm>
          <a:prstGeom prst="ellipse">
            <a:avLst/>
          </a:prstGeom>
        </p:spPr>
        <p:txBody>
          <a:bodyPr anchor="ctr"/>
          <a:lstStyle>
            <a:lvl1pPr marL="0" indent="0" algn="ctr">
              <a:buNone/>
              <a:defRPr sz="900">
                <a:solidFill>
                  <a:schemeClr val="bg1"/>
                </a:solidFill>
              </a:defRPr>
            </a:lvl1pPr>
          </a:lstStyle>
          <a:p>
            <a:endParaRPr lang="en-GB" dirty="0"/>
          </a:p>
        </p:txBody>
      </p:sp>
      <p:grpSp>
        <p:nvGrpSpPr>
          <p:cNvPr id="15" name="Group 4">
            <a:extLst>
              <a:ext uri="{FF2B5EF4-FFF2-40B4-BE49-F238E27FC236}">
                <a16:creationId xmlns:a16="http://schemas.microsoft.com/office/drawing/2014/main" id="{6B891F47-1BBE-4926-81DF-B17907D2F8E1}"/>
              </a:ext>
            </a:extLst>
          </p:cNvPr>
          <p:cNvGrpSpPr>
            <a:grpSpLocks noChangeAspect="1"/>
          </p:cNvGrpSpPr>
          <p:nvPr userDrawn="1"/>
        </p:nvGrpSpPr>
        <p:grpSpPr bwMode="auto">
          <a:xfrm>
            <a:off x="10359392" y="4960938"/>
            <a:ext cx="1224912" cy="1435100"/>
            <a:chOff x="6529" y="3125"/>
            <a:chExt cx="772" cy="904"/>
          </a:xfrm>
        </p:grpSpPr>
        <p:sp>
          <p:nvSpPr>
            <p:cNvPr id="17" name="Freeform 5">
              <a:extLst>
                <a:ext uri="{FF2B5EF4-FFF2-40B4-BE49-F238E27FC236}">
                  <a16:creationId xmlns:a16="http://schemas.microsoft.com/office/drawing/2014/main" id="{0A2A4AEF-C603-4360-9387-8879E71862A6}"/>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8" name="Freeform 6">
              <a:extLst>
                <a:ext uri="{FF2B5EF4-FFF2-40B4-BE49-F238E27FC236}">
                  <a16:creationId xmlns:a16="http://schemas.microsoft.com/office/drawing/2014/main" id="{54797EE6-BAEA-4DA7-95C2-6B09B77D317C}"/>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grpSp>
    </p:spTree>
    <p:extLst>
      <p:ext uri="{BB962C8B-B14F-4D97-AF65-F5344CB8AC3E}">
        <p14:creationId xmlns:p14="http://schemas.microsoft.com/office/powerpoint/2010/main" val="4202221761"/>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0_Standard slide_no bullet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8643B9-646F-79E1-3DA1-3EA89A90BF69}"/>
              </a:ext>
            </a:extLst>
          </p:cNvPr>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 name="Rectangle 5">
            <a:extLst>
              <a:ext uri="{FF2B5EF4-FFF2-40B4-BE49-F238E27FC236}">
                <a16:creationId xmlns:a16="http://schemas.microsoft.com/office/drawing/2014/main" id="{052D7209-0328-C2D1-5E61-32FAB18EF5A8}"/>
              </a:ext>
            </a:extLst>
          </p:cNvPr>
          <p:cNvSpPr>
            <a:spLocks/>
          </p:cNvSpPr>
          <p:nvPr userDrawn="1"/>
        </p:nvSpPr>
        <p:spPr>
          <a:xfrm>
            <a:off x="-1" y="0"/>
            <a:ext cx="12192001" cy="6858000"/>
          </a:xfrm>
          <a:prstGeom prst="rect">
            <a:avLst/>
          </a:prstGeom>
          <a:solidFill>
            <a:srgbClr val="2E2E38">
              <a:alpha val="80000"/>
            </a:srgb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grpSp>
        <p:nvGrpSpPr>
          <p:cNvPr id="7" name="Group 4">
            <a:extLst>
              <a:ext uri="{FF2B5EF4-FFF2-40B4-BE49-F238E27FC236}">
                <a16:creationId xmlns:a16="http://schemas.microsoft.com/office/drawing/2014/main" id="{61F27248-8723-A061-1F09-A6BC142B502F}"/>
              </a:ext>
            </a:extLst>
          </p:cNvPr>
          <p:cNvGrpSpPr>
            <a:grpSpLocks noChangeAspect="1"/>
          </p:cNvGrpSpPr>
          <p:nvPr userDrawn="1"/>
        </p:nvGrpSpPr>
        <p:grpSpPr bwMode="auto">
          <a:xfrm>
            <a:off x="11281250" y="153981"/>
            <a:ext cx="303055" cy="311150"/>
            <a:chOff x="7110" y="4004"/>
            <a:chExt cx="191" cy="196"/>
          </a:xfrm>
        </p:grpSpPr>
        <p:sp>
          <p:nvSpPr>
            <p:cNvPr id="8" name="Freeform 5">
              <a:extLst>
                <a:ext uri="{FF2B5EF4-FFF2-40B4-BE49-F238E27FC236}">
                  <a16:creationId xmlns:a16="http://schemas.microsoft.com/office/drawing/2014/main" id="{AFAD10C3-B6B6-E271-AAFB-FC8007A4665A}"/>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9" name="Freeform 6">
              <a:extLst>
                <a:ext uri="{FF2B5EF4-FFF2-40B4-BE49-F238E27FC236}">
                  <a16:creationId xmlns:a16="http://schemas.microsoft.com/office/drawing/2014/main" id="{FA670CFE-FAD4-4CFE-09D0-22FF337222C0}"/>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0" name="Freeform 7">
              <a:extLst>
                <a:ext uri="{FF2B5EF4-FFF2-40B4-BE49-F238E27FC236}">
                  <a16:creationId xmlns:a16="http://schemas.microsoft.com/office/drawing/2014/main" id="{9A8B8770-0AA6-69D3-F20A-7C3D09A4CD12}"/>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grpSp>
      <p:sp>
        <p:nvSpPr>
          <p:cNvPr id="11" name="Slide Number Placeholder 4">
            <a:extLst>
              <a:ext uri="{FF2B5EF4-FFF2-40B4-BE49-F238E27FC236}">
                <a16:creationId xmlns:a16="http://schemas.microsoft.com/office/drawing/2014/main" id="{7C98785B-0FE0-DE9A-DFA3-90431F55072D}"/>
              </a:ext>
            </a:extLst>
          </p:cNvPr>
          <p:cNvSpPr txBox="1">
            <a:spLocks/>
          </p:cNvSpPr>
          <p:nvPr userDrawn="1"/>
        </p:nvSpPr>
        <p:spPr>
          <a:xfrm>
            <a:off x="181210" y="271070"/>
            <a:ext cx="303055" cy="180000"/>
          </a:xfrm>
          <a:prstGeom prst="rect">
            <a:avLst/>
          </a:prstGeom>
        </p:spPr>
        <p:txBody>
          <a:bodyPr lIns="0" rIns="0" anchor="ctr" anchorCtr="0"/>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fld id="{D5B76411-544C-4F9A-8EDE-9EEB2BD21F95}" type="slidenum">
              <a:rPr lang="en-IN" sz="1000" smtClean="0"/>
              <a:pPr lvl="0" algn="ctr"/>
              <a:t>‹#›</a:t>
            </a:fld>
            <a:endParaRPr sz="1000" dirty="0"/>
          </a:p>
        </p:txBody>
      </p:sp>
      <p:sp>
        <p:nvSpPr>
          <p:cNvPr id="12" name="Slide Number Placeholder 4">
            <a:extLst>
              <a:ext uri="{FF2B5EF4-FFF2-40B4-BE49-F238E27FC236}">
                <a16:creationId xmlns:a16="http://schemas.microsoft.com/office/drawing/2014/main" id="{07DF00E3-9491-22E1-4A7D-C6B77C9259FE}"/>
              </a:ext>
            </a:extLst>
          </p:cNvPr>
          <p:cNvSpPr txBox="1">
            <a:spLocks/>
          </p:cNvSpPr>
          <p:nvPr userDrawn="1"/>
        </p:nvSpPr>
        <p:spPr>
          <a:xfrm>
            <a:off x="607695" y="265106"/>
            <a:ext cx="1205465" cy="180000"/>
          </a:xfrm>
          <a:prstGeom prst="rect">
            <a:avLst/>
          </a:prstGeom>
        </p:spPr>
        <p:txBody>
          <a:bodyPr lIns="0" rIns="0" anchor="ctr" anchorCtr="0"/>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l"/>
            <a:r>
              <a:rPr lang="en-IN" sz="800" dirty="0">
                <a:latin typeface="+mn-lt"/>
              </a:rPr>
              <a:t>WBA AI Training Part 2</a:t>
            </a:r>
            <a:endParaRPr sz="800" dirty="0">
              <a:latin typeface="+mn-lt"/>
            </a:endParaRPr>
          </a:p>
        </p:txBody>
      </p:sp>
      <p:sp>
        <p:nvSpPr>
          <p:cNvPr id="13" name="Oval 12">
            <a:extLst>
              <a:ext uri="{FF2B5EF4-FFF2-40B4-BE49-F238E27FC236}">
                <a16:creationId xmlns:a16="http://schemas.microsoft.com/office/drawing/2014/main" id="{48F9197D-9A7D-F47E-A212-07218D62091F}"/>
              </a:ext>
            </a:extLst>
          </p:cNvPr>
          <p:cNvSpPr/>
          <p:nvPr userDrawn="1"/>
        </p:nvSpPr>
        <p:spPr>
          <a:xfrm>
            <a:off x="177400" y="209543"/>
            <a:ext cx="303055" cy="303055"/>
          </a:xfrm>
          <a:prstGeom prst="ellipse">
            <a:avLst/>
          </a:prstGeom>
          <a:noFill/>
          <a:ln w="9525" cap="flat" cmpd="sng" algn="ctr">
            <a:solidFill>
              <a:srgbClr val="C4C4C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cxnSp>
        <p:nvCxnSpPr>
          <p:cNvPr id="14" name="Straight Connector 13">
            <a:extLst>
              <a:ext uri="{FF2B5EF4-FFF2-40B4-BE49-F238E27FC236}">
                <a16:creationId xmlns:a16="http://schemas.microsoft.com/office/drawing/2014/main" id="{44086518-99D4-F8D8-56FA-B4163975CBD1}"/>
              </a:ext>
            </a:extLst>
          </p:cNvPr>
          <p:cNvCxnSpPr>
            <a:cxnSpLocks/>
            <a:stCxn id="12" idx="3"/>
          </p:cNvCxnSpPr>
          <p:nvPr userDrawn="1"/>
        </p:nvCxnSpPr>
        <p:spPr>
          <a:xfrm>
            <a:off x="1813160" y="355106"/>
            <a:ext cx="9211011" cy="0"/>
          </a:xfrm>
          <a:prstGeom prst="line">
            <a:avLst/>
          </a:prstGeom>
          <a:ln w="6350" cap="flat" cmpd="sng" algn="ctr">
            <a:solidFill>
              <a:schemeClr val="bg1">
                <a:alpha val="5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01F9A1B-E3DA-A3D8-78B2-46C984EA2108}"/>
              </a:ext>
            </a:extLst>
          </p:cNvPr>
          <p:cNvCxnSpPr>
            <a:cxnSpLocks/>
          </p:cNvCxnSpPr>
          <p:nvPr userDrawn="1"/>
        </p:nvCxnSpPr>
        <p:spPr>
          <a:xfrm>
            <a:off x="614896" y="3255007"/>
            <a:ext cx="917498" cy="0"/>
          </a:xfrm>
          <a:prstGeom prst="line">
            <a:avLst/>
          </a:prstGeom>
          <a:ln w="25400" cap="rnd" cmpd="sng" algn="ctr">
            <a:solidFill>
              <a:srgbClr val="FFE60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614896" y="3385837"/>
            <a:ext cx="4917223" cy="2026983"/>
          </a:xfrm>
        </p:spPr>
        <p:txBody>
          <a:bodyPr vert="horz" lIns="0" tIns="0" rIns="0" bIns="0" rtlCol="0" anchor="t" anchorCtr="0">
            <a:noAutofit/>
          </a:bodyPr>
          <a:lstStyle>
            <a:lvl1pPr marL="0" indent="0">
              <a:buNone/>
              <a:defRPr kumimoji="0" lang="en-IN" sz="3600"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a:t>Chapter Title</a:t>
            </a:r>
            <a:endParaRPr lang="en-IN"/>
          </a:p>
        </p:txBody>
      </p:sp>
      <p:sp>
        <p:nvSpPr>
          <p:cNvPr id="19" name="Text Placeholder 4">
            <a:extLst>
              <a:ext uri="{FF2B5EF4-FFF2-40B4-BE49-F238E27FC236}">
                <a16:creationId xmlns:a16="http://schemas.microsoft.com/office/drawing/2014/main" id="{0649E384-B5E1-4FEF-DCD0-1FFA17318775}"/>
              </a:ext>
            </a:extLst>
          </p:cNvPr>
          <p:cNvSpPr>
            <a:spLocks noGrp="1"/>
          </p:cNvSpPr>
          <p:nvPr>
            <p:ph type="body" sz="quarter" idx="11" hasCustomPrompt="1"/>
          </p:nvPr>
        </p:nvSpPr>
        <p:spPr>
          <a:xfrm>
            <a:off x="589407" y="1616122"/>
            <a:ext cx="1489230" cy="1769715"/>
          </a:xfrm>
        </p:spPr>
        <p:txBody>
          <a:bodyPr vert="horz" wrap="square" lIns="0" tIns="0" rIns="0" bIns="0" rtlCol="0" anchor="t" anchorCtr="0">
            <a:spAutoFit/>
          </a:bodyPr>
          <a:lstStyle>
            <a:lvl1pPr marL="0" indent="0">
              <a:buNone/>
              <a:defRPr kumimoji="0" lang="en-IN" sz="11500" b="1" i="0" u="none" strike="noStrike" cap="none" spc="0" normalizeH="0" baseline="0" dirty="0">
                <a:ln w="6350">
                  <a:solidFill>
                    <a:schemeClr val="bg1">
                      <a:alpha val="50000"/>
                    </a:schemeClr>
                  </a:solidFill>
                </a:ln>
                <a:no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a:t>6</a:t>
            </a:r>
            <a:endParaRPr lang="en-IN"/>
          </a:p>
        </p:txBody>
      </p:sp>
      <p:grpSp>
        <p:nvGrpSpPr>
          <p:cNvPr id="2" name="Group 1">
            <a:extLst>
              <a:ext uri="{FF2B5EF4-FFF2-40B4-BE49-F238E27FC236}">
                <a16:creationId xmlns:a16="http://schemas.microsoft.com/office/drawing/2014/main" id="{263A9E44-A3C3-7442-B48B-1A8863882FFF}"/>
              </a:ext>
            </a:extLst>
          </p:cNvPr>
          <p:cNvGrpSpPr/>
          <p:nvPr userDrawn="1"/>
        </p:nvGrpSpPr>
        <p:grpSpPr>
          <a:xfrm>
            <a:off x="5956278" y="792396"/>
            <a:ext cx="5582014" cy="5582014"/>
            <a:chOff x="6464300" y="894962"/>
            <a:chExt cx="7835726" cy="7835726"/>
          </a:xfrm>
        </p:grpSpPr>
        <p:sp>
          <p:nvSpPr>
            <p:cNvPr id="18" name="Oval 17">
              <a:extLst>
                <a:ext uri="{FF2B5EF4-FFF2-40B4-BE49-F238E27FC236}">
                  <a16:creationId xmlns:a16="http://schemas.microsoft.com/office/drawing/2014/main" id="{9B8F27CF-46E2-90E4-F87F-22C878EF9006}"/>
                </a:ext>
              </a:extLst>
            </p:cNvPr>
            <p:cNvSpPr/>
            <p:nvPr userDrawn="1"/>
          </p:nvSpPr>
          <p:spPr>
            <a:xfrm>
              <a:off x="6464300" y="894962"/>
              <a:ext cx="7835726" cy="7835726"/>
            </a:xfrm>
            <a:prstGeom prst="ellipse">
              <a:avLst/>
            </a:prstGeom>
            <a:solidFill>
              <a:srgbClr val="2E2E38">
                <a:alpha val="80000"/>
              </a:srgbClr>
            </a:solidFill>
            <a:ln w="9525" cap="flat" cmpd="sng" algn="ctr">
              <a:solidFill>
                <a:srgbClr val="FFE600"/>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pic>
          <p:nvPicPr>
            <p:cNvPr id="4" name="Picture 3">
              <a:extLst>
                <a:ext uri="{FF2B5EF4-FFF2-40B4-BE49-F238E27FC236}">
                  <a16:creationId xmlns:a16="http://schemas.microsoft.com/office/drawing/2014/main" id="{76D08DC6-2B8D-2FEA-2201-6D1F3A3D6893}"/>
                </a:ext>
              </a:extLst>
            </p:cNvPr>
            <p:cNvPicPr>
              <a:picLocks/>
            </p:cNvPicPr>
            <p:nvPr userDrawn="1"/>
          </p:nvPicPr>
          <p:blipFill rotWithShape="1">
            <a:blip r:embed="rId4" cstate="screen">
              <a:extLst>
                <a:ext uri="{28A0092B-C50C-407E-A947-70E740481C1C}">
                  <a14:useLocalDpi xmlns:a14="http://schemas.microsoft.com/office/drawing/2010/main"/>
                </a:ext>
              </a:extLst>
            </a:blip>
            <a:srcRect/>
            <a:stretch/>
          </p:blipFill>
          <p:spPr>
            <a:xfrm>
              <a:off x="6641926" y="1072588"/>
              <a:ext cx="7480475" cy="7480475"/>
            </a:xfrm>
            <a:prstGeom prst="ellipse">
              <a:avLst/>
            </a:prstGeom>
          </p:spPr>
        </p:pic>
      </p:grpSp>
      <p:cxnSp>
        <p:nvCxnSpPr>
          <p:cNvPr id="20" name="Straight Connector 19">
            <a:extLst>
              <a:ext uri="{FF2B5EF4-FFF2-40B4-BE49-F238E27FC236}">
                <a16:creationId xmlns:a16="http://schemas.microsoft.com/office/drawing/2014/main" id="{5A603F3F-FC68-200F-D97F-73D6849306BF}"/>
              </a:ext>
            </a:extLst>
          </p:cNvPr>
          <p:cNvCxnSpPr>
            <a:cxnSpLocks/>
          </p:cNvCxnSpPr>
          <p:nvPr userDrawn="1"/>
        </p:nvCxnSpPr>
        <p:spPr>
          <a:xfrm>
            <a:off x="0" y="6741392"/>
            <a:ext cx="12191999" cy="0"/>
          </a:xfrm>
          <a:prstGeom prst="line">
            <a:avLst/>
          </a:prstGeom>
          <a:ln w="6350" cap="flat" cmpd="sng" algn="ctr">
            <a:solidFill>
              <a:schemeClr val="bg1">
                <a:alpha val="3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C7238D5-9936-D4BD-4B49-EE54632862D3}"/>
              </a:ext>
            </a:extLst>
          </p:cNvPr>
          <p:cNvCxnSpPr>
            <a:cxnSpLocks/>
          </p:cNvCxnSpPr>
          <p:nvPr userDrawn="1"/>
        </p:nvCxnSpPr>
        <p:spPr>
          <a:xfrm>
            <a:off x="5887092" y="6741392"/>
            <a:ext cx="417816" cy="0"/>
          </a:xfrm>
          <a:prstGeom prst="line">
            <a:avLst/>
          </a:prstGeom>
          <a:ln w="15875" cap="flat" cmpd="sng" algn="ctr">
            <a:solidFill>
              <a:srgbClr val="74748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024016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9_Standard slide_no bullet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8643B9-646F-79E1-3DA1-3EA89A90BF69}"/>
              </a:ext>
            </a:extLst>
          </p:cNvPr>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 name="Rectangle 5">
            <a:extLst>
              <a:ext uri="{FF2B5EF4-FFF2-40B4-BE49-F238E27FC236}">
                <a16:creationId xmlns:a16="http://schemas.microsoft.com/office/drawing/2014/main" id="{052D7209-0328-C2D1-5E61-32FAB18EF5A8}"/>
              </a:ext>
            </a:extLst>
          </p:cNvPr>
          <p:cNvSpPr>
            <a:spLocks/>
          </p:cNvSpPr>
          <p:nvPr userDrawn="1"/>
        </p:nvSpPr>
        <p:spPr>
          <a:xfrm>
            <a:off x="-1" y="0"/>
            <a:ext cx="12192000" cy="6858000"/>
          </a:xfrm>
          <a:prstGeom prst="rect">
            <a:avLst/>
          </a:prstGeom>
          <a:solidFill>
            <a:srgbClr val="2E2E38">
              <a:alpha val="80000"/>
            </a:srgb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grpSp>
        <p:nvGrpSpPr>
          <p:cNvPr id="7" name="Group 4">
            <a:extLst>
              <a:ext uri="{FF2B5EF4-FFF2-40B4-BE49-F238E27FC236}">
                <a16:creationId xmlns:a16="http://schemas.microsoft.com/office/drawing/2014/main" id="{61F27248-8723-A061-1F09-A6BC142B502F}"/>
              </a:ext>
            </a:extLst>
          </p:cNvPr>
          <p:cNvGrpSpPr>
            <a:grpSpLocks noChangeAspect="1"/>
          </p:cNvGrpSpPr>
          <p:nvPr userDrawn="1"/>
        </p:nvGrpSpPr>
        <p:grpSpPr bwMode="auto">
          <a:xfrm>
            <a:off x="11281250" y="153981"/>
            <a:ext cx="303055" cy="311150"/>
            <a:chOff x="7110" y="4004"/>
            <a:chExt cx="191" cy="196"/>
          </a:xfrm>
        </p:grpSpPr>
        <p:sp>
          <p:nvSpPr>
            <p:cNvPr id="8" name="Freeform 5">
              <a:extLst>
                <a:ext uri="{FF2B5EF4-FFF2-40B4-BE49-F238E27FC236}">
                  <a16:creationId xmlns:a16="http://schemas.microsoft.com/office/drawing/2014/main" id="{AFAD10C3-B6B6-E271-AAFB-FC8007A4665A}"/>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9" name="Freeform 6">
              <a:extLst>
                <a:ext uri="{FF2B5EF4-FFF2-40B4-BE49-F238E27FC236}">
                  <a16:creationId xmlns:a16="http://schemas.microsoft.com/office/drawing/2014/main" id="{FA670CFE-FAD4-4CFE-09D0-22FF337222C0}"/>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0" name="Freeform 7">
              <a:extLst>
                <a:ext uri="{FF2B5EF4-FFF2-40B4-BE49-F238E27FC236}">
                  <a16:creationId xmlns:a16="http://schemas.microsoft.com/office/drawing/2014/main" id="{9A8B8770-0AA6-69D3-F20A-7C3D09A4CD12}"/>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grpSp>
      <p:sp>
        <p:nvSpPr>
          <p:cNvPr id="11" name="Slide Number Placeholder 4">
            <a:extLst>
              <a:ext uri="{FF2B5EF4-FFF2-40B4-BE49-F238E27FC236}">
                <a16:creationId xmlns:a16="http://schemas.microsoft.com/office/drawing/2014/main" id="{7C98785B-0FE0-DE9A-DFA3-90431F55072D}"/>
              </a:ext>
            </a:extLst>
          </p:cNvPr>
          <p:cNvSpPr txBox="1">
            <a:spLocks/>
          </p:cNvSpPr>
          <p:nvPr userDrawn="1"/>
        </p:nvSpPr>
        <p:spPr>
          <a:xfrm>
            <a:off x="181210" y="271070"/>
            <a:ext cx="303055" cy="180000"/>
          </a:xfrm>
          <a:prstGeom prst="rect">
            <a:avLst/>
          </a:prstGeom>
        </p:spPr>
        <p:txBody>
          <a:bodyPr lIns="0" rIns="0" anchor="ctr" anchorCtr="0"/>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fld id="{D5B76411-544C-4F9A-8EDE-9EEB2BD21F95}" type="slidenum">
              <a:rPr lang="en-IN" sz="1000" smtClean="0"/>
              <a:pPr lvl="0" algn="ctr"/>
              <a:t>‹#›</a:t>
            </a:fld>
            <a:endParaRPr sz="1000" dirty="0"/>
          </a:p>
        </p:txBody>
      </p:sp>
      <p:sp>
        <p:nvSpPr>
          <p:cNvPr id="12" name="Slide Number Placeholder 4">
            <a:extLst>
              <a:ext uri="{FF2B5EF4-FFF2-40B4-BE49-F238E27FC236}">
                <a16:creationId xmlns:a16="http://schemas.microsoft.com/office/drawing/2014/main" id="{07DF00E3-9491-22E1-4A7D-C6B77C9259FE}"/>
              </a:ext>
            </a:extLst>
          </p:cNvPr>
          <p:cNvSpPr txBox="1">
            <a:spLocks/>
          </p:cNvSpPr>
          <p:nvPr userDrawn="1"/>
        </p:nvSpPr>
        <p:spPr>
          <a:xfrm>
            <a:off x="607695" y="265106"/>
            <a:ext cx="1205465" cy="180000"/>
          </a:xfrm>
          <a:prstGeom prst="rect">
            <a:avLst/>
          </a:prstGeom>
        </p:spPr>
        <p:txBody>
          <a:bodyPr lIns="0" rIns="0" anchor="ctr" anchorCtr="0"/>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l"/>
            <a:r>
              <a:rPr lang="en-IN" sz="800" dirty="0">
                <a:latin typeface="+mn-lt"/>
              </a:rPr>
              <a:t>WBA AI Training Part 2</a:t>
            </a:r>
            <a:endParaRPr sz="800" dirty="0">
              <a:latin typeface="+mn-lt"/>
            </a:endParaRPr>
          </a:p>
        </p:txBody>
      </p:sp>
      <p:sp>
        <p:nvSpPr>
          <p:cNvPr id="13" name="Oval 12">
            <a:extLst>
              <a:ext uri="{FF2B5EF4-FFF2-40B4-BE49-F238E27FC236}">
                <a16:creationId xmlns:a16="http://schemas.microsoft.com/office/drawing/2014/main" id="{48F9197D-9A7D-F47E-A212-07218D62091F}"/>
              </a:ext>
            </a:extLst>
          </p:cNvPr>
          <p:cNvSpPr/>
          <p:nvPr userDrawn="1"/>
        </p:nvSpPr>
        <p:spPr>
          <a:xfrm>
            <a:off x="177400" y="209543"/>
            <a:ext cx="303055" cy="303055"/>
          </a:xfrm>
          <a:prstGeom prst="ellipse">
            <a:avLst/>
          </a:prstGeom>
          <a:noFill/>
          <a:ln w="9525" cap="flat" cmpd="sng" algn="ctr">
            <a:solidFill>
              <a:srgbClr val="C4C4C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cxnSp>
        <p:nvCxnSpPr>
          <p:cNvPr id="14" name="Straight Connector 13">
            <a:extLst>
              <a:ext uri="{FF2B5EF4-FFF2-40B4-BE49-F238E27FC236}">
                <a16:creationId xmlns:a16="http://schemas.microsoft.com/office/drawing/2014/main" id="{44086518-99D4-F8D8-56FA-B4163975CBD1}"/>
              </a:ext>
            </a:extLst>
          </p:cNvPr>
          <p:cNvCxnSpPr>
            <a:cxnSpLocks/>
            <a:stCxn id="12" idx="3"/>
          </p:cNvCxnSpPr>
          <p:nvPr userDrawn="1"/>
        </p:nvCxnSpPr>
        <p:spPr>
          <a:xfrm>
            <a:off x="1813160" y="355106"/>
            <a:ext cx="9211011" cy="0"/>
          </a:xfrm>
          <a:prstGeom prst="line">
            <a:avLst/>
          </a:prstGeom>
          <a:ln w="6350" cap="flat" cmpd="sng" algn="ctr">
            <a:solidFill>
              <a:schemeClr val="bg1">
                <a:alpha val="5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01F9A1B-E3DA-A3D8-78B2-46C984EA2108}"/>
              </a:ext>
            </a:extLst>
          </p:cNvPr>
          <p:cNvCxnSpPr>
            <a:cxnSpLocks/>
          </p:cNvCxnSpPr>
          <p:nvPr userDrawn="1"/>
        </p:nvCxnSpPr>
        <p:spPr>
          <a:xfrm>
            <a:off x="614896" y="3255007"/>
            <a:ext cx="917498" cy="0"/>
          </a:xfrm>
          <a:prstGeom prst="line">
            <a:avLst/>
          </a:prstGeom>
          <a:ln w="25400" cap="rnd" cmpd="sng" algn="ctr">
            <a:solidFill>
              <a:srgbClr val="FFE60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614896" y="3385837"/>
            <a:ext cx="4917223" cy="2026983"/>
          </a:xfrm>
        </p:spPr>
        <p:txBody>
          <a:bodyPr vert="horz" lIns="0" tIns="0" rIns="0" bIns="0" rtlCol="0" anchor="t" anchorCtr="0">
            <a:noAutofit/>
          </a:bodyPr>
          <a:lstStyle>
            <a:lvl1pPr marL="0" indent="0">
              <a:buNone/>
              <a:defRPr kumimoji="0" lang="en-IN" sz="3600"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a:t>Chapter Title</a:t>
            </a:r>
            <a:endParaRPr lang="en-IN"/>
          </a:p>
        </p:txBody>
      </p:sp>
      <p:sp>
        <p:nvSpPr>
          <p:cNvPr id="19" name="Text Placeholder 4">
            <a:extLst>
              <a:ext uri="{FF2B5EF4-FFF2-40B4-BE49-F238E27FC236}">
                <a16:creationId xmlns:a16="http://schemas.microsoft.com/office/drawing/2014/main" id="{0649E384-B5E1-4FEF-DCD0-1FFA17318775}"/>
              </a:ext>
            </a:extLst>
          </p:cNvPr>
          <p:cNvSpPr>
            <a:spLocks noGrp="1"/>
          </p:cNvSpPr>
          <p:nvPr>
            <p:ph type="body" sz="quarter" idx="11" hasCustomPrompt="1"/>
          </p:nvPr>
        </p:nvSpPr>
        <p:spPr>
          <a:xfrm>
            <a:off x="589407" y="1616122"/>
            <a:ext cx="1489230" cy="1769715"/>
          </a:xfrm>
        </p:spPr>
        <p:txBody>
          <a:bodyPr vert="horz" wrap="square" lIns="0" tIns="0" rIns="0" bIns="0" rtlCol="0" anchor="t" anchorCtr="0">
            <a:spAutoFit/>
          </a:bodyPr>
          <a:lstStyle>
            <a:lvl1pPr marL="0" indent="0">
              <a:buNone/>
              <a:defRPr kumimoji="0" lang="en-IN" sz="11500" b="1" i="0" u="none" strike="noStrike" cap="none" spc="0" normalizeH="0" baseline="0" dirty="0">
                <a:ln w="6350">
                  <a:solidFill>
                    <a:schemeClr val="bg1">
                      <a:alpha val="50000"/>
                    </a:schemeClr>
                  </a:solidFill>
                </a:ln>
                <a:no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a:t>7</a:t>
            </a:r>
            <a:endParaRPr lang="en-IN"/>
          </a:p>
        </p:txBody>
      </p:sp>
      <p:grpSp>
        <p:nvGrpSpPr>
          <p:cNvPr id="2" name="Group 1">
            <a:extLst>
              <a:ext uri="{FF2B5EF4-FFF2-40B4-BE49-F238E27FC236}">
                <a16:creationId xmlns:a16="http://schemas.microsoft.com/office/drawing/2014/main" id="{263A9E44-A3C3-7442-B48B-1A8863882FFF}"/>
              </a:ext>
            </a:extLst>
          </p:cNvPr>
          <p:cNvGrpSpPr/>
          <p:nvPr userDrawn="1"/>
        </p:nvGrpSpPr>
        <p:grpSpPr>
          <a:xfrm>
            <a:off x="5956278" y="792396"/>
            <a:ext cx="5582014" cy="5582014"/>
            <a:chOff x="6464300" y="894962"/>
            <a:chExt cx="7835726" cy="7835726"/>
          </a:xfrm>
        </p:grpSpPr>
        <p:sp>
          <p:nvSpPr>
            <p:cNvPr id="18" name="Oval 17">
              <a:extLst>
                <a:ext uri="{FF2B5EF4-FFF2-40B4-BE49-F238E27FC236}">
                  <a16:creationId xmlns:a16="http://schemas.microsoft.com/office/drawing/2014/main" id="{9B8F27CF-46E2-90E4-F87F-22C878EF9006}"/>
                </a:ext>
              </a:extLst>
            </p:cNvPr>
            <p:cNvSpPr/>
            <p:nvPr userDrawn="1"/>
          </p:nvSpPr>
          <p:spPr>
            <a:xfrm>
              <a:off x="6464300" y="894962"/>
              <a:ext cx="7835726" cy="7835726"/>
            </a:xfrm>
            <a:prstGeom prst="ellipse">
              <a:avLst/>
            </a:prstGeom>
            <a:solidFill>
              <a:srgbClr val="2E2E38">
                <a:alpha val="80000"/>
              </a:srgbClr>
            </a:solidFill>
            <a:ln w="9525" cap="flat" cmpd="sng" algn="ctr">
              <a:solidFill>
                <a:srgbClr val="FFE600"/>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pic>
          <p:nvPicPr>
            <p:cNvPr id="4" name="Picture 3">
              <a:extLst>
                <a:ext uri="{FF2B5EF4-FFF2-40B4-BE49-F238E27FC236}">
                  <a16:creationId xmlns:a16="http://schemas.microsoft.com/office/drawing/2014/main" id="{76D08DC6-2B8D-2FEA-2201-6D1F3A3D6893}"/>
                </a:ext>
              </a:extLst>
            </p:cNvPr>
            <p:cNvPicPr>
              <a:picLocks/>
            </p:cNvPicPr>
            <p:nvPr userDrawn="1"/>
          </p:nvPicPr>
          <p:blipFill>
            <a:blip r:embed="rId4" cstate="screen">
              <a:extLst>
                <a:ext uri="{28A0092B-C50C-407E-A947-70E740481C1C}">
                  <a14:useLocalDpi xmlns:a14="http://schemas.microsoft.com/office/drawing/2010/main"/>
                </a:ext>
              </a:extLst>
            </a:blip>
            <a:srcRect/>
            <a:stretch/>
          </p:blipFill>
          <p:spPr>
            <a:xfrm>
              <a:off x="6641926" y="1072588"/>
              <a:ext cx="7480475" cy="7480475"/>
            </a:xfrm>
            <a:prstGeom prst="ellipse">
              <a:avLst/>
            </a:prstGeom>
          </p:spPr>
        </p:pic>
      </p:grpSp>
      <p:cxnSp>
        <p:nvCxnSpPr>
          <p:cNvPr id="20" name="Straight Connector 19">
            <a:extLst>
              <a:ext uri="{FF2B5EF4-FFF2-40B4-BE49-F238E27FC236}">
                <a16:creationId xmlns:a16="http://schemas.microsoft.com/office/drawing/2014/main" id="{FED077BB-3D96-876C-0BC3-97F209A6C8CC}"/>
              </a:ext>
            </a:extLst>
          </p:cNvPr>
          <p:cNvCxnSpPr>
            <a:cxnSpLocks/>
          </p:cNvCxnSpPr>
          <p:nvPr userDrawn="1"/>
        </p:nvCxnSpPr>
        <p:spPr>
          <a:xfrm>
            <a:off x="0" y="6741392"/>
            <a:ext cx="12191999" cy="0"/>
          </a:xfrm>
          <a:prstGeom prst="line">
            <a:avLst/>
          </a:prstGeom>
          <a:ln w="6350" cap="flat" cmpd="sng" algn="ctr">
            <a:solidFill>
              <a:schemeClr val="bg1">
                <a:alpha val="3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E7B38F-C719-8C08-4C70-F47AB7416606}"/>
              </a:ext>
            </a:extLst>
          </p:cNvPr>
          <p:cNvCxnSpPr>
            <a:cxnSpLocks/>
          </p:cNvCxnSpPr>
          <p:nvPr userDrawn="1"/>
        </p:nvCxnSpPr>
        <p:spPr>
          <a:xfrm>
            <a:off x="5887092" y="6741392"/>
            <a:ext cx="417816" cy="0"/>
          </a:xfrm>
          <a:prstGeom prst="line">
            <a:avLst/>
          </a:prstGeom>
          <a:ln w="15875" cap="flat" cmpd="sng" algn="ctr">
            <a:solidFill>
              <a:srgbClr val="74748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2563409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8_Standard slide_no bullet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8643B9-646F-79E1-3DA1-3EA89A90BF69}"/>
              </a:ext>
            </a:extLst>
          </p:cNvPr>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1" y="0"/>
            <a:ext cx="12212195" cy="6858000"/>
          </a:xfrm>
          <a:prstGeom prst="rect">
            <a:avLst/>
          </a:prstGeom>
        </p:spPr>
      </p:pic>
      <p:sp>
        <p:nvSpPr>
          <p:cNvPr id="6" name="Rectangle 5">
            <a:extLst>
              <a:ext uri="{FF2B5EF4-FFF2-40B4-BE49-F238E27FC236}">
                <a16:creationId xmlns:a16="http://schemas.microsoft.com/office/drawing/2014/main" id="{052D7209-0328-C2D1-5E61-32FAB18EF5A8}"/>
              </a:ext>
            </a:extLst>
          </p:cNvPr>
          <p:cNvSpPr>
            <a:spLocks/>
          </p:cNvSpPr>
          <p:nvPr userDrawn="1"/>
        </p:nvSpPr>
        <p:spPr>
          <a:xfrm>
            <a:off x="-2" y="0"/>
            <a:ext cx="12212195" cy="6858000"/>
          </a:xfrm>
          <a:prstGeom prst="rect">
            <a:avLst/>
          </a:prstGeom>
          <a:solidFill>
            <a:srgbClr val="2E2E38">
              <a:alpha val="80000"/>
            </a:srgb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grpSp>
        <p:nvGrpSpPr>
          <p:cNvPr id="7" name="Group 4">
            <a:extLst>
              <a:ext uri="{FF2B5EF4-FFF2-40B4-BE49-F238E27FC236}">
                <a16:creationId xmlns:a16="http://schemas.microsoft.com/office/drawing/2014/main" id="{61F27248-8723-A061-1F09-A6BC142B502F}"/>
              </a:ext>
            </a:extLst>
          </p:cNvPr>
          <p:cNvGrpSpPr>
            <a:grpSpLocks noChangeAspect="1"/>
          </p:cNvGrpSpPr>
          <p:nvPr userDrawn="1"/>
        </p:nvGrpSpPr>
        <p:grpSpPr bwMode="auto">
          <a:xfrm>
            <a:off x="11281250" y="153981"/>
            <a:ext cx="303055" cy="311150"/>
            <a:chOff x="7110" y="4004"/>
            <a:chExt cx="191" cy="196"/>
          </a:xfrm>
        </p:grpSpPr>
        <p:sp>
          <p:nvSpPr>
            <p:cNvPr id="8" name="Freeform 5">
              <a:extLst>
                <a:ext uri="{FF2B5EF4-FFF2-40B4-BE49-F238E27FC236}">
                  <a16:creationId xmlns:a16="http://schemas.microsoft.com/office/drawing/2014/main" id="{AFAD10C3-B6B6-E271-AAFB-FC8007A4665A}"/>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9" name="Freeform 6">
              <a:extLst>
                <a:ext uri="{FF2B5EF4-FFF2-40B4-BE49-F238E27FC236}">
                  <a16:creationId xmlns:a16="http://schemas.microsoft.com/office/drawing/2014/main" id="{FA670CFE-FAD4-4CFE-09D0-22FF337222C0}"/>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0" name="Freeform 7">
              <a:extLst>
                <a:ext uri="{FF2B5EF4-FFF2-40B4-BE49-F238E27FC236}">
                  <a16:creationId xmlns:a16="http://schemas.microsoft.com/office/drawing/2014/main" id="{9A8B8770-0AA6-69D3-F20A-7C3D09A4CD12}"/>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grpSp>
      <p:sp>
        <p:nvSpPr>
          <p:cNvPr id="11" name="Slide Number Placeholder 4">
            <a:extLst>
              <a:ext uri="{FF2B5EF4-FFF2-40B4-BE49-F238E27FC236}">
                <a16:creationId xmlns:a16="http://schemas.microsoft.com/office/drawing/2014/main" id="{7C98785B-0FE0-DE9A-DFA3-90431F55072D}"/>
              </a:ext>
            </a:extLst>
          </p:cNvPr>
          <p:cNvSpPr txBox="1">
            <a:spLocks/>
          </p:cNvSpPr>
          <p:nvPr userDrawn="1"/>
        </p:nvSpPr>
        <p:spPr>
          <a:xfrm>
            <a:off x="181210" y="271070"/>
            <a:ext cx="303055" cy="180000"/>
          </a:xfrm>
          <a:prstGeom prst="rect">
            <a:avLst/>
          </a:prstGeom>
        </p:spPr>
        <p:txBody>
          <a:bodyPr lIns="0" rIns="0" anchor="ctr" anchorCtr="0"/>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fld id="{D5B76411-544C-4F9A-8EDE-9EEB2BD21F95}" type="slidenum">
              <a:rPr lang="en-IN" sz="1000" smtClean="0"/>
              <a:pPr lvl="0" algn="ctr"/>
              <a:t>‹#›</a:t>
            </a:fld>
            <a:endParaRPr sz="1000" dirty="0"/>
          </a:p>
        </p:txBody>
      </p:sp>
      <p:sp>
        <p:nvSpPr>
          <p:cNvPr id="12" name="Slide Number Placeholder 4">
            <a:extLst>
              <a:ext uri="{FF2B5EF4-FFF2-40B4-BE49-F238E27FC236}">
                <a16:creationId xmlns:a16="http://schemas.microsoft.com/office/drawing/2014/main" id="{07DF00E3-9491-22E1-4A7D-C6B77C9259FE}"/>
              </a:ext>
            </a:extLst>
          </p:cNvPr>
          <p:cNvSpPr txBox="1">
            <a:spLocks/>
          </p:cNvSpPr>
          <p:nvPr userDrawn="1"/>
        </p:nvSpPr>
        <p:spPr>
          <a:xfrm>
            <a:off x="607695" y="265106"/>
            <a:ext cx="1205465" cy="180000"/>
          </a:xfrm>
          <a:prstGeom prst="rect">
            <a:avLst/>
          </a:prstGeom>
        </p:spPr>
        <p:txBody>
          <a:bodyPr lIns="0" rIns="0" anchor="ctr" anchorCtr="0"/>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l"/>
            <a:r>
              <a:rPr lang="en-IN" sz="800" dirty="0">
                <a:latin typeface="+mn-lt"/>
              </a:rPr>
              <a:t>WBA AI Training Part 2</a:t>
            </a:r>
            <a:endParaRPr sz="800" dirty="0">
              <a:latin typeface="+mn-lt"/>
            </a:endParaRPr>
          </a:p>
        </p:txBody>
      </p:sp>
      <p:sp>
        <p:nvSpPr>
          <p:cNvPr id="13" name="Oval 12">
            <a:extLst>
              <a:ext uri="{FF2B5EF4-FFF2-40B4-BE49-F238E27FC236}">
                <a16:creationId xmlns:a16="http://schemas.microsoft.com/office/drawing/2014/main" id="{48F9197D-9A7D-F47E-A212-07218D62091F}"/>
              </a:ext>
            </a:extLst>
          </p:cNvPr>
          <p:cNvSpPr/>
          <p:nvPr userDrawn="1"/>
        </p:nvSpPr>
        <p:spPr>
          <a:xfrm>
            <a:off x="177400" y="209543"/>
            <a:ext cx="303055" cy="303055"/>
          </a:xfrm>
          <a:prstGeom prst="ellipse">
            <a:avLst/>
          </a:prstGeom>
          <a:noFill/>
          <a:ln w="9525" cap="flat" cmpd="sng" algn="ctr">
            <a:solidFill>
              <a:srgbClr val="C4C4C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cxnSp>
        <p:nvCxnSpPr>
          <p:cNvPr id="14" name="Straight Connector 13">
            <a:extLst>
              <a:ext uri="{FF2B5EF4-FFF2-40B4-BE49-F238E27FC236}">
                <a16:creationId xmlns:a16="http://schemas.microsoft.com/office/drawing/2014/main" id="{44086518-99D4-F8D8-56FA-B4163975CBD1}"/>
              </a:ext>
            </a:extLst>
          </p:cNvPr>
          <p:cNvCxnSpPr>
            <a:cxnSpLocks/>
            <a:stCxn id="12" idx="3"/>
          </p:cNvCxnSpPr>
          <p:nvPr userDrawn="1"/>
        </p:nvCxnSpPr>
        <p:spPr>
          <a:xfrm>
            <a:off x="1813160" y="355106"/>
            <a:ext cx="9211011" cy="0"/>
          </a:xfrm>
          <a:prstGeom prst="line">
            <a:avLst/>
          </a:prstGeom>
          <a:ln w="6350" cap="flat" cmpd="sng" algn="ctr">
            <a:solidFill>
              <a:schemeClr val="bg1">
                <a:alpha val="5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01F9A1B-E3DA-A3D8-78B2-46C984EA2108}"/>
              </a:ext>
            </a:extLst>
          </p:cNvPr>
          <p:cNvCxnSpPr>
            <a:cxnSpLocks/>
          </p:cNvCxnSpPr>
          <p:nvPr userDrawn="1"/>
        </p:nvCxnSpPr>
        <p:spPr>
          <a:xfrm>
            <a:off x="614896" y="3255007"/>
            <a:ext cx="917498" cy="0"/>
          </a:xfrm>
          <a:prstGeom prst="line">
            <a:avLst/>
          </a:prstGeom>
          <a:ln w="25400" cap="rnd" cmpd="sng" algn="ctr">
            <a:solidFill>
              <a:srgbClr val="FFE60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614896" y="3385837"/>
            <a:ext cx="4917223" cy="2026983"/>
          </a:xfrm>
        </p:spPr>
        <p:txBody>
          <a:bodyPr vert="horz" lIns="0" tIns="0" rIns="0" bIns="0" rtlCol="0" anchor="t" anchorCtr="0">
            <a:noAutofit/>
          </a:bodyPr>
          <a:lstStyle>
            <a:lvl1pPr marL="0" indent="0">
              <a:buNone/>
              <a:defRPr kumimoji="0" lang="en-IN" sz="3600"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a:t>Chapter Title</a:t>
            </a:r>
            <a:endParaRPr lang="en-IN"/>
          </a:p>
        </p:txBody>
      </p:sp>
      <p:sp>
        <p:nvSpPr>
          <p:cNvPr id="19" name="Text Placeholder 4">
            <a:extLst>
              <a:ext uri="{FF2B5EF4-FFF2-40B4-BE49-F238E27FC236}">
                <a16:creationId xmlns:a16="http://schemas.microsoft.com/office/drawing/2014/main" id="{0649E384-B5E1-4FEF-DCD0-1FFA17318775}"/>
              </a:ext>
            </a:extLst>
          </p:cNvPr>
          <p:cNvSpPr>
            <a:spLocks noGrp="1"/>
          </p:cNvSpPr>
          <p:nvPr>
            <p:ph type="body" sz="quarter" idx="11" hasCustomPrompt="1"/>
          </p:nvPr>
        </p:nvSpPr>
        <p:spPr>
          <a:xfrm>
            <a:off x="589407" y="1616122"/>
            <a:ext cx="1489230" cy="1769715"/>
          </a:xfrm>
        </p:spPr>
        <p:txBody>
          <a:bodyPr vert="horz" wrap="square" lIns="0" tIns="0" rIns="0" bIns="0" rtlCol="0" anchor="t" anchorCtr="0">
            <a:spAutoFit/>
          </a:bodyPr>
          <a:lstStyle>
            <a:lvl1pPr marL="0" indent="0">
              <a:buNone/>
              <a:defRPr kumimoji="0" lang="en-IN" sz="11500" b="1" i="0" u="none" strike="noStrike" cap="none" spc="0" normalizeH="0" baseline="0" dirty="0">
                <a:ln w="6350">
                  <a:solidFill>
                    <a:schemeClr val="bg1">
                      <a:alpha val="50000"/>
                    </a:schemeClr>
                  </a:solidFill>
                </a:ln>
                <a:no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a:t>8</a:t>
            </a:r>
            <a:endParaRPr lang="en-IN"/>
          </a:p>
        </p:txBody>
      </p:sp>
      <p:grpSp>
        <p:nvGrpSpPr>
          <p:cNvPr id="2" name="Group 1">
            <a:extLst>
              <a:ext uri="{FF2B5EF4-FFF2-40B4-BE49-F238E27FC236}">
                <a16:creationId xmlns:a16="http://schemas.microsoft.com/office/drawing/2014/main" id="{263A9E44-A3C3-7442-B48B-1A8863882FFF}"/>
              </a:ext>
            </a:extLst>
          </p:cNvPr>
          <p:cNvGrpSpPr/>
          <p:nvPr userDrawn="1"/>
        </p:nvGrpSpPr>
        <p:grpSpPr>
          <a:xfrm>
            <a:off x="5956278" y="792396"/>
            <a:ext cx="5582014" cy="5582014"/>
            <a:chOff x="6464300" y="894962"/>
            <a:chExt cx="7835726" cy="7835726"/>
          </a:xfrm>
        </p:grpSpPr>
        <p:sp>
          <p:nvSpPr>
            <p:cNvPr id="18" name="Oval 17">
              <a:extLst>
                <a:ext uri="{FF2B5EF4-FFF2-40B4-BE49-F238E27FC236}">
                  <a16:creationId xmlns:a16="http://schemas.microsoft.com/office/drawing/2014/main" id="{9B8F27CF-46E2-90E4-F87F-22C878EF9006}"/>
                </a:ext>
              </a:extLst>
            </p:cNvPr>
            <p:cNvSpPr/>
            <p:nvPr userDrawn="1"/>
          </p:nvSpPr>
          <p:spPr>
            <a:xfrm>
              <a:off x="6464300" y="894962"/>
              <a:ext cx="7835726" cy="7835726"/>
            </a:xfrm>
            <a:prstGeom prst="ellipse">
              <a:avLst/>
            </a:prstGeom>
            <a:solidFill>
              <a:srgbClr val="2E2E38">
                <a:alpha val="80000"/>
              </a:srgbClr>
            </a:solidFill>
            <a:ln w="9525" cap="flat" cmpd="sng" algn="ctr">
              <a:solidFill>
                <a:srgbClr val="FFE600"/>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pic>
          <p:nvPicPr>
            <p:cNvPr id="4" name="Picture 3">
              <a:extLst>
                <a:ext uri="{FF2B5EF4-FFF2-40B4-BE49-F238E27FC236}">
                  <a16:creationId xmlns:a16="http://schemas.microsoft.com/office/drawing/2014/main" id="{76D08DC6-2B8D-2FEA-2201-6D1F3A3D6893}"/>
                </a:ext>
              </a:extLst>
            </p:cNvPr>
            <p:cNvPicPr>
              <a:picLocks/>
            </p:cNvPicPr>
            <p:nvPr userDrawn="1"/>
          </p:nvPicPr>
          <p:blipFill>
            <a:blip r:embed="rId4" cstate="screen">
              <a:extLst>
                <a:ext uri="{28A0092B-C50C-407E-A947-70E740481C1C}">
                  <a14:useLocalDpi xmlns:a14="http://schemas.microsoft.com/office/drawing/2010/main"/>
                </a:ext>
              </a:extLst>
            </a:blip>
            <a:srcRect/>
            <a:stretch/>
          </p:blipFill>
          <p:spPr>
            <a:xfrm>
              <a:off x="6641926" y="1072588"/>
              <a:ext cx="7480475" cy="7480475"/>
            </a:xfrm>
            <a:prstGeom prst="ellipse">
              <a:avLst/>
            </a:prstGeom>
          </p:spPr>
        </p:pic>
      </p:grpSp>
      <p:cxnSp>
        <p:nvCxnSpPr>
          <p:cNvPr id="20" name="Straight Connector 19">
            <a:extLst>
              <a:ext uri="{FF2B5EF4-FFF2-40B4-BE49-F238E27FC236}">
                <a16:creationId xmlns:a16="http://schemas.microsoft.com/office/drawing/2014/main" id="{6513BE2C-6848-2DA7-4FF6-634835EF25D3}"/>
              </a:ext>
            </a:extLst>
          </p:cNvPr>
          <p:cNvCxnSpPr>
            <a:cxnSpLocks/>
          </p:cNvCxnSpPr>
          <p:nvPr userDrawn="1"/>
        </p:nvCxnSpPr>
        <p:spPr>
          <a:xfrm>
            <a:off x="0" y="6741392"/>
            <a:ext cx="12191999" cy="0"/>
          </a:xfrm>
          <a:prstGeom prst="line">
            <a:avLst/>
          </a:prstGeom>
          <a:ln w="6350" cap="flat" cmpd="sng" algn="ctr">
            <a:solidFill>
              <a:schemeClr val="bg1">
                <a:alpha val="3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EC04C776-7AAB-8B08-8198-61C1423D5416}"/>
              </a:ext>
            </a:extLst>
          </p:cNvPr>
          <p:cNvCxnSpPr>
            <a:cxnSpLocks/>
          </p:cNvCxnSpPr>
          <p:nvPr userDrawn="1"/>
        </p:nvCxnSpPr>
        <p:spPr>
          <a:xfrm>
            <a:off x="5887092" y="6741392"/>
            <a:ext cx="417816" cy="0"/>
          </a:xfrm>
          <a:prstGeom prst="line">
            <a:avLst/>
          </a:prstGeom>
          <a:ln w="15875" cap="flat" cmpd="sng" algn="ctr">
            <a:solidFill>
              <a:srgbClr val="74748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1645243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7_Standard slide_no bullet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8643B9-646F-79E1-3DA1-3EA89A90BF69}"/>
              </a:ext>
            </a:extLst>
          </p:cNvPr>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1" y="0"/>
            <a:ext cx="12192001" cy="6858000"/>
          </a:xfrm>
          <a:prstGeom prst="rect">
            <a:avLst/>
          </a:prstGeom>
        </p:spPr>
      </p:pic>
      <p:sp>
        <p:nvSpPr>
          <p:cNvPr id="6" name="Rectangle 5">
            <a:extLst>
              <a:ext uri="{FF2B5EF4-FFF2-40B4-BE49-F238E27FC236}">
                <a16:creationId xmlns:a16="http://schemas.microsoft.com/office/drawing/2014/main" id="{052D7209-0328-C2D1-5E61-32FAB18EF5A8}"/>
              </a:ext>
            </a:extLst>
          </p:cNvPr>
          <p:cNvSpPr>
            <a:spLocks/>
          </p:cNvSpPr>
          <p:nvPr userDrawn="1"/>
        </p:nvSpPr>
        <p:spPr>
          <a:xfrm>
            <a:off x="-2" y="0"/>
            <a:ext cx="12192001" cy="6858000"/>
          </a:xfrm>
          <a:prstGeom prst="rect">
            <a:avLst/>
          </a:prstGeom>
          <a:solidFill>
            <a:srgbClr val="2E2E38">
              <a:alpha val="80000"/>
            </a:srgb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grpSp>
        <p:nvGrpSpPr>
          <p:cNvPr id="7" name="Group 4">
            <a:extLst>
              <a:ext uri="{FF2B5EF4-FFF2-40B4-BE49-F238E27FC236}">
                <a16:creationId xmlns:a16="http://schemas.microsoft.com/office/drawing/2014/main" id="{61F27248-8723-A061-1F09-A6BC142B502F}"/>
              </a:ext>
            </a:extLst>
          </p:cNvPr>
          <p:cNvGrpSpPr>
            <a:grpSpLocks noChangeAspect="1"/>
          </p:cNvGrpSpPr>
          <p:nvPr userDrawn="1"/>
        </p:nvGrpSpPr>
        <p:grpSpPr bwMode="auto">
          <a:xfrm>
            <a:off x="11281250" y="153981"/>
            <a:ext cx="303055" cy="311150"/>
            <a:chOff x="7110" y="4004"/>
            <a:chExt cx="191" cy="196"/>
          </a:xfrm>
        </p:grpSpPr>
        <p:sp>
          <p:nvSpPr>
            <p:cNvPr id="8" name="Freeform 5">
              <a:extLst>
                <a:ext uri="{FF2B5EF4-FFF2-40B4-BE49-F238E27FC236}">
                  <a16:creationId xmlns:a16="http://schemas.microsoft.com/office/drawing/2014/main" id="{AFAD10C3-B6B6-E271-AAFB-FC8007A4665A}"/>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9" name="Freeform 6">
              <a:extLst>
                <a:ext uri="{FF2B5EF4-FFF2-40B4-BE49-F238E27FC236}">
                  <a16:creationId xmlns:a16="http://schemas.microsoft.com/office/drawing/2014/main" id="{FA670CFE-FAD4-4CFE-09D0-22FF337222C0}"/>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0" name="Freeform 7">
              <a:extLst>
                <a:ext uri="{FF2B5EF4-FFF2-40B4-BE49-F238E27FC236}">
                  <a16:creationId xmlns:a16="http://schemas.microsoft.com/office/drawing/2014/main" id="{9A8B8770-0AA6-69D3-F20A-7C3D09A4CD12}"/>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grpSp>
      <p:sp>
        <p:nvSpPr>
          <p:cNvPr id="11" name="Slide Number Placeholder 4">
            <a:extLst>
              <a:ext uri="{FF2B5EF4-FFF2-40B4-BE49-F238E27FC236}">
                <a16:creationId xmlns:a16="http://schemas.microsoft.com/office/drawing/2014/main" id="{7C98785B-0FE0-DE9A-DFA3-90431F55072D}"/>
              </a:ext>
            </a:extLst>
          </p:cNvPr>
          <p:cNvSpPr txBox="1">
            <a:spLocks/>
          </p:cNvSpPr>
          <p:nvPr userDrawn="1"/>
        </p:nvSpPr>
        <p:spPr>
          <a:xfrm>
            <a:off x="181210" y="271070"/>
            <a:ext cx="303055" cy="180000"/>
          </a:xfrm>
          <a:prstGeom prst="rect">
            <a:avLst/>
          </a:prstGeom>
        </p:spPr>
        <p:txBody>
          <a:bodyPr lIns="0" rIns="0" anchor="ctr" anchorCtr="0"/>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fld id="{D5B76411-544C-4F9A-8EDE-9EEB2BD21F95}" type="slidenum">
              <a:rPr lang="en-IN" sz="1000" smtClean="0"/>
              <a:pPr lvl="0" algn="ctr"/>
              <a:t>‹#›</a:t>
            </a:fld>
            <a:endParaRPr sz="1000" dirty="0"/>
          </a:p>
        </p:txBody>
      </p:sp>
      <p:sp>
        <p:nvSpPr>
          <p:cNvPr id="12" name="Slide Number Placeholder 4">
            <a:extLst>
              <a:ext uri="{FF2B5EF4-FFF2-40B4-BE49-F238E27FC236}">
                <a16:creationId xmlns:a16="http://schemas.microsoft.com/office/drawing/2014/main" id="{07DF00E3-9491-22E1-4A7D-C6B77C9259FE}"/>
              </a:ext>
            </a:extLst>
          </p:cNvPr>
          <p:cNvSpPr txBox="1">
            <a:spLocks/>
          </p:cNvSpPr>
          <p:nvPr userDrawn="1"/>
        </p:nvSpPr>
        <p:spPr>
          <a:xfrm>
            <a:off x="607695" y="265106"/>
            <a:ext cx="1205465" cy="180000"/>
          </a:xfrm>
          <a:prstGeom prst="rect">
            <a:avLst/>
          </a:prstGeom>
        </p:spPr>
        <p:txBody>
          <a:bodyPr lIns="0" rIns="0" anchor="ctr" anchorCtr="0"/>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l"/>
            <a:r>
              <a:rPr lang="en-IN" sz="800" dirty="0">
                <a:latin typeface="+mn-lt"/>
              </a:rPr>
              <a:t>WBA AI Training Part 2</a:t>
            </a:r>
            <a:endParaRPr sz="800" dirty="0">
              <a:latin typeface="+mn-lt"/>
            </a:endParaRPr>
          </a:p>
        </p:txBody>
      </p:sp>
      <p:sp>
        <p:nvSpPr>
          <p:cNvPr id="13" name="Oval 12">
            <a:extLst>
              <a:ext uri="{FF2B5EF4-FFF2-40B4-BE49-F238E27FC236}">
                <a16:creationId xmlns:a16="http://schemas.microsoft.com/office/drawing/2014/main" id="{48F9197D-9A7D-F47E-A212-07218D62091F}"/>
              </a:ext>
            </a:extLst>
          </p:cNvPr>
          <p:cNvSpPr/>
          <p:nvPr userDrawn="1"/>
        </p:nvSpPr>
        <p:spPr>
          <a:xfrm>
            <a:off x="177400" y="209543"/>
            <a:ext cx="303055" cy="303055"/>
          </a:xfrm>
          <a:prstGeom prst="ellipse">
            <a:avLst/>
          </a:prstGeom>
          <a:noFill/>
          <a:ln w="9525" cap="flat" cmpd="sng" algn="ctr">
            <a:solidFill>
              <a:srgbClr val="C4C4C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cxnSp>
        <p:nvCxnSpPr>
          <p:cNvPr id="14" name="Straight Connector 13">
            <a:extLst>
              <a:ext uri="{FF2B5EF4-FFF2-40B4-BE49-F238E27FC236}">
                <a16:creationId xmlns:a16="http://schemas.microsoft.com/office/drawing/2014/main" id="{44086518-99D4-F8D8-56FA-B4163975CBD1}"/>
              </a:ext>
            </a:extLst>
          </p:cNvPr>
          <p:cNvCxnSpPr>
            <a:cxnSpLocks/>
            <a:stCxn id="12" idx="3"/>
          </p:cNvCxnSpPr>
          <p:nvPr userDrawn="1"/>
        </p:nvCxnSpPr>
        <p:spPr>
          <a:xfrm>
            <a:off x="1813160" y="355106"/>
            <a:ext cx="9211011" cy="0"/>
          </a:xfrm>
          <a:prstGeom prst="line">
            <a:avLst/>
          </a:prstGeom>
          <a:ln w="6350" cap="flat" cmpd="sng" algn="ctr">
            <a:solidFill>
              <a:schemeClr val="bg1">
                <a:alpha val="5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01F9A1B-E3DA-A3D8-78B2-46C984EA2108}"/>
              </a:ext>
            </a:extLst>
          </p:cNvPr>
          <p:cNvCxnSpPr>
            <a:cxnSpLocks/>
          </p:cNvCxnSpPr>
          <p:nvPr userDrawn="1"/>
        </p:nvCxnSpPr>
        <p:spPr>
          <a:xfrm>
            <a:off x="614896" y="3255007"/>
            <a:ext cx="917498" cy="0"/>
          </a:xfrm>
          <a:prstGeom prst="line">
            <a:avLst/>
          </a:prstGeom>
          <a:ln w="25400" cap="rnd" cmpd="sng" algn="ctr">
            <a:solidFill>
              <a:srgbClr val="FFE60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614896" y="3385837"/>
            <a:ext cx="4917223" cy="2026983"/>
          </a:xfrm>
        </p:spPr>
        <p:txBody>
          <a:bodyPr vert="horz" lIns="0" tIns="0" rIns="0" bIns="0" rtlCol="0" anchor="t" anchorCtr="0">
            <a:noAutofit/>
          </a:bodyPr>
          <a:lstStyle>
            <a:lvl1pPr marL="0" indent="0">
              <a:buNone/>
              <a:defRPr kumimoji="0" lang="en-IN" sz="3600"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a:t>Chapter Title</a:t>
            </a:r>
            <a:endParaRPr lang="en-IN"/>
          </a:p>
        </p:txBody>
      </p:sp>
      <p:sp>
        <p:nvSpPr>
          <p:cNvPr id="19" name="Text Placeholder 4">
            <a:extLst>
              <a:ext uri="{FF2B5EF4-FFF2-40B4-BE49-F238E27FC236}">
                <a16:creationId xmlns:a16="http://schemas.microsoft.com/office/drawing/2014/main" id="{0649E384-B5E1-4FEF-DCD0-1FFA17318775}"/>
              </a:ext>
            </a:extLst>
          </p:cNvPr>
          <p:cNvSpPr>
            <a:spLocks noGrp="1"/>
          </p:cNvSpPr>
          <p:nvPr>
            <p:ph type="body" sz="quarter" idx="11" hasCustomPrompt="1"/>
          </p:nvPr>
        </p:nvSpPr>
        <p:spPr>
          <a:xfrm>
            <a:off x="589407" y="1616122"/>
            <a:ext cx="1489230" cy="1769715"/>
          </a:xfrm>
        </p:spPr>
        <p:txBody>
          <a:bodyPr vert="horz" wrap="square" lIns="0" tIns="0" rIns="0" bIns="0" rtlCol="0" anchor="t" anchorCtr="0">
            <a:spAutoFit/>
          </a:bodyPr>
          <a:lstStyle>
            <a:lvl1pPr marL="0" indent="0">
              <a:buNone/>
              <a:defRPr kumimoji="0" lang="en-IN" sz="11500" b="1" i="0" u="none" strike="noStrike" cap="none" spc="0" normalizeH="0" baseline="0" dirty="0">
                <a:ln w="6350">
                  <a:solidFill>
                    <a:schemeClr val="bg1">
                      <a:alpha val="50000"/>
                    </a:schemeClr>
                  </a:solidFill>
                </a:ln>
                <a:no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a:t>9</a:t>
            </a:r>
            <a:endParaRPr lang="en-IN"/>
          </a:p>
        </p:txBody>
      </p:sp>
      <p:grpSp>
        <p:nvGrpSpPr>
          <p:cNvPr id="2" name="Group 1">
            <a:extLst>
              <a:ext uri="{FF2B5EF4-FFF2-40B4-BE49-F238E27FC236}">
                <a16:creationId xmlns:a16="http://schemas.microsoft.com/office/drawing/2014/main" id="{263A9E44-A3C3-7442-B48B-1A8863882FFF}"/>
              </a:ext>
            </a:extLst>
          </p:cNvPr>
          <p:cNvGrpSpPr/>
          <p:nvPr userDrawn="1"/>
        </p:nvGrpSpPr>
        <p:grpSpPr>
          <a:xfrm>
            <a:off x="5956278" y="792396"/>
            <a:ext cx="5582014" cy="5582014"/>
            <a:chOff x="6464300" y="894962"/>
            <a:chExt cx="7835726" cy="7835726"/>
          </a:xfrm>
        </p:grpSpPr>
        <p:sp>
          <p:nvSpPr>
            <p:cNvPr id="18" name="Oval 17">
              <a:extLst>
                <a:ext uri="{FF2B5EF4-FFF2-40B4-BE49-F238E27FC236}">
                  <a16:creationId xmlns:a16="http://schemas.microsoft.com/office/drawing/2014/main" id="{9B8F27CF-46E2-90E4-F87F-22C878EF9006}"/>
                </a:ext>
              </a:extLst>
            </p:cNvPr>
            <p:cNvSpPr/>
            <p:nvPr userDrawn="1"/>
          </p:nvSpPr>
          <p:spPr>
            <a:xfrm>
              <a:off x="6464300" y="894962"/>
              <a:ext cx="7835726" cy="7835726"/>
            </a:xfrm>
            <a:prstGeom prst="ellipse">
              <a:avLst/>
            </a:prstGeom>
            <a:solidFill>
              <a:srgbClr val="2E2E38">
                <a:alpha val="80000"/>
              </a:srgbClr>
            </a:solidFill>
            <a:ln w="9525" cap="flat" cmpd="sng" algn="ctr">
              <a:solidFill>
                <a:srgbClr val="FFE600"/>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pic>
          <p:nvPicPr>
            <p:cNvPr id="4" name="Picture 3">
              <a:extLst>
                <a:ext uri="{FF2B5EF4-FFF2-40B4-BE49-F238E27FC236}">
                  <a16:creationId xmlns:a16="http://schemas.microsoft.com/office/drawing/2014/main" id="{76D08DC6-2B8D-2FEA-2201-6D1F3A3D6893}"/>
                </a:ext>
              </a:extLst>
            </p:cNvPr>
            <p:cNvPicPr>
              <a:picLocks/>
            </p:cNvPicPr>
            <p:nvPr userDrawn="1"/>
          </p:nvPicPr>
          <p:blipFill rotWithShape="1">
            <a:blip r:embed="rId4" cstate="screen">
              <a:extLst>
                <a:ext uri="{28A0092B-C50C-407E-A947-70E740481C1C}">
                  <a14:useLocalDpi xmlns:a14="http://schemas.microsoft.com/office/drawing/2010/main"/>
                </a:ext>
              </a:extLst>
            </a:blip>
            <a:srcRect/>
            <a:stretch/>
          </p:blipFill>
          <p:spPr>
            <a:xfrm>
              <a:off x="6641926" y="1072588"/>
              <a:ext cx="7480475" cy="7480475"/>
            </a:xfrm>
            <a:prstGeom prst="ellipse">
              <a:avLst/>
            </a:prstGeom>
          </p:spPr>
        </p:pic>
      </p:grpSp>
      <p:cxnSp>
        <p:nvCxnSpPr>
          <p:cNvPr id="20" name="Straight Connector 19">
            <a:extLst>
              <a:ext uri="{FF2B5EF4-FFF2-40B4-BE49-F238E27FC236}">
                <a16:creationId xmlns:a16="http://schemas.microsoft.com/office/drawing/2014/main" id="{9277A14A-0C96-6D87-3A0D-95EDD0B9D85D}"/>
              </a:ext>
            </a:extLst>
          </p:cNvPr>
          <p:cNvCxnSpPr>
            <a:cxnSpLocks/>
          </p:cNvCxnSpPr>
          <p:nvPr userDrawn="1"/>
        </p:nvCxnSpPr>
        <p:spPr>
          <a:xfrm>
            <a:off x="0" y="6741392"/>
            <a:ext cx="12191999" cy="0"/>
          </a:xfrm>
          <a:prstGeom prst="line">
            <a:avLst/>
          </a:prstGeom>
          <a:ln w="6350" cap="flat" cmpd="sng" algn="ctr">
            <a:solidFill>
              <a:schemeClr val="bg1">
                <a:alpha val="3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467E1264-419A-5776-113B-85C93B09F0CF}"/>
              </a:ext>
            </a:extLst>
          </p:cNvPr>
          <p:cNvCxnSpPr>
            <a:cxnSpLocks/>
          </p:cNvCxnSpPr>
          <p:nvPr userDrawn="1"/>
        </p:nvCxnSpPr>
        <p:spPr>
          <a:xfrm>
            <a:off x="5887092" y="6741392"/>
            <a:ext cx="417816" cy="0"/>
          </a:xfrm>
          <a:prstGeom prst="line">
            <a:avLst/>
          </a:prstGeom>
          <a:ln w="15875" cap="flat" cmpd="sng" algn="ctr">
            <a:solidFill>
              <a:srgbClr val="74748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278580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6_Standard slide_no bullet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8643B9-646F-79E1-3DA1-3EA89A90BF69}"/>
              </a:ext>
            </a:extLst>
          </p:cNvPr>
          <p:cNvPicPr>
            <a:picLocks noChangeAspect="1"/>
          </p:cNvPicPr>
          <p:nvPr userDrawn="1"/>
        </p:nvPicPr>
        <p:blipFill>
          <a:blip r:embed="rId2" cstate="screen">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1" y="12560"/>
            <a:ext cx="12192001" cy="6832879"/>
          </a:xfrm>
          <a:prstGeom prst="rect">
            <a:avLst/>
          </a:prstGeom>
        </p:spPr>
      </p:pic>
      <p:sp>
        <p:nvSpPr>
          <p:cNvPr id="6" name="Rectangle 5">
            <a:extLst>
              <a:ext uri="{FF2B5EF4-FFF2-40B4-BE49-F238E27FC236}">
                <a16:creationId xmlns:a16="http://schemas.microsoft.com/office/drawing/2014/main" id="{052D7209-0328-C2D1-5E61-32FAB18EF5A8}"/>
              </a:ext>
            </a:extLst>
          </p:cNvPr>
          <p:cNvSpPr>
            <a:spLocks/>
          </p:cNvSpPr>
          <p:nvPr userDrawn="1"/>
        </p:nvSpPr>
        <p:spPr>
          <a:xfrm>
            <a:off x="-1" y="0"/>
            <a:ext cx="12192000" cy="6858000"/>
          </a:xfrm>
          <a:prstGeom prst="rect">
            <a:avLst/>
          </a:prstGeom>
          <a:solidFill>
            <a:srgbClr val="2E2E38">
              <a:alpha val="80000"/>
            </a:srgb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grpSp>
        <p:nvGrpSpPr>
          <p:cNvPr id="7" name="Group 4">
            <a:extLst>
              <a:ext uri="{FF2B5EF4-FFF2-40B4-BE49-F238E27FC236}">
                <a16:creationId xmlns:a16="http://schemas.microsoft.com/office/drawing/2014/main" id="{61F27248-8723-A061-1F09-A6BC142B502F}"/>
              </a:ext>
            </a:extLst>
          </p:cNvPr>
          <p:cNvGrpSpPr>
            <a:grpSpLocks noChangeAspect="1"/>
          </p:cNvGrpSpPr>
          <p:nvPr userDrawn="1"/>
        </p:nvGrpSpPr>
        <p:grpSpPr bwMode="auto">
          <a:xfrm>
            <a:off x="11281250" y="153981"/>
            <a:ext cx="303055" cy="311150"/>
            <a:chOff x="7110" y="4004"/>
            <a:chExt cx="191" cy="196"/>
          </a:xfrm>
        </p:grpSpPr>
        <p:sp>
          <p:nvSpPr>
            <p:cNvPr id="8" name="Freeform 5">
              <a:extLst>
                <a:ext uri="{FF2B5EF4-FFF2-40B4-BE49-F238E27FC236}">
                  <a16:creationId xmlns:a16="http://schemas.microsoft.com/office/drawing/2014/main" id="{AFAD10C3-B6B6-E271-AAFB-FC8007A4665A}"/>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9" name="Freeform 6">
              <a:extLst>
                <a:ext uri="{FF2B5EF4-FFF2-40B4-BE49-F238E27FC236}">
                  <a16:creationId xmlns:a16="http://schemas.microsoft.com/office/drawing/2014/main" id="{FA670CFE-FAD4-4CFE-09D0-22FF337222C0}"/>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0" name="Freeform 7">
              <a:extLst>
                <a:ext uri="{FF2B5EF4-FFF2-40B4-BE49-F238E27FC236}">
                  <a16:creationId xmlns:a16="http://schemas.microsoft.com/office/drawing/2014/main" id="{9A8B8770-0AA6-69D3-F20A-7C3D09A4CD12}"/>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grpSp>
      <p:sp>
        <p:nvSpPr>
          <p:cNvPr id="11" name="Slide Number Placeholder 4">
            <a:extLst>
              <a:ext uri="{FF2B5EF4-FFF2-40B4-BE49-F238E27FC236}">
                <a16:creationId xmlns:a16="http://schemas.microsoft.com/office/drawing/2014/main" id="{7C98785B-0FE0-DE9A-DFA3-90431F55072D}"/>
              </a:ext>
            </a:extLst>
          </p:cNvPr>
          <p:cNvSpPr txBox="1">
            <a:spLocks/>
          </p:cNvSpPr>
          <p:nvPr userDrawn="1"/>
        </p:nvSpPr>
        <p:spPr>
          <a:xfrm>
            <a:off x="181210" y="271070"/>
            <a:ext cx="303055" cy="180000"/>
          </a:xfrm>
          <a:prstGeom prst="rect">
            <a:avLst/>
          </a:prstGeom>
        </p:spPr>
        <p:txBody>
          <a:bodyPr lIns="0" rIns="0" anchor="ctr" anchorCtr="0"/>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fld id="{D5B76411-544C-4F9A-8EDE-9EEB2BD21F95}" type="slidenum">
              <a:rPr lang="en-IN" sz="1000" smtClean="0"/>
              <a:pPr lvl="0" algn="ctr"/>
              <a:t>‹#›</a:t>
            </a:fld>
            <a:endParaRPr sz="1000" dirty="0"/>
          </a:p>
        </p:txBody>
      </p:sp>
      <p:sp>
        <p:nvSpPr>
          <p:cNvPr id="12" name="Slide Number Placeholder 4">
            <a:extLst>
              <a:ext uri="{FF2B5EF4-FFF2-40B4-BE49-F238E27FC236}">
                <a16:creationId xmlns:a16="http://schemas.microsoft.com/office/drawing/2014/main" id="{07DF00E3-9491-22E1-4A7D-C6B77C9259FE}"/>
              </a:ext>
            </a:extLst>
          </p:cNvPr>
          <p:cNvSpPr txBox="1">
            <a:spLocks/>
          </p:cNvSpPr>
          <p:nvPr userDrawn="1"/>
        </p:nvSpPr>
        <p:spPr>
          <a:xfrm>
            <a:off x="607695" y="265106"/>
            <a:ext cx="1205465" cy="180000"/>
          </a:xfrm>
          <a:prstGeom prst="rect">
            <a:avLst/>
          </a:prstGeom>
        </p:spPr>
        <p:txBody>
          <a:bodyPr lIns="0" rIns="0" anchor="ctr" anchorCtr="0"/>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l"/>
            <a:r>
              <a:rPr lang="en-IN" sz="800" dirty="0">
                <a:latin typeface="+mn-lt"/>
              </a:rPr>
              <a:t>WBA AI Training Part 2</a:t>
            </a:r>
            <a:endParaRPr sz="800" dirty="0">
              <a:latin typeface="+mn-lt"/>
            </a:endParaRPr>
          </a:p>
        </p:txBody>
      </p:sp>
      <p:sp>
        <p:nvSpPr>
          <p:cNvPr id="13" name="Oval 12">
            <a:extLst>
              <a:ext uri="{FF2B5EF4-FFF2-40B4-BE49-F238E27FC236}">
                <a16:creationId xmlns:a16="http://schemas.microsoft.com/office/drawing/2014/main" id="{48F9197D-9A7D-F47E-A212-07218D62091F}"/>
              </a:ext>
            </a:extLst>
          </p:cNvPr>
          <p:cNvSpPr/>
          <p:nvPr userDrawn="1"/>
        </p:nvSpPr>
        <p:spPr>
          <a:xfrm>
            <a:off x="177400" y="209543"/>
            <a:ext cx="303055" cy="303055"/>
          </a:xfrm>
          <a:prstGeom prst="ellipse">
            <a:avLst/>
          </a:prstGeom>
          <a:noFill/>
          <a:ln w="9525" cap="flat" cmpd="sng" algn="ctr">
            <a:solidFill>
              <a:srgbClr val="C4C4C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cxnSp>
        <p:nvCxnSpPr>
          <p:cNvPr id="14" name="Straight Connector 13">
            <a:extLst>
              <a:ext uri="{FF2B5EF4-FFF2-40B4-BE49-F238E27FC236}">
                <a16:creationId xmlns:a16="http://schemas.microsoft.com/office/drawing/2014/main" id="{44086518-99D4-F8D8-56FA-B4163975CBD1}"/>
              </a:ext>
            </a:extLst>
          </p:cNvPr>
          <p:cNvCxnSpPr>
            <a:cxnSpLocks/>
            <a:stCxn id="12" idx="3"/>
          </p:cNvCxnSpPr>
          <p:nvPr userDrawn="1"/>
        </p:nvCxnSpPr>
        <p:spPr>
          <a:xfrm>
            <a:off x="1813160" y="355106"/>
            <a:ext cx="9211011" cy="0"/>
          </a:xfrm>
          <a:prstGeom prst="line">
            <a:avLst/>
          </a:prstGeom>
          <a:ln w="6350" cap="flat" cmpd="sng" algn="ctr">
            <a:solidFill>
              <a:schemeClr val="bg1">
                <a:alpha val="5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01F9A1B-E3DA-A3D8-78B2-46C984EA2108}"/>
              </a:ext>
            </a:extLst>
          </p:cNvPr>
          <p:cNvCxnSpPr>
            <a:cxnSpLocks/>
          </p:cNvCxnSpPr>
          <p:nvPr userDrawn="1"/>
        </p:nvCxnSpPr>
        <p:spPr>
          <a:xfrm>
            <a:off x="614896" y="3255007"/>
            <a:ext cx="917498" cy="0"/>
          </a:xfrm>
          <a:prstGeom prst="line">
            <a:avLst/>
          </a:prstGeom>
          <a:ln w="25400" cap="rnd" cmpd="sng" algn="ctr">
            <a:solidFill>
              <a:srgbClr val="FFE60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614896" y="3385837"/>
            <a:ext cx="4917223" cy="2026983"/>
          </a:xfrm>
        </p:spPr>
        <p:txBody>
          <a:bodyPr vert="horz" lIns="0" tIns="0" rIns="0" bIns="0" rtlCol="0" anchor="t" anchorCtr="0">
            <a:noAutofit/>
          </a:bodyPr>
          <a:lstStyle>
            <a:lvl1pPr marL="0" indent="0">
              <a:buNone/>
              <a:defRPr kumimoji="0" lang="en-IN" sz="3600"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a:t>Chapter Title</a:t>
            </a:r>
            <a:endParaRPr lang="en-IN"/>
          </a:p>
        </p:txBody>
      </p:sp>
      <p:sp>
        <p:nvSpPr>
          <p:cNvPr id="19" name="Text Placeholder 4">
            <a:extLst>
              <a:ext uri="{FF2B5EF4-FFF2-40B4-BE49-F238E27FC236}">
                <a16:creationId xmlns:a16="http://schemas.microsoft.com/office/drawing/2014/main" id="{0649E384-B5E1-4FEF-DCD0-1FFA17318775}"/>
              </a:ext>
            </a:extLst>
          </p:cNvPr>
          <p:cNvSpPr>
            <a:spLocks noGrp="1"/>
          </p:cNvSpPr>
          <p:nvPr>
            <p:ph type="body" sz="quarter" idx="11" hasCustomPrompt="1"/>
          </p:nvPr>
        </p:nvSpPr>
        <p:spPr>
          <a:xfrm>
            <a:off x="589406" y="1616122"/>
            <a:ext cx="2169033" cy="1769715"/>
          </a:xfrm>
        </p:spPr>
        <p:txBody>
          <a:bodyPr vert="horz" wrap="square" lIns="0" tIns="0" rIns="0" bIns="0" rtlCol="0" anchor="t" anchorCtr="0">
            <a:spAutoFit/>
          </a:bodyPr>
          <a:lstStyle>
            <a:lvl1pPr marL="0" indent="0">
              <a:buNone/>
              <a:defRPr kumimoji="0" lang="en-IN" sz="11500" b="1" i="0" u="none" strike="noStrike" cap="none" spc="0" normalizeH="0" baseline="0" dirty="0">
                <a:ln w="6350">
                  <a:solidFill>
                    <a:schemeClr val="bg1">
                      <a:alpha val="50000"/>
                    </a:schemeClr>
                  </a:solidFill>
                </a:ln>
                <a:no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a:t>10</a:t>
            </a:r>
            <a:endParaRPr lang="en-IN"/>
          </a:p>
        </p:txBody>
      </p:sp>
      <p:grpSp>
        <p:nvGrpSpPr>
          <p:cNvPr id="2" name="Group 1">
            <a:extLst>
              <a:ext uri="{FF2B5EF4-FFF2-40B4-BE49-F238E27FC236}">
                <a16:creationId xmlns:a16="http://schemas.microsoft.com/office/drawing/2014/main" id="{263A9E44-A3C3-7442-B48B-1A8863882FFF}"/>
              </a:ext>
            </a:extLst>
          </p:cNvPr>
          <p:cNvGrpSpPr/>
          <p:nvPr userDrawn="1"/>
        </p:nvGrpSpPr>
        <p:grpSpPr>
          <a:xfrm>
            <a:off x="5956278" y="792396"/>
            <a:ext cx="5582014" cy="5582014"/>
            <a:chOff x="6464300" y="894962"/>
            <a:chExt cx="7835726" cy="7835726"/>
          </a:xfrm>
        </p:grpSpPr>
        <p:sp>
          <p:nvSpPr>
            <p:cNvPr id="18" name="Oval 17">
              <a:extLst>
                <a:ext uri="{FF2B5EF4-FFF2-40B4-BE49-F238E27FC236}">
                  <a16:creationId xmlns:a16="http://schemas.microsoft.com/office/drawing/2014/main" id="{9B8F27CF-46E2-90E4-F87F-22C878EF9006}"/>
                </a:ext>
              </a:extLst>
            </p:cNvPr>
            <p:cNvSpPr/>
            <p:nvPr userDrawn="1"/>
          </p:nvSpPr>
          <p:spPr>
            <a:xfrm>
              <a:off x="6464300" y="894962"/>
              <a:ext cx="7835726" cy="7835726"/>
            </a:xfrm>
            <a:prstGeom prst="ellipse">
              <a:avLst/>
            </a:prstGeom>
            <a:solidFill>
              <a:srgbClr val="2E2E38">
                <a:alpha val="80000"/>
              </a:srgbClr>
            </a:solidFill>
            <a:ln w="9525" cap="flat" cmpd="sng" algn="ctr">
              <a:solidFill>
                <a:srgbClr val="FFE600"/>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pic>
          <p:nvPicPr>
            <p:cNvPr id="4" name="Picture 3">
              <a:extLst>
                <a:ext uri="{FF2B5EF4-FFF2-40B4-BE49-F238E27FC236}">
                  <a16:creationId xmlns:a16="http://schemas.microsoft.com/office/drawing/2014/main" id="{76D08DC6-2B8D-2FEA-2201-6D1F3A3D6893}"/>
                </a:ext>
              </a:extLst>
            </p:cNvPr>
            <p:cNvPicPr>
              <a:picLocks/>
            </p:cNvPicPr>
            <p:nvPr userDrawn="1"/>
          </p:nvPicPr>
          <p:blipFill>
            <a:blip r:embed="rId4" cstate="screen">
              <a:extLst>
                <a:ext uri="{28A0092B-C50C-407E-A947-70E740481C1C}">
                  <a14:useLocalDpi xmlns:a14="http://schemas.microsoft.com/office/drawing/2010/main"/>
                </a:ext>
              </a:extLst>
            </a:blip>
            <a:srcRect/>
            <a:stretch/>
          </p:blipFill>
          <p:spPr>
            <a:xfrm>
              <a:off x="6641926" y="1072588"/>
              <a:ext cx="7480475" cy="7480475"/>
            </a:xfrm>
            <a:prstGeom prst="ellipse">
              <a:avLst/>
            </a:prstGeom>
          </p:spPr>
        </p:pic>
      </p:grpSp>
      <p:cxnSp>
        <p:nvCxnSpPr>
          <p:cNvPr id="20" name="Straight Connector 19">
            <a:extLst>
              <a:ext uri="{FF2B5EF4-FFF2-40B4-BE49-F238E27FC236}">
                <a16:creationId xmlns:a16="http://schemas.microsoft.com/office/drawing/2014/main" id="{43B13518-03A2-DEC2-BCF4-20A68A1A2EEB}"/>
              </a:ext>
            </a:extLst>
          </p:cNvPr>
          <p:cNvCxnSpPr>
            <a:cxnSpLocks/>
          </p:cNvCxnSpPr>
          <p:nvPr userDrawn="1"/>
        </p:nvCxnSpPr>
        <p:spPr>
          <a:xfrm>
            <a:off x="0" y="6741392"/>
            <a:ext cx="12191999" cy="0"/>
          </a:xfrm>
          <a:prstGeom prst="line">
            <a:avLst/>
          </a:prstGeom>
          <a:ln w="6350" cap="flat" cmpd="sng" algn="ctr">
            <a:solidFill>
              <a:schemeClr val="bg1">
                <a:alpha val="3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8E0C34E-77F4-BB7C-233E-9385E2599ED2}"/>
              </a:ext>
            </a:extLst>
          </p:cNvPr>
          <p:cNvCxnSpPr>
            <a:cxnSpLocks/>
          </p:cNvCxnSpPr>
          <p:nvPr userDrawn="1"/>
        </p:nvCxnSpPr>
        <p:spPr>
          <a:xfrm>
            <a:off x="5887092" y="6741392"/>
            <a:ext cx="417816" cy="0"/>
          </a:xfrm>
          <a:prstGeom prst="line">
            <a:avLst/>
          </a:prstGeom>
          <a:ln w="15875" cap="flat" cmpd="sng" algn="ctr">
            <a:solidFill>
              <a:srgbClr val="74748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8648195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9_Standard slide_no bullet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8643B9-646F-79E1-3DA1-3EA89A90BF69}"/>
              </a:ext>
            </a:extLst>
          </p:cNvPr>
          <p:cNvPicPr>
            <a:picLocks noChangeAspect="1"/>
          </p:cNvPicPr>
          <p:nvPr userDrawn="1"/>
        </p:nvPicPr>
        <p:blipFill>
          <a:blip r:embed="rId2" cstate="screen">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 name="Rectangle 5">
            <a:extLst>
              <a:ext uri="{FF2B5EF4-FFF2-40B4-BE49-F238E27FC236}">
                <a16:creationId xmlns:a16="http://schemas.microsoft.com/office/drawing/2014/main" id="{052D7209-0328-C2D1-5E61-32FAB18EF5A8}"/>
              </a:ext>
            </a:extLst>
          </p:cNvPr>
          <p:cNvSpPr>
            <a:spLocks/>
          </p:cNvSpPr>
          <p:nvPr userDrawn="1"/>
        </p:nvSpPr>
        <p:spPr>
          <a:xfrm>
            <a:off x="0" y="0"/>
            <a:ext cx="12192000" cy="6858000"/>
          </a:xfrm>
          <a:prstGeom prst="rect">
            <a:avLst/>
          </a:prstGeom>
          <a:solidFill>
            <a:srgbClr val="2E2E38">
              <a:alpha val="80000"/>
            </a:srgb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grpSp>
        <p:nvGrpSpPr>
          <p:cNvPr id="7" name="Group 4">
            <a:extLst>
              <a:ext uri="{FF2B5EF4-FFF2-40B4-BE49-F238E27FC236}">
                <a16:creationId xmlns:a16="http://schemas.microsoft.com/office/drawing/2014/main" id="{61F27248-8723-A061-1F09-A6BC142B502F}"/>
              </a:ext>
            </a:extLst>
          </p:cNvPr>
          <p:cNvGrpSpPr>
            <a:grpSpLocks noChangeAspect="1"/>
          </p:cNvGrpSpPr>
          <p:nvPr userDrawn="1"/>
        </p:nvGrpSpPr>
        <p:grpSpPr bwMode="auto">
          <a:xfrm>
            <a:off x="11281250" y="153981"/>
            <a:ext cx="303055" cy="311150"/>
            <a:chOff x="7110" y="4004"/>
            <a:chExt cx="191" cy="196"/>
          </a:xfrm>
        </p:grpSpPr>
        <p:sp>
          <p:nvSpPr>
            <p:cNvPr id="8" name="Freeform 5">
              <a:extLst>
                <a:ext uri="{FF2B5EF4-FFF2-40B4-BE49-F238E27FC236}">
                  <a16:creationId xmlns:a16="http://schemas.microsoft.com/office/drawing/2014/main" id="{AFAD10C3-B6B6-E271-AAFB-FC8007A4665A}"/>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9" name="Freeform 6">
              <a:extLst>
                <a:ext uri="{FF2B5EF4-FFF2-40B4-BE49-F238E27FC236}">
                  <a16:creationId xmlns:a16="http://schemas.microsoft.com/office/drawing/2014/main" id="{FA670CFE-FAD4-4CFE-09D0-22FF337222C0}"/>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0" name="Freeform 7">
              <a:extLst>
                <a:ext uri="{FF2B5EF4-FFF2-40B4-BE49-F238E27FC236}">
                  <a16:creationId xmlns:a16="http://schemas.microsoft.com/office/drawing/2014/main" id="{9A8B8770-0AA6-69D3-F20A-7C3D09A4CD12}"/>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grpSp>
      <p:sp>
        <p:nvSpPr>
          <p:cNvPr id="11" name="Slide Number Placeholder 4">
            <a:extLst>
              <a:ext uri="{FF2B5EF4-FFF2-40B4-BE49-F238E27FC236}">
                <a16:creationId xmlns:a16="http://schemas.microsoft.com/office/drawing/2014/main" id="{7C98785B-0FE0-DE9A-DFA3-90431F55072D}"/>
              </a:ext>
            </a:extLst>
          </p:cNvPr>
          <p:cNvSpPr txBox="1">
            <a:spLocks/>
          </p:cNvSpPr>
          <p:nvPr userDrawn="1"/>
        </p:nvSpPr>
        <p:spPr>
          <a:xfrm>
            <a:off x="181210" y="271070"/>
            <a:ext cx="303055" cy="180000"/>
          </a:xfrm>
          <a:prstGeom prst="rect">
            <a:avLst/>
          </a:prstGeom>
        </p:spPr>
        <p:txBody>
          <a:bodyPr lIns="0" rIns="0" anchor="ctr" anchorCtr="0"/>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fld id="{D5B76411-544C-4F9A-8EDE-9EEB2BD21F95}" type="slidenum">
              <a:rPr lang="en-IN" sz="1000" smtClean="0"/>
              <a:pPr lvl="0" algn="ctr"/>
              <a:t>‹#›</a:t>
            </a:fld>
            <a:endParaRPr sz="1000" dirty="0"/>
          </a:p>
        </p:txBody>
      </p:sp>
      <p:sp>
        <p:nvSpPr>
          <p:cNvPr id="12" name="Slide Number Placeholder 4">
            <a:extLst>
              <a:ext uri="{FF2B5EF4-FFF2-40B4-BE49-F238E27FC236}">
                <a16:creationId xmlns:a16="http://schemas.microsoft.com/office/drawing/2014/main" id="{07DF00E3-9491-22E1-4A7D-C6B77C9259FE}"/>
              </a:ext>
            </a:extLst>
          </p:cNvPr>
          <p:cNvSpPr txBox="1">
            <a:spLocks/>
          </p:cNvSpPr>
          <p:nvPr userDrawn="1"/>
        </p:nvSpPr>
        <p:spPr>
          <a:xfrm>
            <a:off x="607695" y="265106"/>
            <a:ext cx="1205465" cy="180000"/>
          </a:xfrm>
          <a:prstGeom prst="rect">
            <a:avLst/>
          </a:prstGeom>
        </p:spPr>
        <p:txBody>
          <a:bodyPr lIns="0" rIns="0" anchor="ctr" anchorCtr="0"/>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l"/>
            <a:r>
              <a:rPr lang="en-IN" sz="800" dirty="0">
                <a:latin typeface="+mn-lt"/>
              </a:rPr>
              <a:t>WBA AI Training Part 2</a:t>
            </a:r>
            <a:endParaRPr sz="800" dirty="0">
              <a:latin typeface="+mn-lt"/>
            </a:endParaRPr>
          </a:p>
        </p:txBody>
      </p:sp>
      <p:sp>
        <p:nvSpPr>
          <p:cNvPr id="13" name="Oval 12">
            <a:extLst>
              <a:ext uri="{FF2B5EF4-FFF2-40B4-BE49-F238E27FC236}">
                <a16:creationId xmlns:a16="http://schemas.microsoft.com/office/drawing/2014/main" id="{48F9197D-9A7D-F47E-A212-07218D62091F}"/>
              </a:ext>
            </a:extLst>
          </p:cNvPr>
          <p:cNvSpPr/>
          <p:nvPr userDrawn="1"/>
        </p:nvSpPr>
        <p:spPr>
          <a:xfrm>
            <a:off x="177400" y="209543"/>
            <a:ext cx="303055" cy="303055"/>
          </a:xfrm>
          <a:prstGeom prst="ellipse">
            <a:avLst/>
          </a:prstGeom>
          <a:noFill/>
          <a:ln w="9525" cap="flat" cmpd="sng" algn="ctr">
            <a:solidFill>
              <a:srgbClr val="C4C4C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cxnSp>
        <p:nvCxnSpPr>
          <p:cNvPr id="14" name="Straight Connector 13">
            <a:extLst>
              <a:ext uri="{FF2B5EF4-FFF2-40B4-BE49-F238E27FC236}">
                <a16:creationId xmlns:a16="http://schemas.microsoft.com/office/drawing/2014/main" id="{44086518-99D4-F8D8-56FA-B4163975CBD1}"/>
              </a:ext>
            </a:extLst>
          </p:cNvPr>
          <p:cNvCxnSpPr>
            <a:cxnSpLocks/>
            <a:stCxn id="12" idx="3"/>
          </p:cNvCxnSpPr>
          <p:nvPr userDrawn="1"/>
        </p:nvCxnSpPr>
        <p:spPr>
          <a:xfrm>
            <a:off x="1813160" y="355106"/>
            <a:ext cx="9211011" cy="0"/>
          </a:xfrm>
          <a:prstGeom prst="line">
            <a:avLst/>
          </a:prstGeom>
          <a:ln w="6350" cap="flat" cmpd="sng" algn="ctr">
            <a:solidFill>
              <a:schemeClr val="bg1">
                <a:alpha val="5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01F9A1B-E3DA-A3D8-78B2-46C984EA2108}"/>
              </a:ext>
            </a:extLst>
          </p:cNvPr>
          <p:cNvCxnSpPr>
            <a:cxnSpLocks/>
          </p:cNvCxnSpPr>
          <p:nvPr userDrawn="1"/>
        </p:nvCxnSpPr>
        <p:spPr>
          <a:xfrm>
            <a:off x="614896" y="3255007"/>
            <a:ext cx="917498" cy="0"/>
          </a:xfrm>
          <a:prstGeom prst="line">
            <a:avLst/>
          </a:prstGeom>
          <a:ln w="25400" cap="rnd" cmpd="sng" algn="ctr">
            <a:solidFill>
              <a:srgbClr val="FFE60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614896" y="3385837"/>
            <a:ext cx="4917223" cy="2026983"/>
          </a:xfrm>
        </p:spPr>
        <p:txBody>
          <a:bodyPr vert="horz" lIns="0" tIns="0" rIns="0" bIns="0" rtlCol="0" anchor="t" anchorCtr="0">
            <a:noAutofit/>
          </a:bodyPr>
          <a:lstStyle>
            <a:lvl1pPr marL="0" indent="0">
              <a:buNone/>
              <a:defRPr kumimoji="0" lang="en-IN" sz="3600"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a:t>Chapter Title</a:t>
            </a:r>
            <a:endParaRPr lang="en-IN"/>
          </a:p>
        </p:txBody>
      </p:sp>
      <p:sp>
        <p:nvSpPr>
          <p:cNvPr id="19" name="Text Placeholder 4">
            <a:extLst>
              <a:ext uri="{FF2B5EF4-FFF2-40B4-BE49-F238E27FC236}">
                <a16:creationId xmlns:a16="http://schemas.microsoft.com/office/drawing/2014/main" id="{0649E384-B5E1-4FEF-DCD0-1FFA17318775}"/>
              </a:ext>
            </a:extLst>
          </p:cNvPr>
          <p:cNvSpPr>
            <a:spLocks noGrp="1"/>
          </p:cNvSpPr>
          <p:nvPr>
            <p:ph type="body" sz="quarter" idx="11" hasCustomPrompt="1"/>
          </p:nvPr>
        </p:nvSpPr>
        <p:spPr>
          <a:xfrm>
            <a:off x="589407" y="1616122"/>
            <a:ext cx="1489230" cy="1769715"/>
          </a:xfrm>
        </p:spPr>
        <p:txBody>
          <a:bodyPr vert="horz" wrap="square" lIns="0" tIns="0" rIns="0" bIns="0" rtlCol="0" anchor="t" anchorCtr="0">
            <a:spAutoFit/>
          </a:bodyPr>
          <a:lstStyle>
            <a:lvl1pPr marL="0" indent="0">
              <a:buNone/>
              <a:defRPr kumimoji="0" lang="en-IN" sz="11500" b="1" i="0" u="none" strike="noStrike" cap="none" spc="0" normalizeH="0" baseline="0" dirty="0">
                <a:ln w="6350">
                  <a:solidFill>
                    <a:schemeClr val="bg1">
                      <a:alpha val="50000"/>
                    </a:schemeClr>
                  </a:solidFill>
                </a:ln>
                <a:no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a:t>4</a:t>
            </a:r>
            <a:endParaRPr lang="en-IN"/>
          </a:p>
        </p:txBody>
      </p:sp>
      <p:grpSp>
        <p:nvGrpSpPr>
          <p:cNvPr id="2" name="Group 1">
            <a:extLst>
              <a:ext uri="{FF2B5EF4-FFF2-40B4-BE49-F238E27FC236}">
                <a16:creationId xmlns:a16="http://schemas.microsoft.com/office/drawing/2014/main" id="{263A9E44-A3C3-7442-B48B-1A8863882FFF}"/>
              </a:ext>
            </a:extLst>
          </p:cNvPr>
          <p:cNvGrpSpPr/>
          <p:nvPr userDrawn="1"/>
        </p:nvGrpSpPr>
        <p:grpSpPr>
          <a:xfrm>
            <a:off x="5956278" y="792396"/>
            <a:ext cx="5582014" cy="5582014"/>
            <a:chOff x="6464300" y="894962"/>
            <a:chExt cx="7835726" cy="7835726"/>
          </a:xfrm>
        </p:grpSpPr>
        <p:sp>
          <p:nvSpPr>
            <p:cNvPr id="18" name="Oval 17">
              <a:extLst>
                <a:ext uri="{FF2B5EF4-FFF2-40B4-BE49-F238E27FC236}">
                  <a16:creationId xmlns:a16="http://schemas.microsoft.com/office/drawing/2014/main" id="{9B8F27CF-46E2-90E4-F87F-22C878EF9006}"/>
                </a:ext>
              </a:extLst>
            </p:cNvPr>
            <p:cNvSpPr/>
            <p:nvPr userDrawn="1"/>
          </p:nvSpPr>
          <p:spPr>
            <a:xfrm>
              <a:off x="6464300" y="894962"/>
              <a:ext cx="7835726" cy="7835726"/>
            </a:xfrm>
            <a:prstGeom prst="ellipse">
              <a:avLst/>
            </a:prstGeom>
            <a:solidFill>
              <a:srgbClr val="2E2E38">
                <a:alpha val="80000"/>
              </a:srgbClr>
            </a:solidFill>
            <a:ln w="9525" cap="flat" cmpd="sng" algn="ctr">
              <a:solidFill>
                <a:srgbClr val="FFE600"/>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pic>
          <p:nvPicPr>
            <p:cNvPr id="4" name="Picture 3">
              <a:extLst>
                <a:ext uri="{FF2B5EF4-FFF2-40B4-BE49-F238E27FC236}">
                  <a16:creationId xmlns:a16="http://schemas.microsoft.com/office/drawing/2014/main" id="{76D08DC6-2B8D-2FEA-2201-6D1F3A3D6893}"/>
                </a:ext>
              </a:extLst>
            </p:cNvPr>
            <p:cNvPicPr>
              <a:picLocks/>
            </p:cNvPicPr>
            <p:nvPr userDrawn="1"/>
          </p:nvPicPr>
          <p:blipFill>
            <a:blip r:embed="rId4" cstate="screen">
              <a:extLst>
                <a:ext uri="{28A0092B-C50C-407E-A947-70E740481C1C}">
                  <a14:useLocalDpi xmlns:a14="http://schemas.microsoft.com/office/drawing/2010/main"/>
                </a:ext>
              </a:extLst>
            </a:blip>
            <a:srcRect/>
            <a:stretch/>
          </p:blipFill>
          <p:spPr>
            <a:xfrm>
              <a:off x="6641926" y="1072588"/>
              <a:ext cx="7480475" cy="7480475"/>
            </a:xfrm>
            <a:prstGeom prst="ellipse">
              <a:avLst/>
            </a:prstGeom>
          </p:spPr>
        </p:pic>
      </p:grpSp>
      <p:cxnSp>
        <p:nvCxnSpPr>
          <p:cNvPr id="20" name="Straight Connector 19">
            <a:extLst>
              <a:ext uri="{FF2B5EF4-FFF2-40B4-BE49-F238E27FC236}">
                <a16:creationId xmlns:a16="http://schemas.microsoft.com/office/drawing/2014/main" id="{6A4F1DBA-78CC-6EB3-2568-1AFDD28B3BC5}"/>
              </a:ext>
            </a:extLst>
          </p:cNvPr>
          <p:cNvCxnSpPr>
            <a:cxnSpLocks/>
          </p:cNvCxnSpPr>
          <p:nvPr userDrawn="1"/>
        </p:nvCxnSpPr>
        <p:spPr>
          <a:xfrm>
            <a:off x="0" y="6741392"/>
            <a:ext cx="12191999" cy="0"/>
          </a:xfrm>
          <a:prstGeom prst="line">
            <a:avLst/>
          </a:prstGeom>
          <a:ln w="6350" cap="flat" cmpd="sng" algn="ctr">
            <a:solidFill>
              <a:schemeClr val="bg1">
                <a:alpha val="3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1DBF275F-32AC-9B8C-420A-F42571E54F68}"/>
              </a:ext>
            </a:extLst>
          </p:cNvPr>
          <p:cNvCxnSpPr>
            <a:cxnSpLocks/>
          </p:cNvCxnSpPr>
          <p:nvPr userDrawn="1"/>
        </p:nvCxnSpPr>
        <p:spPr>
          <a:xfrm>
            <a:off x="5887092" y="6741392"/>
            <a:ext cx="417816" cy="0"/>
          </a:xfrm>
          <a:prstGeom prst="line">
            <a:avLst/>
          </a:prstGeom>
          <a:ln w="15875" cap="flat" cmpd="sng" algn="ctr">
            <a:solidFill>
              <a:srgbClr val="74748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1963631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0_Standard slide_no bullet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8643B9-646F-79E1-3DA1-3EA89A90BF69}"/>
              </a:ext>
            </a:extLst>
          </p:cNvPr>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0" y="0"/>
            <a:ext cx="12199201" cy="6858000"/>
          </a:xfrm>
          <a:prstGeom prst="rect">
            <a:avLst/>
          </a:prstGeom>
        </p:spPr>
      </p:pic>
      <p:sp>
        <p:nvSpPr>
          <p:cNvPr id="6" name="Rectangle 5">
            <a:extLst>
              <a:ext uri="{FF2B5EF4-FFF2-40B4-BE49-F238E27FC236}">
                <a16:creationId xmlns:a16="http://schemas.microsoft.com/office/drawing/2014/main" id="{052D7209-0328-C2D1-5E61-32FAB18EF5A8}"/>
              </a:ext>
            </a:extLst>
          </p:cNvPr>
          <p:cNvSpPr>
            <a:spLocks/>
          </p:cNvSpPr>
          <p:nvPr userDrawn="1"/>
        </p:nvSpPr>
        <p:spPr>
          <a:xfrm>
            <a:off x="-1" y="0"/>
            <a:ext cx="12199201" cy="6858000"/>
          </a:xfrm>
          <a:prstGeom prst="rect">
            <a:avLst/>
          </a:prstGeom>
          <a:solidFill>
            <a:srgbClr val="2E2E38">
              <a:alpha val="80000"/>
            </a:srgb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grpSp>
        <p:nvGrpSpPr>
          <p:cNvPr id="7" name="Group 4">
            <a:extLst>
              <a:ext uri="{FF2B5EF4-FFF2-40B4-BE49-F238E27FC236}">
                <a16:creationId xmlns:a16="http://schemas.microsoft.com/office/drawing/2014/main" id="{61F27248-8723-A061-1F09-A6BC142B502F}"/>
              </a:ext>
            </a:extLst>
          </p:cNvPr>
          <p:cNvGrpSpPr>
            <a:grpSpLocks noChangeAspect="1"/>
          </p:cNvGrpSpPr>
          <p:nvPr userDrawn="1"/>
        </p:nvGrpSpPr>
        <p:grpSpPr bwMode="auto">
          <a:xfrm>
            <a:off x="11281250" y="153981"/>
            <a:ext cx="303055" cy="311150"/>
            <a:chOff x="7110" y="4004"/>
            <a:chExt cx="191" cy="196"/>
          </a:xfrm>
        </p:grpSpPr>
        <p:sp>
          <p:nvSpPr>
            <p:cNvPr id="8" name="Freeform 5">
              <a:extLst>
                <a:ext uri="{FF2B5EF4-FFF2-40B4-BE49-F238E27FC236}">
                  <a16:creationId xmlns:a16="http://schemas.microsoft.com/office/drawing/2014/main" id="{AFAD10C3-B6B6-E271-AAFB-FC8007A4665A}"/>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9" name="Freeform 6">
              <a:extLst>
                <a:ext uri="{FF2B5EF4-FFF2-40B4-BE49-F238E27FC236}">
                  <a16:creationId xmlns:a16="http://schemas.microsoft.com/office/drawing/2014/main" id="{FA670CFE-FAD4-4CFE-09D0-22FF337222C0}"/>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0" name="Freeform 7">
              <a:extLst>
                <a:ext uri="{FF2B5EF4-FFF2-40B4-BE49-F238E27FC236}">
                  <a16:creationId xmlns:a16="http://schemas.microsoft.com/office/drawing/2014/main" id="{9A8B8770-0AA6-69D3-F20A-7C3D09A4CD12}"/>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grpSp>
      <p:sp>
        <p:nvSpPr>
          <p:cNvPr id="11" name="Slide Number Placeholder 4">
            <a:extLst>
              <a:ext uri="{FF2B5EF4-FFF2-40B4-BE49-F238E27FC236}">
                <a16:creationId xmlns:a16="http://schemas.microsoft.com/office/drawing/2014/main" id="{7C98785B-0FE0-DE9A-DFA3-90431F55072D}"/>
              </a:ext>
            </a:extLst>
          </p:cNvPr>
          <p:cNvSpPr txBox="1">
            <a:spLocks/>
          </p:cNvSpPr>
          <p:nvPr userDrawn="1"/>
        </p:nvSpPr>
        <p:spPr>
          <a:xfrm>
            <a:off x="181210" y="271070"/>
            <a:ext cx="303055" cy="180000"/>
          </a:xfrm>
          <a:prstGeom prst="rect">
            <a:avLst/>
          </a:prstGeom>
        </p:spPr>
        <p:txBody>
          <a:bodyPr lIns="0" rIns="0" anchor="ctr" anchorCtr="0"/>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fld id="{D5B76411-544C-4F9A-8EDE-9EEB2BD21F95}" type="slidenum">
              <a:rPr lang="en-IN" sz="1000" smtClean="0"/>
              <a:pPr lvl="0" algn="ctr"/>
              <a:t>‹#›</a:t>
            </a:fld>
            <a:endParaRPr sz="1000" dirty="0"/>
          </a:p>
        </p:txBody>
      </p:sp>
      <p:sp>
        <p:nvSpPr>
          <p:cNvPr id="12" name="Slide Number Placeholder 4">
            <a:extLst>
              <a:ext uri="{FF2B5EF4-FFF2-40B4-BE49-F238E27FC236}">
                <a16:creationId xmlns:a16="http://schemas.microsoft.com/office/drawing/2014/main" id="{07DF00E3-9491-22E1-4A7D-C6B77C9259FE}"/>
              </a:ext>
            </a:extLst>
          </p:cNvPr>
          <p:cNvSpPr txBox="1">
            <a:spLocks/>
          </p:cNvSpPr>
          <p:nvPr userDrawn="1"/>
        </p:nvSpPr>
        <p:spPr>
          <a:xfrm>
            <a:off x="607695" y="265106"/>
            <a:ext cx="1205465" cy="180000"/>
          </a:xfrm>
          <a:prstGeom prst="rect">
            <a:avLst/>
          </a:prstGeom>
        </p:spPr>
        <p:txBody>
          <a:bodyPr lIns="0" rIns="0" anchor="ctr" anchorCtr="0"/>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l"/>
            <a:r>
              <a:rPr lang="en-IN" sz="800" dirty="0">
                <a:latin typeface="+mn-lt"/>
              </a:rPr>
              <a:t>WBA AI Training Part 2</a:t>
            </a:r>
            <a:endParaRPr sz="800" dirty="0">
              <a:latin typeface="+mn-lt"/>
            </a:endParaRPr>
          </a:p>
        </p:txBody>
      </p:sp>
      <p:sp>
        <p:nvSpPr>
          <p:cNvPr id="13" name="Oval 12">
            <a:extLst>
              <a:ext uri="{FF2B5EF4-FFF2-40B4-BE49-F238E27FC236}">
                <a16:creationId xmlns:a16="http://schemas.microsoft.com/office/drawing/2014/main" id="{48F9197D-9A7D-F47E-A212-07218D62091F}"/>
              </a:ext>
            </a:extLst>
          </p:cNvPr>
          <p:cNvSpPr/>
          <p:nvPr userDrawn="1"/>
        </p:nvSpPr>
        <p:spPr>
          <a:xfrm>
            <a:off x="177400" y="209543"/>
            <a:ext cx="303055" cy="303055"/>
          </a:xfrm>
          <a:prstGeom prst="ellipse">
            <a:avLst/>
          </a:prstGeom>
          <a:noFill/>
          <a:ln w="9525" cap="flat" cmpd="sng" algn="ctr">
            <a:solidFill>
              <a:srgbClr val="C4C4C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cxnSp>
        <p:nvCxnSpPr>
          <p:cNvPr id="14" name="Straight Connector 13">
            <a:extLst>
              <a:ext uri="{FF2B5EF4-FFF2-40B4-BE49-F238E27FC236}">
                <a16:creationId xmlns:a16="http://schemas.microsoft.com/office/drawing/2014/main" id="{44086518-99D4-F8D8-56FA-B4163975CBD1}"/>
              </a:ext>
            </a:extLst>
          </p:cNvPr>
          <p:cNvCxnSpPr>
            <a:cxnSpLocks/>
            <a:stCxn id="12" idx="3"/>
          </p:cNvCxnSpPr>
          <p:nvPr userDrawn="1"/>
        </p:nvCxnSpPr>
        <p:spPr>
          <a:xfrm>
            <a:off x="1813160" y="355106"/>
            <a:ext cx="9211011" cy="0"/>
          </a:xfrm>
          <a:prstGeom prst="line">
            <a:avLst/>
          </a:prstGeom>
          <a:ln w="6350" cap="flat" cmpd="sng" algn="ctr">
            <a:solidFill>
              <a:schemeClr val="bg1">
                <a:alpha val="5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01F9A1B-E3DA-A3D8-78B2-46C984EA2108}"/>
              </a:ext>
            </a:extLst>
          </p:cNvPr>
          <p:cNvCxnSpPr>
            <a:cxnSpLocks/>
          </p:cNvCxnSpPr>
          <p:nvPr userDrawn="1"/>
        </p:nvCxnSpPr>
        <p:spPr>
          <a:xfrm>
            <a:off x="614896" y="3255007"/>
            <a:ext cx="917498" cy="0"/>
          </a:xfrm>
          <a:prstGeom prst="line">
            <a:avLst/>
          </a:prstGeom>
          <a:ln w="25400" cap="rnd" cmpd="sng" algn="ctr">
            <a:solidFill>
              <a:srgbClr val="FFE60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614896" y="3385837"/>
            <a:ext cx="4917223" cy="2026983"/>
          </a:xfrm>
        </p:spPr>
        <p:txBody>
          <a:bodyPr vert="horz" lIns="0" tIns="0" rIns="0" bIns="0" rtlCol="0" anchor="t" anchorCtr="0">
            <a:noAutofit/>
          </a:bodyPr>
          <a:lstStyle>
            <a:lvl1pPr marL="0" indent="0">
              <a:buNone/>
              <a:defRPr kumimoji="0" lang="en-IN" sz="3600"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a:t>Chapter Title</a:t>
            </a:r>
            <a:endParaRPr lang="en-IN"/>
          </a:p>
        </p:txBody>
      </p:sp>
      <p:sp>
        <p:nvSpPr>
          <p:cNvPr id="19" name="Text Placeholder 4">
            <a:extLst>
              <a:ext uri="{FF2B5EF4-FFF2-40B4-BE49-F238E27FC236}">
                <a16:creationId xmlns:a16="http://schemas.microsoft.com/office/drawing/2014/main" id="{0649E384-B5E1-4FEF-DCD0-1FFA17318775}"/>
              </a:ext>
            </a:extLst>
          </p:cNvPr>
          <p:cNvSpPr>
            <a:spLocks noGrp="1"/>
          </p:cNvSpPr>
          <p:nvPr>
            <p:ph type="body" sz="quarter" idx="11" hasCustomPrompt="1"/>
          </p:nvPr>
        </p:nvSpPr>
        <p:spPr>
          <a:xfrm>
            <a:off x="589407" y="1616122"/>
            <a:ext cx="1489230" cy="1769715"/>
          </a:xfrm>
        </p:spPr>
        <p:txBody>
          <a:bodyPr vert="horz" wrap="square" lIns="0" tIns="0" rIns="0" bIns="0" rtlCol="0" anchor="t" anchorCtr="0">
            <a:spAutoFit/>
          </a:bodyPr>
          <a:lstStyle>
            <a:lvl1pPr marL="0" indent="0">
              <a:buNone/>
              <a:defRPr kumimoji="0" lang="en-IN" sz="11500" b="1" i="0" u="none" strike="noStrike" cap="none" spc="0" normalizeH="0" baseline="0" dirty="0">
                <a:ln w="6350">
                  <a:solidFill>
                    <a:schemeClr val="bg1">
                      <a:alpha val="50000"/>
                    </a:schemeClr>
                  </a:solidFill>
                </a:ln>
                <a:no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a:t>5</a:t>
            </a:r>
            <a:endParaRPr lang="en-IN"/>
          </a:p>
        </p:txBody>
      </p:sp>
      <p:grpSp>
        <p:nvGrpSpPr>
          <p:cNvPr id="2" name="Group 1">
            <a:extLst>
              <a:ext uri="{FF2B5EF4-FFF2-40B4-BE49-F238E27FC236}">
                <a16:creationId xmlns:a16="http://schemas.microsoft.com/office/drawing/2014/main" id="{263A9E44-A3C3-7442-B48B-1A8863882FFF}"/>
              </a:ext>
            </a:extLst>
          </p:cNvPr>
          <p:cNvGrpSpPr/>
          <p:nvPr userDrawn="1"/>
        </p:nvGrpSpPr>
        <p:grpSpPr>
          <a:xfrm>
            <a:off x="5956278" y="792396"/>
            <a:ext cx="5582014" cy="5582014"/>
            <a:chOff x="6464300" y="894962"/>
            <a:chExt cx="7835726" cy="7835726"/>
          </a:xfrm>
        </p:grpSpPr>
        <p:sp>
          <p:nvSpPr>
            <p:cNvPr id="18" name="Oval 17">
              <a:extLst>
                <a:ext uri="{FF2B5EF4-FFF2-40B4-BE49-F238E27FC236}">
                  <a16:creationId xmlns:a16="http://schemas.microsoft.com/office/drawing/2014/main" id="{9B8F27CF-46E2-90E4-F87F-22C878EF9006}"/>
                </a:ext>
              </a:extLst>
            </p:cNvPr>
            <p:cNvSpPr/>
            <p:nvPr userDrawn="1"/>
          </p:nvSpPr>
          <p:spPr>
            <a:xfrm>
              <a:off x="6464300" y="894962"/>
              <a:ext cx="7835726" cy="7835726"/>
            </a:xfrm>
            <a:prstGeom prst="ellipse">
              <a:avLst/>
            </a:prstGeom>
            <a:solidFill>
              <a:srgbClr val="2E2E38">
                <a:alpha val="80000"/>
              </a:srgbClr>
            </a:solidFill>
            <a:ln w="9525" cap="flat" cmpd="sng" algn="ctr">
              <a:solidFill>
                <a:srgbClr val="FFE600"/>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pic>
          <p:nvPicPr>
            <p:cNvPr id="4" name="Picture 3">
              <a:extLst>
                <a:ext uri="{FF2B5EF4-FFF2-40B4-BE49-F238E27FC236}">
                  <a16:creationId xmlns:a16="http://schemas.microsoft.com/office/drawing/2014/main" id="{76D08DC6-2B8D-2FEA-2201-6D1F3A3D6893}"/>
                </a:ext>
              </a:extLst>
            </p:cNvPr>
            <p:cNvPicPr>
              <a:picLocks/>
            </p:cNvPicPr>
            <p:nvPr userDrawn="1"/>
          </p:nvPicPr>
          <p:blipFill>
            <a:blip r:embed="rId4" cstate="screen">
              <a:extLst>
                <a:ext uri="{28A0092B-C50C-407E-A947-70E740481C1C}">
                  <a14:useLocalDpi xmlns:a14="http://schemas.microsoft.com/office/drawing/2010/main"/>
                </a:ext>
              </a:extLst>
            </a:blip>
            <a:srcRect/>
            <a:stretch/>
          </p:blipFill>
          <p:spPr>
            <a:xfrm>
              <a:off x="6641926" y="1072588"/>
              <a:ext cx="7480475" cy="7480475"/>
            </a:xfrm>
            <a:prstGeom prst="ellipse">
              <a:avLst/>
            </a:prstGeom>
          </p:spPr>
        </p:pic>
      </p:grpSp>
      <p:cxnSp>
        <p:nvCxnSpPr>
          <p:cNvPr id="20" name="Straight Connector 19">
            <a:extLst>
              <a:ext uri="{FF2B5EF4-FFF2-40B4-BE49-F238E27FC236}">
                <a16:creationId xmlns:a16="http://schemas.microsoft.com/office/drawing/2014/main" id="{637A2CFB-00AF-E20E-F053-0BD0EB43B807}"/>
              </a:ext>
            </a:extLst>
          </p:cNvPr>
          <p:cNvCxnSpPr>
            <a:cxnSpLocks/>
          </p:cNvCxnSpPr>
          <p:nvPr userDrawn="1"/>
        </p:nvCxnSpPr>
        <p:spPr>
          <a:xfrm>
            <a:off x="0" y="6741392"/>
            <a:ext cx="12191999" cy="0"/>
          </a:xfrm>
          <a:prstGeom prst="line">
            <a:avLst/>
          </a:prstGeom>
          <a:ln w="6350" cap="flat" cmpd="sng" algn="ctr">
            <a:solidFill>
              <a:schemeClr val="bg1">
                <a:alpha val="3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E410106-13B2-9E5B-E21E-0B4CFB030FE6}"/>
              </a:ext>
            </a:extLst>
          </p:cNvPr>
          <p:cNvCxnSpPr>
            <a:cxnSpLocks/>
          </p:cNvCxnSpPr>
          <p:nvPr userDrawn="1"/>
        </p:nvCxnSpPr>
        <p:spPr>
          <a:xfrm>
            <a:off x="5887092" y="6741392"/>
            <a:ext cx="417816" cy="0"/>
          </a:xfrm>
          <a:prstGeom prst="line">
            <a:avLst/>
          </a:prstGeom>
          <a:ln w="15875" cap="flat" cmpd="sng" algn="ctr">
            <a:solidFill>
              <a:srgbClr val="74748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4559762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1_Standard slide_no bullet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8643B9-646F-79E1-3DA1-3EA89A90BF69}"/>
              </a:ext>
            </a:extLst>
          </p:cNvPr>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 name="Rectangle 5">
            <a:extLst>
              <a:ext uri="{FF2B5EF4-FFF2-40B4-BE49-F238E27FC236}">
                <a16:creationId xmlns:a16="http://schemas.microsoft.com/office/drawing/2014/main" id="{052D7209-0328-C2D1-5E61-32FAB18EF5A8}"/>
              </a:ext>
            </a:extLst>
          </p:cNvPr>
          <p:cNvSpPr>
            <a:spLocks/>
          </p:cNvSpPr>
          <p:nvPr userDrawn="1"/>
        </p:nvSpPr>
        <p:spPr>
          <a:xfrm>
            <a:off x="-1" y="0"/>
            <a:ext cx="12192001" cy="6858000"/>
          </a:xfrm>
          <a:prstGeom prst="rect">
            <a:avLst/>
          </a:prstGeom>
          <a:solidFill>
            <a:srgbClr val="2E2E38">
              <a:alpha val="80000"/>
            </a:srgb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grpSp>
        <p:nvGrpSpPr>
          <p:cNvPr id="7" name="Group 4">
            <a:extLst>
              <a:ext uri="{FF2B5EF4-FFF2-40B4-BE49-F238E27FC236}">
                <a16:creationId xmlns:a16="http://schemas.microsoft.com/office/drawing/2014/main" id="{61F27248-8723-A061-1F09-A6BC142B502F}"/>
              </a:ext>
            </a:extLst>
          </p:cNvPr>
          <p:cNvGrpSpPr>
            <a:grpSpLocks noChangeAspect="1"/>
          </p:cNvGrpSpPr>
          <p:nvPr userDrawn="1"/>
        </p:nvGrpSpPr>
        <p:grpSpPr bwMode="auto">
          <a:xfrm>
            <a:off x="11281250" y="153981"/>
            <a:ext cx="303055" cy="311150"/>
            <a:chOff x="7110" y="4004"/>
            <a:chExt cx="191" cy="196"/>
          </a:xfrm>
        </p:grpSpPr>
        <p:sp>
          <p:nvSpPr>
            <p:cNvPr id="8" name="Freeform 5">
              <a:extLst>
                <a:ext uri="{FF2B5EF4-FFF2-40B4-BE49-F238E27FC236}">
                  <a16:creationId xmlns:a16="http://schemas.microsoft.com/office/drawing/2014/main" id="{AFAD10C3-B6B6-E271-AAFB-FC8007A4665A}"/>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9" name="Freeform 6">
              <a:extLst>
                <a:ext uri="{FF2B5EF4-FFF2-40B4-BE49-F238E27FC236}">
                  <a16:creationId xmlns:a16="http://schemas.microsoft.com/office/drawing/2014/main" id="{FA670CFE-FAD4-4CFE-09D0-22FF337222C0}"/>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0" name="Freeform 7">
              <a:extLst>
                <a:ext uri="{FF2B5EF4-FFF2-40B4-BE49-F238E27FC236}">
                  <a16:creationId xmlns:a16="http://schemas.microsoft.com/office/drawing/2014/main" id="{9A8B8770-0AA6-69D3-F20A-7C3D09A4CD12}"/>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grpSp>
      <p:sp>
        <p:nvSpPr>
          <p:cNvPr id="11" name="Slide Number Placeholder 4">
            <a:extLst>
              <a:ext uri="{FF2B5EF4-FFF2-40B4-BE49-F238E27FC236}">
                <a16:creationId xmlns:a16="http://schemas.microsoft.com/office/drawing/2014/main" id="{7C98785B-0FE0-DE9A-DFA3-90431F55072D}"/>
              </a:ext>
            </a:extLst>
          </p:cNvPr>
          <p:cNvSpPr txBox="1">
            <a:spLocks/>
          </p:cNvSpPr>
          <p:nvPr userDrawn="1"/>
        </p:nvSpPr>
        <p:spPr>
          <a:xfrm>
            <a:off x="181210" y="271070"/>
            <a:ext cx="303055" cy="180000"/>
          </a:xfrm>
          <a:prstGeom prst="rect">
            <a:avLst/>
          </a:prstGeom>
        </p:spPr>
        <p:txBody>
          <a:bodyPr lIns="0" rIns="0" anchor="ctr" anchorCtr="0"/>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fld id="{D5B76411-544C-4F9A-8EDE-9EEB2BD21F95}" type="slidenum">
              <a:rPr lang="en-IN" sz="1000" smtClean="0"/>
              <a:pPr lvl="0" algn="ctr"/>
              <a:t>‹#›</a:t>
            </a:fld>
            <a:endParaRPr sz="1000" dirty="0"/>
          </a:p>
        </p:txBody>
      </p:sp>
      <p:sp>
        <p:nvSpPr>
          <p:cNvPr id="12" name="Slide Number Placeholder 4">
            <a:extLst>
              <a:ext uri="{FF2B5EF4-FFF2-40B4-BE49-F238E27FC236}">
                <a16:creationId xmlns:a16="http://schemas.microsoft.com/office/drawing/2014/main" id="{07DF00E3-9491-22E1-4A7D-C6B77C9259FE}"/>
              </a:ext>
            </a:extLst>
          </p:cNvPr>
          <p:cNvSpPr txBox="1">
            <a:spLocks/>
          </p:cNvSpPr>
          <p:nvPr userDrawn="1"/>
        </p:nvSpPr>
        <p:spPr>
          <a:xfrm>
            <a:off x="607695" y="265106"/>
            <a:ext cx="1205465" cy="180000"/>
          </a:xfrm>
          <a:prstGeom prst="rect">
            <a:avLst/>
          </a:prstGeom>
        </p:spPr>
        <p:txBody>
          <a:bodyPr lIns="0" rIns="0" anchor="ctr" anchorCtr="0"/>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l"/>
            <a:r>
              <a:rPr lang="en-IN" sz="800" dirty="0">
                <a:latin typeface="+mn-lt"/>
              </a:rPr>
              <a:t>WBA AI Training Part 2</a:t>
            </a:r>
            <a:endParaRPr sz="800" dirty="0">
              <a:latin typeface="+mn-lt"/>
            </a:endParaRPr>
          </a:p>
        </p:txBody>
      </p:sp>
      <p:sp>
        <p:nvSpPr>
          <p:cNvPr id="13" name="Oval 12">
            <a:extLst>
              <a:ext uri="{FF2B5EF4-FFF2-40B4-BE49-F238E27FC236}">
                <a16:creationId xmlns:a16="http://schemas.microsoft.com/office/drawing/2014/main" id="{48F9197D-9A7D-F47E-A212-07218D62091F}"/>
              </a:ext>
            </a:extLst>
          </p:cNvPr>
          <p:cNvSpPr/>
          <p:nvPr userDrawn="1"/>
        </p:nvSpPr>
        <p:spPr>
          <a:xfrm>
            <a:off x="177400" y="209543"/>
            <a:ext cx="303055" cy="303055"/>
          </a:xfrm>
          <a:prstGeom prst="ellipse">
            <a:avLst/>
          </a:prstGeom>
          <a:noFill/>
          <a:ln w="9525" cap="flat" cmpd="sng" algn="ctr">
            <a:solidFill>
              <a:srgbClr val="C4C4C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cxnSp>
        <p:nvCxnSpPr>
          <p:cNvPr id="14" name="Straight Connector 13">
            <a:extLst>
              <a:ext uri="{FF2B5EF4-FFF2-40B4-BE49-F238E27FC236}">
                <a16:creationId xmlns:a16="http://schemas.microsoft.com/office/drawing/2014/main" id="{44086518-99D4-F8D8-56FA-B4163975CBD1}"/>
              </a:ext>
            </a:extLst>
          </p:cNvPr>
          <p:cNvCxnSpPr>
            <a:cxnSpLocks/>
            <a:stCxn id="12" idx="3"/>
          </p:cNvCxnSpPr>
          <p:nvPr userDrawn="1"/>
        </p:nvCxnSpPr>
        <p:spPr>
          <a:xfrm>
            <a:off x="1813160" y="355106"/>
            <a:ext cx="9211011" cy="0"/>
          </a:xfrm>
          <a:prstGeom prst="line">
            <a:avLst/>
          </a:prstGeom>
          <a:ln w="6350" cap="flat" cmpd="sng" algn="ctr">
            <a:solidFill>
              <a:schemeClr val="bg1">
                <a:alpha val="5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01F9A1B-E3DA-A3D8-78B2-46C984EA2108}"/>
              </a:ext>
            </a:extLst>
          </p:cNvPr>
          <p:cNvCxnSpPr>
            <a:cxnSpLocks/>
          </p:cNvCxnSpPr>
          <p:nvPr userDrawn="1"/>
        </p:nvCxnSpPr>
        <p:spPr>
          <a:xfrm>
            <a:off x="614896" y="3255007"/>
            <a:ext cx="917498" cy="0"/>
          </a:xfrm>
          <a:prstGeom prst="line">
            <a:avLst/>
          </a:prstGeom>
          <a:ln w="25400" cap="rnd" cmpd="sng" algn="ctr">
            <a:solidFill>
              <a:srgbClr val="FFE60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614896" y="3385837"/>
            <a:ext cx="4917223" cy="2026983"/>
          </a:xfrm>
        </p:spPr>
        <p:txBody>
          <a:bodyPr vert="horz" lIns="0" tIns="0" rIns="0" bIns="0" rtlCol="0" anchor="t" anchorCtr="0">
            <a:noAutofit/>
          </a:bodyPr>
          <a:lstStyle>
            <a:lvl1pPr marL="0" indent="0">
              <a:buNone/>
              <a:defRPr kumimoji="0" lang="en-IN" sz="3600"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a:t>Chapter Title</a:t>
            </a:r>
            <a:endParaRPr lang="en-IN"/>
          </a:p>
        </p:txBody>
      </p:sp>
      <p:sp>
        <p:nvSpPr>
          <p:cNvPr id="19" name="Text Placeholder 4">
            <a:extLst>
              <a:ext uri="{FF2B5EF4-FFF2-40B4-BE49-F238E27FC236}">
                <a16:creationId xmlns:a16="http://schemas.microsoft.com/office/drawing/2014/main" id="{0649E384-B5E1-4FEF-DCD0-1FFA17318775}"/>
              </a:ext>
            </a:extLst>
          </p:cNvPr>
          <p:cNvSpPr>
            <a:spLocks noGrp="1"/>
          </p:cNvSpPr>
          <p:nvPr>
            <p:ph type="body" sz="quarter" idx="11" hasCustomPrompt="1"/>
          </p:nvPr>
        </p:nvSpPr>
        <p:spPr>
          <a:xfrm>
            <a:off x="589407" y="1616122"/>
            <a:ext cx="1489230" cy="1769715"/>
          </a:xfrm>
        </p:spPr>
        <p:txBody>
          <a:bodyPr vert="horz" wrap="square" lIns="0" tIns="0" rIns="0" bIns="0" rtlCol="0" anchor="t" anchorCtr="0">
            <a:spAutoFit/>
          </a:bodyPr>
          <a:lstStyle>
            <a:lvl1pPr marL="0" indent="0">
              <a:buNone/>
              <a:defRPr kumimoji="0" lang="en-IN" sz="11500" b="1" i="0" u="none" strike="noStrike" cap="none" spc="0" normalizeH="0" baseline="0" dirty="0">
                <a:ln w="6350">
                  <a:solidFill>
                    <a:schemeClr val="bg1">
                      <a:alpha val="50000"/>
                    </a:schemeClr>
                  </a:solidFill>
                </a:ln>
                <a:no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a:t>6</a:t>
            </a:r>
            <a:endParaRPr lang="en-IN"/>
          </a:p>
        </p:txBody>
      </p:sp>
      <p:grpSp>
        <p:nvGrpSpPr>
          <p:cNvPr id="2" name="Group 1">
            <a:extLst>
              <a:ext uri="{FF2B5EF4-FFF2-40B4-BE49-F238E27FC236}">
                <a16:creationId xmlns:a16="http://schemas.microsoft.com/office/drawing/2014/main" id="{263A9E44-A3C3-7442-B48B-1A8863882FFF}"/>
              </a:ext>
            </a:extLst>
          </p:cNvPr>
          <p:cNvGrpSpPr/>
          <p:nvPr userDrawn="1"/>
        </p:nvGrpSpPr>
        <p:grpSpPr>
          <a:xfrm>
            <a:off x="5956278" y="792396"/>
            <a:ext cx="5582014" cy="5582014"/>
            <a:chOff x="6464300" y="894962"/>
            <a:chExt cx="7835726" cy="7835726"/>
          </a:xfrm>
        </p:grpSpPr>
        <p:sp>
          <p:nvSpPr>
            <p:cNvPr id="18" name="Oval 17">
              <a:extLst>
                <a:ext uri="{FF2B5EF4-FFF2-40B4-BE49-F238E27FC236}">
                  <a16:creationId xmlns:a16="http://schemas.microsoft.com/office/drawing/2014/main" id="{9B8F27CF-46E2-90E4-F87F-22C878EF9006}"/>
                </a:ext>
              </a:extLst>
            </p:cNvPr>
            <p:cNvSpPr/>
            <p:nvPr userDrawn="1"/>
          </p:nvSpPr>
          <p:spPr>
            <a:xfrm>
              <a:off x="6464300" y="894962"/>
              <a:ext cx="7835726" cy="7835726"/>
            </a:xfrm>
            <a:prstGeom prst="ellipse">
              <a:avLst/>
            </a:prstGeom>
            <a:solidFill>
              <a:srgbClr val="2E2E38">
                <a:alpha val="80000"/>
              </a:srgbClr>
            </a:solidFill>
            <a:ln w="9525" cap="flat" cmpd="sng" algn="ctr">
              <a:solidFill>
                <a:srgbClr val="FFE600"/>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pic>
          <p:nvPicPr>
            <p:cNvPr id="4" name="Picture 3">
              <a:extLst>
                <a:ext uri="{FF2B5EF4-FFF2-40B4-BE49-F238E27FC236}">
                  <a16:creationId xmlns:a16="http://schemas.microsoft.com/office/drawing/2014/main" id="{76D08DC6-2B8D-2FEA-2201-6D1F3A3D6893}"/>
                </a:ext>
              </a:extLst>
            </p:cNvPr>
            <p:cNvPicPr>
              <a:picLocks/>
            </p:cNvPicPr>
            <p:nvPr userDrawn="1"/>
          </p:nvPicPr>
          <p:blipFill rotWithShape="1">
            <a:blip r:embed="rId4" cstate="screen">
              <a:extLst>
                <a:ext uri="{28A0092B-C50C-407E-A947-70E740481C1C}">
                  <a14:useLocalDpi xmlns:a14="http://schemas.microsoft.com/office/drawing/2010/main"/>
                </a:ext>
              </a:extLst>
            </a:blip>
            <a:srcRect/>
            <a:stretch/>
          </p:blipFill>
          <p:spPr>
            <a:xfrm>
              <a:off x="6641926" y="1072588"/>
              <a:ext cx="7480475" cy="7480475"/>
            </a:xfrm>
            <a:prstGeom prst="ellipse">
              <a:avLst/>
            </a:prstGeom>
          </p:spPr>
        </p:pic>
      </p:grpSp>
      <p:cxnSp>
        <p:nvCxnSpPr>
          <p:cNvPr id="20" name="Straight Connector 19">
            <a:extLst>
              <a:ext uri="{FF2B5EF4-FFF2-40B4-BE49-F238E27FC236}">
                <a16:creationId xmlns:a16="http://schemas.microsoft.com/office/drawing/2014/main" id="{9296D33B-3D8F-D3B9-5B47-650D5E3250E5}"/>
              </a:ext>
            </a:extLst>
          </p:cNvPr>
          <p:cNvCxnSpPr>
            <a:cxnSpLocks/>
          </p:cNvCxnSpPr>
          <p:nvPr userDrawn="1"/>
        </p:nvCxnSpPr>
        <p:spPr>
          <a:xfrm>
            <a:off x="0" y="6741392"/>
            <a:ext cx="12191999" cy="0"/>
          </a:xfrm>
          <a:prstGeom prst="line">
            <a:avLst/>
          </a:prstGeom>
          <a:ln w="6350" cap="flat" cmpd="sng" algn="ctr">
            <a:solidFill>
              <a:schemeClr val="bg1">
                <a:alpha val="3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93414DF6-C47E-0BE9-7EF6-21AF033C50B8}"/>
              </a:ext>
            </a:extLst>
          </p:cNvPr>
          <p:cNvCxnSpPr>
            <a:cxnSpLocks/>
          </p:cNvCxnSpPr>
          <p:nvPr userDrawn="1"/>
        </p:nvCxnSpPr>
        <p:spPr>
          <a:xfrm>
            <a:off x="5887092" y="6741392"/>
            <a:ext cx="417816" cy="0"/>
          </a:xfrm>
          <a:prstGeom prst="line">
            <a:avLst/>
          </a:prstGeom>
          <a:ln w="15875" cap="flat" cmpd="sng" algn="ctr">
            <a:solidFill>
              <a:srgbClr val="74748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024016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2_Standard slide_no bullet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8643B9-646F-79E1-3DA1-3EA89A90BF69}"/>
              </a:ext>
            </a:extLst>
          </p:cNvPr>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 name="Rectangle 5">
            <a:extLst>
              <a:ext uri="{FF2B5EF4-FFF2-40B4-BE49-F238E27FC236}">
                <a16:creationId xmlns:a16="http://schemas.microsoft.com/office/drawing/2014/main" id="{052D7209-0328-C2D1-5E61-32FAB18EF5A8}"/>
              </a:ext>
            </a:extLst>
          </p:cNvPr>
          <p:cNvSpPr>
            <a:spLocks/>
          </p:cNvSpPr>
          <p:nvPr userDrawn="1"/>
        </p:nvSpPr>
        <p:spPr>
          <a:xfrm>
            <a:off x="-1" y="0"/>
            <a:ext cx="12192000" cy="6858000"/>
          </a:xfrm>
          <a:prstGeom prst="rect">
            <a:avLst/>
          </a:prstGeom>
          <a:solidFill>
            <a:srgbClr val="2E2E38">
              <a:alpha val="80000"/>
            </a:srgb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grpSp>
        <p:nvGrpSpPr>
          <p:cNvPr id="7" name="Group 4">
            <a:extLst>
              <a:ext uri="{FF2B5EF4-FFF2-40B4-BE49-F238E27FC236}">
                <a16:creationId xmlns:a16="http://schemas.microsoft.com/office/drawing/2014/main" id="{61F27248-8723-A061-1F09-A6BC142B502F}"/>
              </a:ext>
            </a:extLst>
          </p:cNvPr>
          <p:cNvGrpSpPr>
            <a:grpSpLocks noChangeAspect="1"/>
          </p:cNvGrpSpPr>
          <p:nvPr userDrawn="1"/>
        </p:nvGrpSpPr>
        <p:grpSpPr bwMode="auto">
          <a:xfrm>
            <a:off x="11281250" y="153981"/>
            <a:ext cx="303055" cy="311150"/>
            <a:chOff x="7110" y="4004"/>
            <a:chExt cx="191" cy="196"/>
          </a:xfrm>
        </p:grpSpPr>
        <p:sp>
          <p:nvSpPr>
            <p:cNvPr id="8" name="Freeform 5">
              <a:extLst>
                <a:ext uri="{FF2B5EF4-FFF2-40B4-BE49-F238E27FC236}">
                  <a16:creationId xmlns:a16="http://schemas.microsoft.com/office/drawing/2014/main" id="{AFAD10C3-B6B6-E271-AAFB-FC8007A4665A}"/>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9" name="Freeform 6">
              <a:extLst>
                <a:ext uri="{FF2B5EF4-FFF2-40B4-BE49-F238E27FC236}">
                  <a16:creationId xmlns:a16="http://schemas.microsoft.com/office/drawing/2014/main" id="{FA670CFE-FAD4-4CFE-09D0-22FF337222C0}"/>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0" name="Freeform 7">
              <a:extLst>
                <a:ext uri="{FF2B5EF4-FFF2-40B4-BE49-F238E27FC236}">
                  <a16:creationId xmlns:a16="http://schemas.microsoft.com/office/drawing/2014/main" id="{9A8B8770-0AA6-69D3-F20A-7C3D09A4CD12}"/>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grpSp>
      <p:sp>
        <p:nvSpPr>
          <p:cNvPr id="11" name="Slide Number Placeholder 4">
            <a:extLst>
              <a:ext uri="{FF2B5EF4-FFF2-40B4-BE49-F238E27FC236}">
                <a16:creationId xmlns:a16="http://schemas.microsoft.com/office/drawing/2014/main" id="{7C98785B-0FE0-DE9A-DFA3-90431F55072D}"/>
              </a:ext>
            </a:extLst>
          </p:cNvPr>
          <p:cNvSpPr txBox="1">
            <a:spLocks/>
          </p:cNvSpPr>
          <p:nvPr userDrawn="1"/>
        </p:nvSpPr>
        <p:spPr>
          <a:xfrm>
            <a:off x="181210" y="271070"/>
            <a:ext cx="303055" cy="180000"/>
          </a:xfrm>
          <a:prstGeom prst="rect">
            <a:avLst/>
          </a:prstGeom>
        </p:spPr>
        <p:txBody>
          <a:bodyPr lIns="0" rIns="0" anchor="ctr" anchorCtr="0"/>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fld id="{D5B76411-544C-4F9A-8EDE-9EEB2BD21F95}" type="slidenum">
              <a:rPr lang="en-IN" sz="1000" smtClean="0"/>
              <a:pPr lvl="0" algn="ctr"/>
              <a:t>‹#›</a:t>
            </a:fld>
            <a:endParaRPr sz="1000" dirty="0"/>
          </a:p>
        </p:txBody>
      </p:sp>
      <p:sp>
        <p:nvSpPr>
          <p:cNvPr id="12" name="Slide Number Placeholder 4">
            <a:extLst>
              <a:ext uri="{FF2B5EF4-FFF2-40B4-BE49-F238E27FC236}">
                <a16:creationId xmlns:a16="http://schemas.microsoft.com/office/drawing/2014/main" id="{07DF00E3-9491-22E1-4A7D-C6B77C9259FE}"/>
              </a:ext>
            </a:extLst>
          </p:cNvPr>
          <p:cNvSpPr txBox="1">
            <a:spLocks/>
          </p:cNvSpPr>
          <p:nvPr userDrawn="1"/>
        </p:nvSpPr>
        <p:spPr>
          <a:xfrm>
            <a:off x="607695" y="265106"/>
            <a:ext cx="1205465" cy="180000"/>
          </a:xfrm>
          <a:prstGeom prst="rect">
            <a:avLst/>
          </a:prstGeom>
        </p:spPr>
        <p:txBody>
          <a:bodyPr lIns="0" rIns="0" anchor="ctr" anchorCtr="0"/>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l"/>
            <a:r>
              <a:rPr lang="en-IN" sz="800" dirty="0">
                <a:latin typeface="+mn-lt"/>
              </a:rPr>
              <a:t>WBA AI Training Part 2</a:t>
            </a:r>
            <a:endParaRPr sz="800" dirty="0">
              <a:latin typeface="+mn-lt"/>
            </a:endParaRPr>
          </a:p>
        </p:txBody>
      </p:sp>
      <p:sp>
        <p:nvSpPr>
          <p:cNvPr id="13" name="Oval 12">
            <a:extLst>
              <a:ext uri="{FF2B5EF4-FFF2-40B4-BE49-F238E27FC236}">
                <a16:creationId xmlns:a16="http://schemas.microsoft.com/office/drawing/2014/main" id="{48F9197D-9A7D-F47E-A212-07218D62091F}"/>
              </a:ext>
            </a:extLst>
          </p:cNvPr>
          <p:cNvSpPr/>
          <p:nvPr userDrawn="1"/>
        </p:nvSpPr>
        <p:spPr>
          <a:xfrm>
            <a:off x="177400" y="209543"/>
            <a:ext cx="303055" cy="303055"/>
          </a:xfrm>
          <a:prstGeom prst="ellipse">
            <a:avLst/>
          </a:prstGeom>
          <a:noFill/>
          <a:ln w="9525" cap="flat" cmpd="sng" algn="ctr">
            <a:solidFill>
              <a:srgbClr val="C4C4C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cxnSp>
        <p:nvCxnSpPr>
          <p:cNvPr id="14" name="Straight Connector 13">
            <a:extLst>
              <a:ext uri="{FF2B5EF4-FFF2-40B4-BE49-F238E27FC236}">
                <a16:creationId xmlns:a16="http://schemas.microsoft.com/office/drawing/2014/main" id="{44086518-99D4-F8D8-56FA-B4163975CBD1}"/>
              </a:ext>
            </a:extLst>
          </p:cNvPr>
          <p:cNvCxnSpPr>
            <a:cxnSpLocks/>
            <a:stCxn id="12" idx="3"/>
          </p:cNvCxnSpPr>
          <p:nvPr userDrawn="1"/>
        </p:nvCxnSpPr>
        <p:spPr>
          <a:xfrm>
            <a:off x="1813160" y="355106"/>
            <a:ext cx="9211011" cy="0"/>
          </a:xfrm>
          <a:prstGeom prst="line">
            <a:avLst/>
          </a:prstGeom>
          <a:ln w="6350" cap="flat" cmpd="sng" algn="ctr">
            <a:solidFill>
              <a:schemeClr val="bg1">
                <a:alpha val="5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01F9A1B-E3DA-A3D8-78B2-46C984EA2108}"/>
              </a:ext>
            </a:extLst>
          </p:cNvPr>
          <p:cNvCxnSpPr>
            <a:cxnSpLocks/>
          </p:cNvCxnSpPr>
          <p:nvPr userDrawn="1"/>
        </p:nvCxnSpPr>
        <p:spPr>
          <a:xfrm>
            <a:off x="614896" y="3255007"/>
            <a:ext cx="917498" cy="0"/>
          </a:xfrm>
          <a:prstGeom prst="line">
            <a:avLst/>
          </a:prstGeom>
          <a:ln w="25400" cap="rnd" cmpd="sng" algn="ctr">
            <a:solidFill>
              <a:srgbClr val="FFE60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614896" y="3385837"/>
            <a:ext cx="4917223" cy="2026983"/>
          </a:xfrm>
        </p:spPr>
        <p:txBody>
          <a:bodyPr vert="horz" lIns="0" tIns="0" rIns="0" bIns="0" rtlCol="0" anchor="t" anchorCtr="0">
            <a:noAutofit/>
          </a:bodyPr>
          <a:lstStyle>
            <a:lvl1pPr marL="0" indent="0">
              <a:buNone/>
              <a:defRPr kumimoji="0" lang="en-IN" sz="3600"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a:t>Chapter Title</a:t>
            </a:r>
            <a:endParaRPr lang="en-IN"/>
          </a:p>
        </p:txBody>
      </p:sp>
      <p:sp>
        <p:nvSpPr>
          <p:cNvPr id="19" name="Text Placeholder 4">
            <a:extLst>
              <a:ext uri="{FF2B5EF4-FFF2-40B4-BE49-F238E27FC236}">
                <a16:creationId xmlns:a16="http://schemas.microsoft.com/office/drawing/2014/main" id="{0649E384-B5E1-4FEF-DCD0-1FFA17318775}"/>
              </a:ext>
            </a:extLst>
          </p:cNvPr>
          <p:cNvSpPr>
            <a:spLocks noGrp="1"/>
          </p:cNvSpPr>
          <p:nvPr>
            <p:ph type="body" sz="quarter" idx="11" hasCustomPrompt="1"/>
          </p:nvPr>
        </p:nvSpPr>
        <p:spPr>
          <a:xfrm>
            <a:off x="589407" y="1616122"/>
            <a:ext cx="1489230" cy="1769715"/>
          </a:xfrm>
        </p:spPr>
        <p:txBody>
          <a:bodyPr vert="horz" wrap="square" lIns="0" tIns="0" rIns="0" bIns="0" rtlCol="0" anchor="t" anchorCtr="0">
            <a:spAutoFit/>
          </a:bodyPr>
          <a:lstStyle>
            <a:lvl1pPr marL="0" indent="0">
              <a:buNone/>
              <a:defRPr kumimoji="0" lang="en-IN" sz="11500" b="1" i="0" u="none" strike="noStrike" cap="none" spc="0" normalizeH="0" baseline="0" dirty="0">
                <a:ln w="6350">
                  <a:solidFill>
                    <a:schemeClr val="bg1">
                      <a:alpha val="50000"/>
                    </a:schemeClr>
                  </a:solidFill>
                </a:ln>
                <a:no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a:t>7</a:t>
            </a:r>
            <a:endParaRPr lang="en-IN"/>
          </a:p>
        </p:txBody>
      </p:sp>
      <p:grpSp>
        <p:nvGrpSpPr>
          <p:cNvPr id="2" name="Group 1">
            <a:extLst>
              <a:ext uri="{FF2B5EF4-FFF2-40B4-BE49-F238E27FC236}">
                <a16:creationId xmlns:a16="http://schemas.microsoft.com/office/drawing/2014/main" id="{263A9E44-A3C3-7442-B48B-1A8863882FFF}"/>
              </a:ext>
            </a:extLst>
          </p:cNvPr>
          <p:cNvGrpSpPr/>
          <p:nvPr userDrawn="1"/>
        </p:nvGrpSpPr>
        <p:grpSpPr>
          <a:xfrm>
            <a:off x="5956278" y="792396"/>
            <a:ext cx="5582014" cy="5582014"/>
            <a:chOff x="6464300" y="894962"/>
            <a:chExt cx="7835726" cy="7835726"/>
          </a:xfrm>
        </p:grpSpPr>
        <p:sp>
          <p:nvSpPr>
            <p:cNvPr id="18" name="Oval 17">
              <a:extLst>
                <a:ext uri="{FF2B5EF4-FFF2-40B4-BE49-F238E27FC236}">
                  <a16:creationId xmlns:a16="http://schemas.microsoft.com/office/drawing/2014/main" id="{9B8F27CF-46E2-90E4-F87F-22C878EF9006}"/>
                </a:ext>
              </a:extLst>
            </p:cNvPr>
            <p:cNvSpPr/>
            <p:nvPr userDrawn="1"/>
          </p:nvSpPr>
          <p:spPr>
            <a:xfrm>
              <a:off x="6464300" y="894962"/>
              <a:ext cx="7835726" cy="7835726"/>
            </a:xfrm>
            <a:prstGeom prst="ellipse">
              <a:avLst/>
            </a:prstGeom>
            <a:solidFill>
              <a:srgbClr val="2E2E38">
                <a:alpha val="80000"/>
              </a:srgbClr>
            </a:solidFill>
            <a:ln w="9525" cap="flat" cmpd="sng" algn="ctr">
              <a:solidFill>
                <a:srgbClr val="FFE600"/>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pic>
          <p:nvPicPr>
            <p:cNvPr id="4" name="Picture 3">
              <a:extLst>
                <a:ext uri="{FF2B5EF4-FFF2-40B4-BE49-F238E27FC236}">
                  <a16:creationId xmlns:a16="http://schemas.microsoft.com/office/drawing/2014/main" id="{76D08DC6-2B8D-2FEA-2201-6D1F3A3D6893}"/>
                </a:ext>
              </a:extLst>
            </p:cNvPr>
            <p:cNvPicPr>
              <a:picLocks/>
            </p:cNvPicPr>
            <p:nvPr userDrawn="1"/>
          </p:nvPicPr>
          <p:blipFill>
            <a:blip r:embed="rId4" cstate="screen">
              <a:extLst>
                <a:ext uri="{28A0092B-C50C-407E-A947-70E740481C1C}">
                  <a14:useLocalDpi xmlns:a14="http://schemas.microsoft.com/office/drawing/2010/main"/>
                </a:ext>
              </a:extLst>
            </a:blip>
            <a:srcRect/>
            <a:stretch/>
          </p:blipFill>
          <p:spPr>
            <a:xfrm>
              <a:off x="6641926" y="1072588"/>
              <a:ext cx="7480475" cy="7480475"/>
            </a:xfrm>
            <a:prstGeom prst="ellipse">
              <a:avLst/>
            </a:prstGeom>
          </p:spPr>
        </p:pic>
      </p:grpSp>
      <p:cxnSp>
        <p:nvCxnSpPr>
          <p:cNvPr id="20" name="Straight Connector 19">
            <a:extLst>
              <a:ext uri="{FF2B5EF4-FFF2-40B4-BE49-F238E27FC236}">
                <a16:creationId xmlns:a16="http://schemas.microsoft.com/office/drawing/2014/main" id="{E612BC49-EE61-8A69-304B-EC14A5359B58}"/>
              </a:ext>
            </a:extLst>
          </p:cNvPr>
          <p:cNvCxnSpPr>
            <a:cxnSpLocks/>
          </p:cNvCxnSpPr>
          <p:nvPr userDrawn="1"/>
        </p:nvCxnSpPr>
        <p:spPr>
          <a:xfrm>
            <a:off x="0" y="6741392"/>
            <a:ext cx="12191999" cy="0"/>
          </a:xfrm>
          <a:prstGeom prst="line">
            <a:avLst/>
          </a:prstGeom>
          <a:ln w="6350" cap="flat" cmpd="sng" algn="ctr">
            <a:solidFill>
              <a:schemeClr val="bg1">
                <a:alpha val="3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9AA9A7C8-21E8-543A-D4E5-0B75DF397C58}"/>
              </a:ext>
            </a:extLst>
          </p:cNvPr>
          <p:cNvCxnSpPr>
            <a:cxnSpLocks/>
          </p:cNvCxnSpPr>
          <p:nvPr userDrawn="1"/>
        </p:nvCxnSpPr>
        <p:spPr>
          <a:xfrm>
            <a:off x="5887092" y="6741392"/>
            <a:ext cx="417816" cy="0"/>
          </a:xfrm>
          <a:prstGeom prst="line">
            <a:avLst/>
          </a:prstGeom>
          <a:ln w="15875" cap="flat" cmpd="sng" algn="ctr">
            <a:solidFill>
              <a:srgbClr val="74748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2563409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3_Standard slide_no bullet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8643B9-646F-79E1-3DA1-3EA89A90BF69}"/>
              </a:ext>
            </a:extLst>
          </p:cNvPr>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1" y="0"/>
            <a:ext cx="12212195" cy="6858000"/>
          </a:xfrm>
          <a:prstGeom prst="rect">
            <a:avLst/>
          </a:prstGeom>
        </p:spPr>
      </p:pic>
      <p:sp>
        <p:nvSpPr>
          <p:cNvPr id="6" name="Rectangle 5">
            <a:extLst>
              <a:ext uri="{FF2B5EF4-FFF2-40B4-BE49-F238E27FC236}">
                <a16:creationId xmlns:a16="http://schemas.microsoft.com/office/drawing/2014/main" id="{052D7209-0328-C2D1-5E61-32FAB18EF5A8}"/>
              </a:ext>
            </a:extLst>
          </p:cNvPr>
          <p:cNvSpPr>
            <a:spLocks/>
          </p:cNvSpPr>
          <p:nvPr userDrawn="1"/>
        </p:nvSpPr>
        <p:spPr>
          <a:xfrm>
            <a:off x="-2" y="0"/>
            <a:ext cx="12212195" cy="6858000"/>
          </a:xfrm>
          <a:prstGeom prst="rect">
            <a:avLst/>
          </a:prstGeom>
          <a:solidFill>
            <a:srgbClr val="2E2E38">
              <a:alpha val="80000"/>
            </a:srgb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grpSp>
        <p:nvGrpSpPr>
          <p:cNvPr id="7" name="Group 4">
            <a:extLst>
              <a:ext uri="{FF2B5EF4-FFF2-40B4-BE49-F238E27FC236}">
                <a16:creationId xmlns:a16="http://schemas.microsoft.com/office/drawing/2014/main" id="{61F27248-8723-A061-1F09-A6BC142B502F}"/>
              </a:ext>
            </a:extLst>
          </p:cNvPr>
          <p:cNvGrpSpPr>
            <a:grpSpLocks noChangeAspect="1"/>
          </p:cNvGrpSpPr>
          <p:nvPr userDrawn="1"/>
        </p:nvGrpSpPr>
        <p:grpSpPr bwMode="auto">
          <a:xfrm>
            <a:off x="11281250" y="153981"/>
            <a:ext cx="303055" cy="311150"/>
            <a:chOff x="7110" y="4004"/>
            <a:chExt cx="191" cy="196"/>
          </a:xfrm>
        </p:grpSpPr>
        <p:sp>
          <p:nvSpPr>
            <p:cNvPr id="8" name="Freeform 5">
              <a:extLst>
                <a:ext uri="{FF2B5EF4-FFF2-40B4-BE49-F238E27FC236}">
                  <a16:creationId xmlns:a16="http://schemas.microsoft.com/office/drawing/2014/main" id="{AFAD10C3-B6B6-E271-AAFB-FC8007A4665A}"/>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9" name="Freeform 6">
              <a:extLst>
                <a:ext uri="{FF2B5EF4-FFF2-40B4-BE49-F238E27FC236}">
                  <a16:creationId xmlns:a16="http://schemas.microsoft.com/office/drawing/2014/main" id="{FA670CFE-FAD4-4CFE-09D0-22FF337222C0}"/>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0" name="Freeform 7">
              <a:extLst>
                <a:ext uri="{FF2B5EF4-FFF2-40B4-BE49-F238E27FC236}">
                  <a16:creationId xmlns:a16="http://schemas.microsoft.com/office/drawing/2014/main" id="{9A8B8770-0AA6-69D3-F20A-7C3D09A4CD12}"/>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grpSp>
      <p:sp>
        <p:nvSpPr>
          <p:cNvPr id="11" name="Slide Number Placeholder 4">
            <a:extLst>
              <a:ext uri="{FF2B5EF4-FFF2-40B4-BE49-F238E27FC236}">
                <a16:creationId xmlns:a16="http://schemas.microsoft.com/office/drawing/2014/main" id="{7C98785B-0FE0-DE9A-DFA3-90431F55072D}"/>
              </a:ext>
            </a:extLst>
          </p:cNvPr>
          <p:cNvSpPr txBox="1">
            <a:spLocks/>
          </p:cNvSpPr>
          <p:nvPr userDrawn="1"/>
        </p:nvSpPr>
        <p:spPr>
          <a:xfrm>
            <a:off x="181210" y="271070"/>
            <a:ext cx="303055" cy="180000"/>
          </a:xfrm>
          <a:prstGeom prst="rect">
            <a:avLst/>
          </a:prstGeom>
        </p:spPr>
        <p:txBody>
          <a:bodyPr lIns="0" rIns="0" anchor="ctr" anchorCtr="0"/>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fld id="{D5B76411-544C-4F9A-8EDE-9EEB2BD21F95}" type="slidenum">
              <a:rPr lang="en-IN" sz="1000" smtClean="0"/>
              <a:pPr lvl="0" algn="ctr"/>
              <a:t>‹#›</a:t>
            </a:fld>
            <a:endParaRPr sz="1000" dirty="0"/>
          </a:p>
        </p:txBody>
      </p:sp>
      <p:sp>
        <p:nvSpPr>
          <p:cNvPr id="12" name="Slide Number Placeholder 4">
            <a:extLst>
              <a:ext uri="{FF2B5EF4-FFF2-40B4-BE49-F238E27FC236}">
                <a16:creationId xmlns:a16="http://schemas.microsoft.com/office/drawing/2014/main" id="{07DF00E3-9491-22E1-4A7D-C6B77C9259FE}"/>
              </a:ext>
            </a:extLst>
          </p:cNvPr>
          <p:cNvSpPr txBox="1">
            <a:spLocks/>
          </p:cNvSpPr>
          <p:nvPr userDrawn="1"/>
        </p:nvSpPr>
        <p:spPr>
          <a:xfrm>
            <a:off x="607695" y="265106"/>
            <a:ext cx="1205465" cy="180000"/>
          </a:xfrm>
          <a:prstGeom prst="rect">
            <a:avLst/>
          </a:prstGeom>
        </p:spPr>
        <p:txBody>
          <a:bodyPr lIns="0" rIns="0" anchor="ctr" anchorCtr="0"/>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l"/>
            <a:r>
              <a:rPr lang="en-IN" sz="800" dirty="0">
                <a:latin typeface="+mn-lt"/>
              </a:rPr>
              <a:t>WBA AI Training Part 2</a:t>
            </a:r>
            <a:endParaRPr sz="800" dirty="0">
              <a:latin typeface="+mn-lt"/>
            </a:endParaRPr>
          </a:p>
        </p:txBody>
      </p:sp>
      <p:sp>
        <p:nvSpPr>
          <p:cNvPr id="13" name="Oval 12">
            <a:extLst>
              <a:ext uri="{FF2B5EF4-FFF2-40B4-BE49-F238E27FC236}">
                <a16:creationId xmlns:a16="http://schemas.microsoft.com/office/drawing/2014/main" id="{48F9197D-9A7D-F47E-A212-07218D62091F}"/>
              </a:ext>
            </a:extLst>
          </p:cNvPr>
          <p:cNvSpPr/>
          <p:nvPr userDrawn="1"/>
        </p:nvSpPr>
        <p:spPr>
          <a:xfrm>
            <a:off x="177400" y="209543"/>
            <a:ext cx="303055" cy="303055"/>
          </a:xfrm>
          <a:prstGeom prst="ellipse">
            <a:avLst/>
          </a:prstGeom>
          <a:noFill/>
          <a:ln w="9525" cap="flat" cmpd="sng" algn="ctr">
            <a:solidFill>
              <a:srgbClr val="C4C4C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cxnSp>
        <p:nvCxnSpPr>
          <p:cNvPr id="14" name="Straight Connector 13">
            <a:extLst>
              <a:ext uri="{FF2B5EF4-FFF2-40B4-BE49-F238E27FC236}">
                <a16:creationId xmlns:a16="http://schemas.microsoft.com/office/drawing/2014/main" id="{44086518-99D4-F8D8-56FA-B4163975CBD1}"/>
              </a:ext>
            </a:extLst>
          </p:cNvPr>
          <p:cNvCxnSpPr>
            <a:cxnSpLocks/>
            <a:stCxn id="12" idx="3"/>
          </p:cNvCxnSpPr>
          <p:nvPr userDrawn="1"/>
        </p:nvCxnSpPr>
        <p:spPr>
          <a:xfrm>
            <a:off x="1813160" y="355106"/>
            <a:ext cx="9211011" cy="0"/>
          </a:xfrm>
          <a:prstGeom prst="line">
            <a:avLst/>
          </a:prstGeom>
          <a:ln w="6350" cap="flat" cmpd="sng" algn="ctr">
            <a:solidFill>
              <a:schemeClr val="bg1">
                <a:alpha val="5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01F9A1B-E3DA-A3D8-78B2-46C984EA2108}"/>
              </a:ext>
            </a:extLst>
          </p:cNvPr>
          <p:cNvCxnSpPr>
            <a:cxnSpLocks/>
          </p:cNvCxnSpPr>
          <p:nvPr userDrawn="1"/>
        </p:nvCxnSpPr>
        <p:spPr>
          <a:xfrm>
            <a:off x="614896" y="3255007"/>
            <a:ext cx="917498" cy="0"/>
          </a:xfrm>
          <a:prstGeom prst="line">
            <a:avLst/>
          </a:prstGeom>
          <a:ln w="25400" cap="rnd" cmpd="sng" algn="ctr">
            <a:solidFill>
              <a:srgbClr val="FFE60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614896" y="3385837"/>
            <a:ext cx="4917223" cy="2026983"/>
          </a:xfrm>
        </p:spPr>
        <p:txBody>
          <a:bodyPr vert="horz" lIns="0" tIns="0" rIns="0" bIns="0" rtlCol="0" anchor="t" anchorCtr="0">
            <a:noAutofit/>
          </a:bodyPr>
          <a:lstStyle>
            <a:lvl1pPr marL="0" indent="0">
              <a:buNone/>
              <a:defRPr kumimoji="0" lang="en-IN" sz="3600"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a:t>Chapter Title</a:t>
            </a:r>
            <a:endParaRPr lang="en-IN"/>
          </a:p>
        </p:txBody>
      </p:sp>
      <p:sp>
        <p:nvSpPr>
          <p:cNvPr id="19" name="Text Placeholder 4">
            <a:extLst>
              <a:ext uri="{FF2B5EF4-FFF2-40B4-BE49-F238E27FC236}">
                <a16:creationId xmlns:a16="http://schemas.microsoft.com/office/drawing/2014/main" id="{0649E384-B5E1-4FEF-DCD0-1FFA17318775}"/>
              </a:ext>
            </a:extLst>
          </p:cNvPr>
          <p:cNvSpPr>
            <a:spLocks noGrp="1"/>
          </p:cNvSpPr>
          <p:nvPr>
            <p:ph type="body" sz="quarter" idx="11" hasCustomPrompt="1"/>
          </p:nvPr>
        </p:nvSpPr>
        <p:spPr>
          <a:xfrm>
            <a:off x="589407" y="1616122"/>
            <a:ext cx="1489230" cy="1769715"/>
          </a:xfrm>
        </p:spPr>
        <p:txBody>
          <a:bodyPr vert="horz" wrap="square" lIns="0" tIns="0" rIns="0" bIns="0" rtlCol="0" anchor="t" anchorCtr="0">
            <a:spAutoFit/>
          </a:bodyPr>
          <a:lstStyle>
            <a:lvl1pPr marL="0" indent="0">
              <a:buNone/>
              <a:defRPr kumimoji="0" lang="en-IN" sz="11500" b="1" i="0" u="none" strike="noStrike" cap="none" spc="0" normalizeH="0" baseline="0" dirty="0">
                <a:ln w="6350">
                  <a:solidFill>
                    <a:schemeClr val="bg1">
                      <a:alpha val="50000"/>
                    </a:schemeClr>
                  </a:solidFill>
                </a:ln>
                <a:no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a:t>8</a:t>
            </a:r>
            <a:endParaRPr lang="en-IN"/>
          </a:p>
        </p:txBody>
      </p:sp>
      <p:grpSp>
        <p:nvGrpSpPr>
          <p:cNvPr id="2" name="Group 1">
            <a:extLst>
              <a:ext uri="{FF2B5EF4-FFF2-40B4-BE49-F238E27FC236}">
                <a16:creationId xmlns:a16="http://schemas.microsoft.com/office/drawing/2014/main" id="{263A9E44-A3C3-7442-B48B-1A8863882FFF}"/>
              </a:ext>
            </a:extLst>
          </p:cNvPr>
          <p:cNvGrpSpPr/>
          <p:nvPr userDrawn="1"/>
        </p:nvGrpSpPr>
        <p:grpSpPr>
          <a:xfrm>
            <a:off x="5956278" y="792396"/>
            <a:ext cx="5582014" cy="5582014"/>
            <a:chOff x="6464300" y="894962"/>
            <a:chExt cx="7835726" cy="7835726"/>
          </a:xfrm>
        </p:grpSpPr>
        <p:sp>
          <p:nvSpPr>
            <p:cNvPr id="18" name="Oval 17">
              <a:extLst>
                <a:ext uri="{FF2B5EF4-FFF2-40B4-BE49-F238E27FC236}">
                  <a16:creationId xmlns:a16="http://schemas.microsoft.com/office/drawing/2014/main" id="{9B8F27CF-46E2-90E4-F87F-22C878EF9006}"/>
                </a:ext>
              </a:extLst>
            </p:cNvPr>
            <p:cNvSpPr/>
            <p:nvPr userDrawn="1"/>
          </p:nvSpPr>
          <p:spPr>
            <a:xfrm>
              <a:off x="6464300" y="894962"/>
              <a:ext cx="7835726" cy="7835726"/>
            </a:xfrm>
            <a:prstGeom prst="ellipse">
              <a:avLst/>
            </a:prstGeom>
            <a:solidFill>
              <a:srgbClr val="2E2E38">
                <a:alpha val="80000"/>
              </a:srgbClr>
            </a:solidFill>
            <a:ln w="9525" cap="flat" cmpd="sng" algn="ctr">
              <a:solidFill>
                <a:srgbClr val="FFE600"/>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pic>
          <p:nvPicPr>
            <p:cNvPr id="4" name="Picture 3">
              <a:extLst>
                <a:ext uri="{FF2B5EF4-FFF2-40B4-BE49-F238E27FC236}">
                  <a16:creationId xmlns:a16="http://schemas.microsoft.com/office/drawing/2014/main" id="{76D08DC6-2B8D-2FEA-2201-6D1F3A3D6893}"/>
                </a:ext>
              </a:extLst>
            </p:cNvPr>
            <p:cNvPicPr>
              <a:picLocks/>
            </p:cNvPicPr>
            <p:nvPr userDrawn="1"/>
          </p:nvPicPr>
          <p:blipFill>
            <a:blip r:embed="rId4" cstate="screen">
              <a:extLst>
                <a:ext uri="{28A0092B-C50C-407E-A947-70E740481C1C}">
                  <a14:useLocalDpi xmlns:a14="http://schemas.microsoft.com/office/drawing/2010/main"/>
                </a:ext>
              </a:extLst>
            </a:blip>
            <a:srcRect/>
            <a:stretch/>
          </p:blipFill>
          <p:spPr>
            <a:xfrm>
              <a:off x="6641926" y="1072588"/>
              <a:ext cx="7480475" cy="7480475"/>
            </a:xfrm>
            <a:prstGeom prst="ellipse">
              <a:avLst/>
            </a:prstGeom>
          </p:spPr>
        </p:pic>
      </p:grpSp>
      <p:cxnSp>
        <p:nvCxnSpPr>
          <p:cNvPr id="20" name="Straight Connector 19">
            <a:extLst>
              <a:ext uri="{FF2B5EF4-FFF2-40B4-BE49-F238E27FC236}">
                <a16:creationId xmlns:a16="http://schemas.microsoft.com/office/drawing/2014/main" id="{95CFF453-1C32-B3F5-76DA-6FC4FC4D992A}"/>
              </a:ext>
            </a:extLst>
          </p:cNvPr>
          <p:cNvCxnSpPr>
            <a:cxnSpLocks/>
          </p:cNvCxnSpPr>
          <p:nvPr userDrawn="1"/>
        </p:nvCxnSpPr>
        <p:spPr>
          <a:xfrm>
            <a:off x="0" y="6741392"/>
            <a:ext cx="12191999" cy="0"/>
          </a:xfrm>
          <a:prstGeom prst="line">
            <a:avLst/>
          </a:prstGeom>
          <a:ln w="6350" cap="flat" cmpd="sng" algn="ctr">
            <a:solidFill>
              <a:schemeClr val="bg1">
                <a:alpha val="3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8534A33B-D818-DAEE-5DDA-D50BDB48DD79}"/>
              </a:ext>
            </a:extLst>
          </p:cNvPr>
          <p:cNvCxnSpPr>
            <a:cxnSpLocks/>
          </p:cNvCxnSpPr>
          <p:nvPr userDrawn="1"/>
        </p:nvCxnSpPr>
        <p:spPr>
          <a:xfrm>
            <a:off x="5887092" y="6741392"/>
            <a:ext cx="417816" cy="0"/>
          </a:xfrm>
          <a:prstGeom prst="line">
            <a:avLst/>
          </a:prstGeom>
          <a:ln w="15875" cap="flat" cmpd="sng" algn="ctr">
            <a:solidFill>
              <a:srgbClr val="74748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164524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6B1894A3-BFA8-4097-A83B-C0972D51FE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1" y="1"/>
            <a:ext cx="12191999" cy="6845440"/>
          </a:xfrm>
          <a:prstGeom prst="rect">
            <a:avLst/>
          </a:prstGeom>
        </p:spPr>
      </p:pic>
      <p:sp>
        <p:nvSpPr>
          <p:cNvPr id="2" name="Rectangle 1">
            <a:extLst>
              <a:ext uri="{FF2B5EF4-FFF2-40B4-BE49-F238E27FC236}">
                <a16:creationId xmlns:a16="http://schemas.microsoft.com/office/drawing/2014/main" id="{54BE5209-044F-0C4C-C6B4-D7E4F05C89E5}"/>
              </a:ext>
            </a:extLst>
          </p:cNvPr>
          <p:cNvSpPr>
            <a:spLocks/>
          </p:cNvSpPr>
          <p:nvPr userDrawn="1"/>
        </p:nvSpPr>
        <p:spPr>
          <a:xfrm>
            <a:off x="0" y="3429000"/>
            <a:ext cx="12192000" cy="3429000"/>
          </a:xfrm>
          <a:prstGeom prst="rect">
            <a:avLst/>
          </a:prstGeom>
          <a:gradFill>
            <a:gsLst>
              <a:gs pos="0">
                <a:srgbClr val="2D2C37">
                  <a:alpha val="0"/>
                </a:srgbClr>
              </a:gs>
              <a:gs pos="100000">
                <a:srgbClr val="2D2C37">
                  <a:alpha val="80000"/>
                </a:srgbClr>
              </a:gs>
            </a:gsLst>
            <a:lin ang="5400000" scaled="0"/>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3" name="Freeform 56">
            <a:extLst>
              <a:ext uri="{FF2B5EF4-FFF2-40B4-BE49-F238E27FC236}">
                <a16:creationId xmlns:a16="http://schemas.microsoft.com/office/drawing/2014/main" id="{FD2435CB-AC6A-1E20-B717-D02EEC7B3F0C}"/>
              </a:ext>
            </a:extLst>
          </p:cNvPr>
          <p:cNvSpPr/>
          <p:nvPr userDrawn="1"/>
        </p:nvSpPr>
        <p:spPr>
          <a:xfrm>
            <a:off x="497856" y="795662"/>
            <a:ext cx="4927845"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grpSp>
        <p:nvGrpSpPr>
          <p:cNvPr id="14" name="Group 4">
            <a:extLst>
              <a:ext uri="{FF2B5EF4-FFF2-40B4-BE49-F238E27FC236}">
                <a16:creationId xmlns:a16="http://schemas.microsoft.com/office/drawing/2014/main" id="{C8422AE9-8257-41A9-AB41-1F10585C886F}"/>
              </a:ext>
            </a:extLst>
          </p:cNvPr>
          <p:cNvGrpSpPr>
            <a:grpSpLocks noChangeAspect="1"/>
          </p:cNvGrpSpPr>
          <p:nvPr userDrawn="1"/>
        </p:nvGrpSpPr>
        <p:grpSpPr bwMode="auto">
          <a:xfrm>
            <a:off x="10359392" y="4960938"/>
            <a:ext cx="1224912" cy="1435100"/>
            <a:chOff x="6529" y="3125"/>
            <a:chExt cx="772" cy="904"/>
          </a:xfrm>
        </p:grpSpPr>
        <p:sp>
          <p:nvSpPr>
            <p:cNvPr id="15"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7"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grpSp>
      <p:sp>
        <p:nvSpPr>
          <p:cNvPr id="11" name="Title 1"/>
          <p:cNvSpPr>
            <a:spLocks noGrp="1"/>
          </p:cNvSpPr>
          <p:nvPr>
            <p:ph type="ctrTitle"/>
          </p:nvPr>
        </p:nvSpPr>
        <p:spPr>
          <a:xfrm>
            <a:off x="775100" y="1954221"/>
            <a:ext cx="4326679" cy="979702"/>
          </a:xfrm>
        </p:spPr>
        <p:txBody>
          <a:bodyPr/>
          <a:lstStyle>
            <a:lvl1pPr>
              <a:defRPr sz="2999" b="0">
                <a:solidFill>
                  <a:schemeClr val="tx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100" y="3046159"/>
            <a:ext cx="4326679" cy="478091"/>
          </a:xfrm>
        </p:spPr>
        <p:txBody>
          <a:bodyPr/>
          <a:lstStyle>
            <a:lvl1pPr marL="0" indent="0" algn="l">
              <a:spcAft>
                <a:spcPts val="1199"/>
              </a:spcAft>
              <a:buNone/>
              <a:defRPr sz="1600">
                <a:solidFill>
                  <a:schemeClr val="tx1"/>
                </a:solidFill>
                <a:latin typeface="EYInterstate" panose="02000503020000020004" pitchFamily="2" charset="0"/>
                <a:cs typeface="Arial" pitchFamily="34" charset="0"/>
              </a:defRPr>
            </a:lvl1pPr>
            <a:lvl2pPr marL="0" indent="0" algn="l">
              <a:buNone/>
              <a:defRPr sz="1599" b="1">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spTree>
    <p:extLst>
      <p:ext uri="{BB962C8B-B14F-4D97-AF65-F5344CB8AC3E}">
        <p14:creationId xmlns:p14="http://schemas.microsoft.com/office/powerpoint/2010/main" val="1820758257"/>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4_Standard slide_no bullet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8643B9-646F-79E1-3DA1-3EA89A90BF69}"/>
              </a:ext>
            </a:extLst>
          </p:cNvPr>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1" y="0"/>
            <a:ext cx="12192001" cy="6858000"/>
          </a:xfrm>
          <a:prstGeom prst="rect">
            <a:avLst/>
          </a:prstGeom>
        </p:spPr>
      </p:pic>
      <p:sp>
        <p:nvSpPr>
          <p:cNvPr id="6" name="Rectangle 5">
            <a:extLst>
              <a:ext uri="{FF2B5EF4-FFF2-40B4-BE49-F238E27FC236}">
                <a16:creationId xmlns:a16="http://schemas.microsoft.com/office/drawing/2014/main" id="{052D7209-0328-C2D1-5E61-32FAB18EF5A8}"/>
              </a:ext>
            </a:extLst>
          </p:cNvPr>
          <p:cNvSpPr>
            <a:spLocks/>
          </p:cNvSpPr>
          <p:nvPr userDrawn="1"/>
        </p:nvSpPr>
        <p:spPr>
          <a:xfrm>
            <a:off x="-2" y="0"/>
            <a:ext cx="12192001" cy="6858000"/>
          </a:xfrm>
          <a:prstGeom prst="rect">
            <a:avLst/>
          </a:prstGeom>
          <a:solidFill>
            <a:srgbClr val="2E2E38">
              <a:alpha val="80000"/>
            </a:srgb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grpSp>
        <p:nvGrpSpPr>
          <p:cNvPr id="7" name="Group 4">
            <a:extLst>
              <a:ext uri="{FF2B5EF4-FFF2-40B4-BE49-F238E27FC236}">
                <a16:creationId xmlns:a16="http://schemas.microsoft.com/office/drawing/2014/main" id="{61F27248-8723-A061-1F09-A6BC142B502F}"/>
              </a:ext>
            </a:extLst>
          </p:cNvPr>
          <p:cNvGrpSpPr>
            <a:grpSpLocks noChangeAspect="1"/>
          </p:cNvGrpSpPr>
          <p:nvPr userDrawn="1"/>
        </p:nvGrpSpPr>
        <p:grpSpPr bwMode="auto">
          <a:xfrm>
            <a:off x="11281250" y="153981"/>
            <a:ext cx="303055" cy="311150"/>
            <a:chOff x="7110" y="4004"/>
            <a:chExt cx="191" cy="196"/>
          </a:xfrm>
        </p:grpSpPr>
        <p:sp>
          <p:nvSpPr>
            <p:cNvPr id="8" name="Freeform 5">
              <a:extLst>
                <a:ext uri="{FF2B5EF4-FFF2-40B4-BE49-F238E27FC236}">
                  <a16:creationId xmlns:a16="http://schemas.microsoft.com/office/drawing/2014/main" id="{AFAD10C3-B6B6-E271-AAFB-FC8007A4665A}"/>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9" name="Freeform 6">
              <a:extLst>
                <a:ext uri="{FF2B5EF4-FFF2-40B4-BE49-F238E27FC236}">
                  <a16:creationId xmlns:a16="http://schemas.microsoft.com/office/drawing/2014/main" id="{FA670CFE-FAD4-4CFE-09D0-22FF337222C0}"/>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0" name="Freeform 7">
              <a:extLst>
                <a:ext uri="{FF2B5EF4-FFF2-40B4-BE49-F238E27FC236}">
                  <a16:creationId xmlns:a16="http://schemas.microsoft.com/office/drawing/2014/main" id="{9A8B8770-0AA6-69D3-F20A-7C3D09A4CD12}"/>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grpSp>
      <p:sp>
        <p:nvSpPr>
          <p:cNvPr id="11" name="Slide Number Placeholder 4">
            <a:extLst>
              <a:ext uri="{FF2B5EF4-FFF2-40B4-BE49-F238E27FC236}">
                <a16:creationId xmlns:a16="http://schemas.microsoft.com/office/drawing/2014/main" id="{7C98785B-0FE0-DE9A-DFA3-90431F55072D}"/>
              </a:ext>
            </a:extLst>
          </p:cNvPr>
          <p:cNvSpPr txBox="1">
            <a:spLocks/>
          </p:cNvSpPr>
          <p:nvPr userDrawn="1"/>
        </p:nvSpPr>
        <p:spPr>
          <a:xfrm>
            <a:off x="181210" y="271070"/>
            <a:ext cx="303055" cy="180000"/>
          </a:xfrm>
          <a:prstGeom prst="rect">
            <a:avLst/>
          </a:prstGeom>
        </p:spPr>
        <p:txBody>
          <a:bodyPr lIns="0" rIns="0" anchor="ctr" anchorCtr="0"/>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fld id="{D5B76411-544C-4F9A-8EDE-9EEB2BD21F95}" type="slidenum">
              <a:rPr lang="en-IN" sz="1000" smtClean="0"/>
              <a:pPr lvl="0" algn="ctr"/>
              <a:t>‹#›</a:t>
            </a:fld>
            <a:endParaRPr sz="1000" dirty="0"/>
          </a:p>
        </p:txBody>
      </p:sp>
      <p:sp>
        <p:nvSpPr>
          <p:cNvPr id="12" name="Slide Number Placeholder 4">
            <a:extLst>
              <a:ext uri="{FF2B5EF4-FFF2-40B4-BE49-F238E27FC236}">
                <a16:creationId xmlns:a16="http://schemas.microsoft.com/office/drawing/2014/main" id="{07DF00E3-9491-22E1-4A7D-C6B77C9259FE}"/>
              </a:ext>
            </a:extLst>
          </p:cNvPr>
          <p:cNvSpPr txBox="1">
            <a:spLocks/>
          </p:cNvSpPr>
          <p:nvPr userDrawn="1"/>
        </p:nvSpPr>
        <p:spPr>
          <a:xfrm>
            <a:off x="607695" y="265106"/>
            <a:ext cx="1205465" cy="180000"/>
          </a:xfrm>
          <a:prstGeom prst="rect">
            <a:avLst/>
          </a:prstGeom>
        </p:spPr>
        <p:txBody>
          <a:bodyPr lIns="0" rIns="0" anchor="ctr" anchorCtr="0"/>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l"/>
            <a:r>
              <a:rPr lang="en-IN" sz="800" dirty="0">
                <a:latin typeface="+mn-lt"/>
              </a:rPr>
              <a:t>WBA AI Training Part 2</a:t>
            </a:r>
            <a:endParaRPr sz="800" dirty="0">
              <a:latin typeface="+mn-lt"/>
            </a:endParaRPr>
          </a:p>
        </p:txBody>
      </p:sp>
      <p:sp>
        <p:nvSpPr>
          <p:cNvPr id="13" name="Oval 12">
            <a:extLst>
              <a:ext uri="{FF2B5EF4-FFF2-40B4-BE49-F238E27FC236}">
                <a16:creationId xmlns:a16="http://schemas.microsoft.com/office/drawing/2014/main" id="{48F9197D-9A7D-F47E-A212-07218D62091F}"/>
              </a:ext>
            </a:extLst>
          </p:cNvPr>
          <p:cNvSpPr/>
          <p:nvPr userDrawn="1"/>
        </p:nvSpPr>
        <p:spPr>
          <a:xfrm>
            <a:off x="177400" y="209543"/>
            <a:ext cx="303055" cy="303055"/>
          </a:xfrm>
          <a:prstGeom prst="ellipse">
            <a:avLst/>
          </a:prstGeom>
          <a:noFill/>
          <a:ln w="9525" cap="flat" cmpd="sng" algn="ctr">
            <a:solidFill>
              <a:srgbClr val="C4C4C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cxnSp>
        <p:nvCxnSpPr>
          <p:cNvPr id="14" name="Straight Connector 13">
            <a:extLst>
              <a:ext uri="{FF2B5EF4-FFF2-40B4-BE49-F238E27FC236}">
                <a16:creationId xmlns:a16="http://schemas.microsoft.com/office/drawing/2014/main" id="{44086518-99D4-F8D8-56FA-B4163975CBD1}"/>
              </a:ext>
            </a:extLst>
          </p:cNvPr>
          <p:cNvCxnSpPr>
            <a:cxnSpLocks/>
            <a:stCxn id="12" idx="3"/>
          </p:cNvCxnSpPr>
          <p:nvPr userDrawn="1"/>
        </p:nvCxnSpPr>
        <p:spPr>
          <a:xfrm>
            <a:off x="1813160" y="355106"/>
            <a:ext cx="9211011" cy="0"/>
          </a:xfrm>
          <a:prstGeom prst="line">
            <a:avLst/>
          </a:prstGeom>
          <a:ln w="6350" cap="flat" cmpd="sng" algn="ctr">
            <a:solidFill>
              <a:schemeClr val="bg1">
                <a:alpha val="5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01F9A1B-E3DA-A3D8-78B2-46C984EA2108}"/>
              </a:ext>
            </a:extLst>
          </p:cNvPr>
          <p:cNvCxnSpPr>
            <a:cxnSpLocks/>
          </p:cNvCxnSpPr>
          <p:nvPr userDrawn="1"/>
        </p:nvCxnSpPr>
        <p:spPr>
          <a:xfrm>
            <a:off x="614896" y="3255007"/>
            <a:ext cx="917498" cy="0"/>
          </a:xfrm>
          <a:prstGeom prst="line">
            <a:avLst/>
          </a:prstGeom>
          <a:ln w="25400" cap="rnd" cmpd="sng" algn="ctr">
            <a:solidFill>
              <a:srgbClr val="FFE60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614896" y="3385837"/>
            <a:ext cx="4917223" cy="2026983"/>
          </a:xfrm>
        </p:spPr>
        <p:txBody>
          <a:bodyPr vert="horz" lIns="0" tIns="0" rIns="0" bIns="0" rtlCol="0" anchor="t" anchorCtr="0">
            <a:noAutofit/>
          </a:bodyPr>
          <a:lstStyle>
            <a:lvl1pPr marL="0" indent="0">
              <a:buNone/>
              <a:defRPr kumimoji="0" lang="en-IN" sz="3600"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a:t>Chapter Title</a:t>
            </a:r>
            <a:endParaRPr lang="en-IN"/>
          </a:p>
        </p:txBody>
      </p:sp>
      <p:sp>
        <p:nvSpPr>
          <p:cNvPr id="19" name="Text Placeholder 4">
            <a:extLst>
              <a:ext uri="{FF2B5EF4-FFF2-40B4-BE49-F238E27FC236}">
                <a16:creationId xmlns:a16="http://schemas.microsoft.com/office/drawing/2014/main" id="{0649E384-B5E1-4FEF-DCD0-1FFA17318775}"/>
              </a:ext>
            </a:extLst>
          </p:cNvPr>
          <p:cNvSpPr>
            <a:spLocks noGrp="1"/>
          </p:cNvSpPr>
          <p:nvPr>
            <p:ph type="body" sz="quarter" idx="11" hasCustomPrompt="1"/>
          </p:nvPr>
        </p:nvSpPr>
        <p:spPr>
          <a:xfrm>
            <a:off x="589407" y="1616122"/>
            <a:ext cx="1489230" cy="1769715"/>
          </a:xfrm>
        </p:spPr>
        <p:txBody>
          <a:bodyPr vert="horz" wrap="square" lIns="0" tIns="0" rIns="0" bIns="0" rtlCol="0" anchor="t" anchorCtr="0">
            <a:spAutoFit/>
          </a:bodyPr>
          <a:lstStyle>
            <a:lvl1pPr marL="0" indent="0">
              <a:buNone/>
              <a:defRPr kumimoji="0" lang="en-IN" sz="11500" b="1" i="0" u="none" strike="noStrike" cap="none" spc="0" normalizeH="0" baseline="0" dirty="0">
                <a:ln w="6350">
                  <a:solidFill>
                    <a:schemeClr val="bg1">
                      <a:alpha val="50000"/>
                    </a:schemeClr>
                  </a:solidFill>
                </a:ln>
                <a:no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a:t>9</a:t>
            </a:r>
            <a:endParaRPr lang="en-IN"/>
          </a:p>
        </p:txBody>
      </p:sp>
      <p:grpSp>
        <p:nvGrpSpPr>
          <p:cNvPr id="2" name="Group 1">
            <a:extLst>
              <a:ext uri="{FF2B5EF4-FFF2-40B4-BE49-F238E27FC236}">
                <a16:creationId xmlns:a16="http://schemas.microsoft.com/office/drawing/2014/main" id="{263A9E44-A3C3-7442-B48B-1A8863882FFF}"/>
              </a:ext>
            </a:extLst>
          </p:cNvPr>
          <p:cNvGrpSpPr/>
          <p:nvPr userDrawn="1"/>
        </p:nvGrpSpPr>
        <p:grpSpPr>
          <a:xfrm>
            <a:off x="5956278" y="792396"/>
            <a:ext cx="5582014" cy="5582014"/>
            <a:chOff x="6464300" y="894962"/>
            <a:chExt cx="7835726" cy="7835726"/>
          </a:xfrm>
        </p:grpSpPr>
        <p:sp>
          <p:nvSpPr>
            <p:cNvPr id="18" name="Oval 17">
              <a:extLst>
                <a:ext uri="{FF2B5EF4-FFF2-40B4-BE49-F238E27FC236}">
                  <a16:creationId xmlns:a16="http://schemas.microsoft.com/office/drawing/2014/main" id="{9B8F27CF-46E2-90E4-F87F-22C878EF9006}"/>
                </a:ext>
              </a:extLst>
            </p:cNvPr>
            <p:cNvSpPr/>
            <p:nvPr userDrawn="1"/>
          </p:nvSpPr>
          <p:spPr>
            <a:xfrm>
              <a:off x="6464300" y="894962"/>
              <a:ext cx="7835726" cy="7835726"/>
            </a:xfrm>
            <a:prstGeom prst="ellipse">
              <a:avLst/>
            </a:prstGeom>
            <a:solidFill>
              <a:srgbClr val="2E2E38">
                <a:alpha val="80000"/>
              </a:srgbClr>
            </a:solidFill>
            <a:ln w="9525" cap="flat" cmpd="sng" algn="ctr">
              <a:solidFill>
                <a:srgbClr val="FFE600"/>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pic>
          <p:nvPicPr>
            <p:cNvPr id="4" name="Picture 3">
              <a:extLst>
                <a:ext uri="{FF2B5EF4-FFF2-40B4-BE49-F238E27FC236}">
                  <a16:creationId xmlns:a16="http://schemas.microsoft.com/office/drawing/2014/main" id="{76D08DC6-2B8D-2FEA-2201-6D1F3A3D6893}"/>
                </a:ext>
              </a:extLst>
            </p:cNvPr>
            <p:cNvPicPr>
              <a:picLocks/>
            </p:cNvPicPr>
            <p:nvPr userDrawn="1"/>
          </p:nvPicPr>
          <p:blipFill rotWithShape="1">
            <a:blip r:embed="rId4" cstate="screen">
              <a:extLst>
                <a:ext uri="{28A0092B-C50C-407E-A947-70E740481C1C}">
                  <a14:useLocalDpi xmlns:a14="http://schemas.microsoft.com/office/drawing/2010/main"/>
                </a:ext>
              </a:extLst>
            </a:blip>
            <a:srcRect/>
            <a:stretch/>
          </p:blipFill>
          <p:spPr>
            <a:xfrm>
              <a:off x="6641926" y="1072588"/>
              <a:ext cx="7480475" cy="7480475"/>
            </a:xfrm>
            <a:prstGeom prst="ellipse">
              <a:avLst/>
            </a:prstGeom>
          </p:spPr>
        </p:pic>
      </p:grpSp>
      <p:cxnSp>
        <p:nvCxnSpPr>
          <p:cNvPr id="20" name="Straight Connector 19">
            <a:extLst>
              <a:ext uri="{FF2B5EF4-FFF2-40B4-BE49-F238E27FC236}">
                <a16:creationId xmlns:a16="http://schemas.microsoft.com/office/drawing/2014/main" id="{095554B4-013A-859A-81E2-62355B7120A8}"/>
              </a:ext>
            </a:extLst>
          </p:cNvPr>
          <p:cNvCxnSpPr>
            <a:cxnSpLocks/>
          </p:cNvCxnSpPr>
          <p:nvPr userDrawn="1"/>
        </p:nvCxnSpPr>
        <p:spPr>
          <a:xfrm>
            <a:off x="0" y="6741392"/>
            <a:ext cx="12191999" cy="0"/>
          </a:xfrm>
          <a:prstGeom prst="line">
            <a:avLst/>
          </a:prstGeom>
          <a:ln w="6350" cap="flat" cmpd="sng" algn="ctr">
            <a:solidFill>
              <a:schemeClr val="bg1">
                <a:alpha val="3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98B8A16F-2329-CD29-1A45-4FD33EA635BA}"/>
              </a:ext>
            </a:extLst>
          </p:cNvPr>
          <p:cNvCxnSpPr>
            <a:cxnSpLocks/>
          </p:cNvCxnSpPr>
          <p:nvPr userDrawn="1"/>
        </p:nvCxnSpPr>
        <p:spPr>
          <a:xfrm>
            <a:off x="5887092" y="6741392"/>
            <a:ext cx="417816" cy="0"/>
          </a:xfrm>
          <a:prstGeom prst="line">
            <a:avLst/>
          </a:prstGeom>
          <a:ln w="15875" cap="flat" cmpd="sng" algn="ctr">
            <a:solidFill>
              <a:srgbClr val="74748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278580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5_Standard slide_no bullet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8643B9-646F-79E1-3DA1-3EA89A90BF69}"/>
              </a:ext>
            </a:extLst>
          </p:cNvPr>
          <p:cNvPicPr>
            <a:picLocks noChangeAspect="1"/>
          </p:cNvPicPr>
          <p:nvPr userDrawn="1"/>
        </p:nvPicPr>
        <p:blipFill>
          <a:blip r:embed="rId2" cstate="screen">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1" y="12560"/>
            <a:ext cx="12192001" cy="6832879"/>
          </a:xfrm>
          <a:prstGeom prst="rect">
            <a:avLst/>
          </a:prstGeom>
        </p:spPr>
      </p:pic>
      <p:sp>
        <p:nvSpPr>
          <p:cNvPr id="6" name="Rectangle 5">
            <a:extLst>
              <a:ext uri="{FF2B5EF4-FFF2-40B4-BE49-F238E27FC236}">
                <a16:creationId xmlns:a16="http://schemas.microsoft.com/office/drawing/2014/main" id="{052D7209-0328-C2D1-5E61-32FAB18EF5A8}"/>
              </a:ext>
            </a:extLst>
          </p:cNvPr>
          <p:cNvSpPr>
            <a:spLocks/>
          </p:cNvSpPr>
          <p:nvPr userDrawn="1"/>
        </p:nvSpPr>
        <p:spPr>
          <a:xfrm>
            <a:off x="-1" y="0"/>
            <a:ext cx="12192000" cy="6858000"/>
          </a:xfrm>
          <a:prstGeom prst="rect">
            <a:avLst/>
          </a:prstGeom>
          <a:solidFill>
            <a:srgbClr val="2E2E38">
              <a:alpha val="80000"/>
            </a:srgb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grpSp>
        <p:nvGrpSpPr>
          <p:cNvPr id="7" name="Group 4">
            <a:extLst>
              <a:ext uri="{FF2B5EF4-FFF2-40B4-BE49-F238E27FC236}">
                <a16:creationId xmlns:a16="http://schemas.microsoft.com/office/drawing/2014/main" id="{61F27248-8723-A061-1F09-A6BC142B502F}"/>
              </a:ext>
            </a:extLst>
          </p:cNvPr>
          <p:cNvGrpSpPr>
            <a:grpSpLocks noChangeAspect="1"/>
          </p:cNvGrpSpPr>
          <p:nvPr userDrawn="1"/>
        </p:nvGrpSpPr>
        <p:grpSpPr bwMode="auto">
          <a:xfrm>
            <a:off x="11281250" y="153981"/>
            <a:ext cx="303055" cy="311150"/>
            <a:chOff x="7110" y="4004"/>
            <a:chExt cx="191" cy="196"/>
          </a:xfrm>
        </p:grpSpPr>
        <p:sp>
          <p:nvSpPr>
            <p:cNvPr id="8" name="Freeform 5">
              <a:extLst>
                <a:ext uri="{FF2B5EF4-FFF2-40B4-BE49-F238E27FC236}">
                  <a16:creationId xmlns:a16="http://schemas.microsoft.com/office/drawing/2014/main" id="{AFAD10C3-B6B6-E271-AAFB-FC8007A4665A}"/>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9" name="Freeform 6">
              <a:extLst>
                <a:ext uri="{FF2B5EF4-FFF2-40B4-BE49-F238E27FC236}">
                  <a16:creationId xmlns:a16="http://schemas.microsoft.com/office/drawing/2014/main" id="{FA670CFE-FAD4-4CFE-09D0-22FF337222C0}"/>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0" name="Freeform 7">
              <a:extLst>
                <a:ext uri="{FF2B5EF4-FFF2-40B4-BE49-F238E27FC236}">
                  <a16:creationId xmlns:a16="http://schemas.microsoft.com/office/drawing/2014/main" id="{9A8B8770-0AA6-69D3-F20A-7C3D09A4CD12}"/>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grpSp>
      <p:sp>
        <p:nvSpPr>
          <p:cNvPr id="11" name="Slide Number Placeholder 4">
            <a:extLst>
              <a:ext uri="{FF2B5EF4-FFF2-40B4-BE49-F238E27FC236}">
                <a16:creationId xmlns:a16="http://schemas.microsoft.com/office/drawing/2014/main" id="{7C98785B-0FE0-DE9A-DFA3-90431F55072D}"/>
              </a:ext>
            </a:extLst>
          </p:cNvPr>
          <p:cNvSpPr txBox="1">
            <a:spLocks/>
          </p:cNvSpPr>
          <p:nvPr userDrawn="1"/>
        </p:nvSpPr>
        <p:spPr>
          <a:xfrm>
            <a:off x="181210" y="271070"/>
            <a:ext cx="303055" cy="180000"/>
          </a:xfrm>
          <a:prstGeom prst="rect">
            <a:avLst/>
          </a:prstGeom>
        </p:spPr>
        <p:txBody>
          <a:bodyPr lIns="0" rIns="0" anchor="ctr" anchorCtr="0"/>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fld id="{D5B76411-544C-4F9A-8EDE-9EEB2BD21F95}" type="slidenum">
              <a:rPr lang="en-IN" sz="1000" smtClean="0"/>
              <a:pPr lvl="0" algn="ctr"/>
              <a:t>‹#›</a:t>
            </a:fld>
            <a:endParaRPr sz="1000" dirty="0"/>
          </a:p>
        </p:txBody>
      </p:sp>
      <p:sp>
        <p:nvSpPr>
          <p:cNvPr id="12" name="Slide Number Placeholder 4">
            <a:extLst>
              <a:ext uri="{FF2B5EF4-FFF2-40B4-BE49-F238E27FC236}">
                <a16:creationId xmlns:a16="http://schemas.microsoft.com/office/drawing/2014/main" id="{07DF00E3-9491-22E1-4A7D-C6B77C9259FE}"/>
              </a:ext>
            </a:extLst>
          </p:cNvPr>
          <p:cNvSpPr txBox="1">
            <a:spLocks/>
          </p:cNvSpPr>
          <p:nvPr userDrawn="1"/>
        </p:nvSpPr>
        <p:spPr>
          <a:xfrm>
            <a:off x="607695" y="265106"/>
            <a:ext cx="1205465" cy="180000"/>
          </a:xfrm>
          <a:prstGeom prst="rect">
            <a:avLst/>
          </a:prstGeom>
        </p:spPr>
        <p:txBody>
          <a:bodyPr lIns="0" rIns="0" anchor="ctr" anchorCtr="0"/>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l"/>
            <a:r>
              <a:rPr lang="en-IN" sz="800" dirty="0">
                <a:latin typeface="+mn-lt"/>
              </a:rPr>
              <a:t>WBA AI Training Part 2</a:t>
            </a:r>
            <a:endParaRPr sz="800" dirty="0">
              <a:latin typeface="+mn-lt"/>
            </a:endParaRPr>
          </a:p>
        </p:txBody>
      </p:sp>
      <p:sp>
        <p:nvSpPr>
          <p:cNvPr id="13" name="Oval 12">
            <a:extLst>
              <a:ext uri="{FF2B5EF4-FFF2-40B4-BE49-F238E27FC236}">
                <a16:creationId xmlns:a16="http://schemas.microsoft.com/office/drawing/2014/main" id="{48F9197D-9A7D-F47E-A212-07218D62091F}"/>
              </a:ext>
            </a:extLst>
          </p:cNvPr>
          <p:cNvSpPr/>
          <p:nvPr userDrawn="1"/>
        </p:nvSpPr>
        <p:spPr>
          <a:xfrm>
            <a:off x="177400" y="209543"/>
            <a:ext cx="303055" cy="303055"/>
          </a:xfrm>
          <a:prstGeom prst="ellipse">
            <a:avLst/>
          </a:prstGeom>
          <a:noFill/>
          <a:ln w="9525" cap="flat" cmpd="sng" algn="ctr">
            <a:solidFill>
              <a:srgbClr val="C4C4C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cxnSp>
        <p:nvCxnSpPr>
          <p:cNvPr id="14" name="Straight Connector 13">
            <a:extLst>
              <a:ext uri="{FF2B5EF4-FFF2-40B4-BE49-F238E27FC236}">
                <a16:creationId xmlns:a16="http://schemas.microsoft.com/office/drawing/2014/main" id="{44086518-99D4-F8D8-56FA-B4163975CBD1}"/>
              </a:ext>
            </a:extLst>
          </p:cNvPr>
          <p:cNvCxnSpPr>
            <a:cxnSpLocks/>
            <a:stCxn id="12" idx="3"/>
          </p:cNvCxnSpPr>
          <p:nvPr userDrawn="1"/>
        </p:nvCxnSpPr>
        <p:spPr>
          <a:xfrm>
            <a:off x="1813160" y="355106"/>
            <a:ext cx="9211011" cy="0"/>
          </a:xfrm>
          <a:prstGeom prst="line">
            <a:avLst/>
          </a:prstGeom>
          <a:ln w="6350" cap="flat" cmpd="sng" algn="ctr">
            <a:solidFill>
              <a:schemeClr val="bg1">
                <a:alpha val="5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01F9A1B-E3DA-A3D8-78B2-46C984EA2108}"/>
              </a:ext>
            </a:extLst>
          </p:cNvPr>
          <p:cNvCxnSpPr>
            <a:cxnSpLocks/>
          </p:cNvCxnSpPr>
          <p:nvPr userDrawn="1"/>
        </p:nvCxnSpPr>
        <p:spPr>
          <a:xfrm>
            <a:off x="614896" y="3255007"/>
            <a:ext cx="917498" cy="0"/>
          </a:xfrm>
          <a:prstGeom prst="line">
            <a:avLst/>
          </a:prstGeom>
          <a:ln w="25400" cap="rnd" cmpd="sng" algn="ctr">
            <a:solidFill>
              <a:srgbClr val="FFE60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614896" y="3385837"/>
            <a:ext cx="4917223" cy="2026983"/>
          </a:xfrm>
        </p:spPr>
        <p:txBody>
          <a:bodyPr vert="horz" lIns="0" tIns="0" rIns="0" bIns="0" rtlCol="0" anchor="t" anchorCtr="0">
            <a:noAutofit/>
          </a:bodyPr>
          <a:lstStyle>
            <a:lvl1pPr marL="0" indent="0">
              <a:buNone/>
              <a:defRPr kumimoji="0" lang="en-IN" sz="3600"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a:t>Chapter Title</a:t>
            </a:r>
            <a:endParaRPr lang="en-IN"/>
          </a:p>
        </p:txBody>
      </p:sp>
      <p:sp>
        <p:nvSpPr>
          <p:cNvPr id="19" name="Text Placeholder 4">
            <a:extLst>
              <a:ext uri="{FF2B5EF4-FFF2-40B4-BE49-F238E27FC236}">
                <a16:creationId xmlns:a16="http://schemas.microsoft.com/office/drawing/2014/main" id="{0649E384-B5E1-4FEF-DCD0-1FFA17318775}"/>
              </a:ext>
            </a:extLst>
          </p:cNvPr>
          <p:cNvSpPr>
            <a:spLocks noGrp="1"/>
          </p:cNvSpPr>
          <p:nvPr>
            <p:ph type="body" sz="quarter" idx="11" hasCustomPrompt="1"/>
          </p:nvPr>
        </p:nvSpPr>
        <p:spPr>
          <a:xfrm>
            <a:off x="589406" y="1616122"/>
            <a:ext cx="2169033" cy="1769715"/>
          </a:xfrm>
        </p:spPr>
        <p:txBody>
          <a:bodyPr vert="horz" wrap="square" lIns="0" tIns="0" rIns="0" bIns="0" rtlCol="0" anchor="t" anchorCtr="0">
            <a:spAutoFit/>
          </a:bodyPr>
          <a:lstStyle>
            <a:lvl1pPr marL="0" indent="0">
              <a:buNone/>
              <a:defRPr kumimoji="0" lang="en-IN" sz="11500" b="1" i="0" u="none" strike="noStrike" cap="none" spc="0" normalizeH="0" baseline="0" dirty="0">
                <a:ln w="6350">
                  <a:solidFill>
                    <a:schemeClr val="bg1">
                      <a:alpha val="50000"/>
                    </a:schemeClr>
                  </a:solidFill>
                </a:ln>
                <a:no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a:t>10</a:t>
            </a:r>
            <a:endParaRPr lang="en-IN"/>
          </a:p>
        </p:txBody>
      </p:sp>
      <p:grpSp>
        <p:nvGrpSpPr>
          <p:cNvPr id="2" name="Group 1">
            <a:extLst>
              <a:ext uri="{FF2B5EF4-FFF2-40B4-BE49-F238E27FC236}">
                <a16:creationId xmlns:a16="http://schemas.microsoft.com/office/drawing/2014/main" id="{263A9E44-A3C3-7442-B48B-1A8863882FFF}"/>
              </a:ext>
            </a:extLst>
          </p:cNvPr>
          <p:cNvGrpSpPr/>
          <p:nvPr userDrawn="1"/>
        </p:nvGrpSpPr>
        <p:grpSpPr>
          <a:xfrm>
            <a:off x="5956278" y="792396"/>
            <a:ext cx="5582014" cy="5582014"/>
            <a:chOff x="6464300" y="894962"/>
            <a:chExt cx="7835726" cy="7835726"/>
          </a:xfrm>
        </p:grpSpPr>
        <p:sp>
          <p:nvSpPr>
            <p:cNvPr id="18" name="Oval 17">
              <a:extLst>
                <a:ext uri="{FF2B5EF4-FFF2-40B4-BE49-F238E27FC236}">
                  <a16:creationId xmlns:a16="http://schemas.microsoft.com/office/drawing/2014/main" id="{9B8F27CF-46E2-90E4-F87F-22C878EF9006}"/>
                </a:ext>
              </a:extLst>
            </p:cNvPr>
            <p:cNvSpPr/>
            <p:nvPr userDrawn="1"/>
          </p:nvSpPr>
          <p:spPr>
            <a:xfrm>
              <a:off x="6464300" y="894962"/>
              <a:ext cx="7835726" cy="7835726"/>
            </a:xfrm>
            <a:prstGeom prst="ellipse">
              <a:avLst/>
            </a:prstGeom>
            <a:solidFill>
              <a:srgbClr val="2E2E38">
                <a:alpha val="80000"/>
              </a:srgbClr>
            </a:solidFill>
            <a:ln w="9525" cap="flat" cmpd="sng" algn="ctr">
              <a:solidFill>
                <a:srgbClr val="FFE600"/>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pic>
          <p:nvPicPr>
            <p:cNvPr id="4" name="Picture 3">
              <a:extLst>
                <a:ext uri="{FF2B5EF4-FFF2-40B4-BE49-F238E27FC236}">
                  <a16:creationId xmlns:a16="http://schemas.microsoft.com/office/drawing/2014/main" id="{76D08DC6-2B8D-2FEA-2201-6D1F3A3D6893}"/>
                </a:ext>
              </a:extLst>
            </p:cNvPr>
            <p:cNvPicPr>
              <a:picLocks/>
            </p:cNvPicPr>
            <p:nvPr userDrawn="1"/>
          </p:nvPicPr>
          <p:blipFill>
            <a:blip r:embed="rId4" cstate="screen">
              <a:extLst>
                <a:ext uri="{28A0092B-C50C-407E-A947-70E740481C1C}">
                  <a14:useLocalDpi xmlns:a14="http://schemas.microsoft.com/office/drawing/2010/main"/>
                </a:ext>
              </a:extLst>
            </a:blip>
            <a:srcRect/>
            <a:stretch/>
          </p:blipFill>
          <p:spPr>
            <a:xfrm>
              <a:off x="6641926" y="1072588"/>
              <a:ext cx="7480475" cy="7480475"/>
            </a:xfrm>
            <a:prstGeom prst="ellipse">
              <a:avLst/>
            </a:prstGeom>
          </p:spPr>
        </p:pic>
      </p:grpSp>
      <p:cxnSp>
        <p:nvCxnSpPr>
          <p:cNvPr id="20" name="Straight Connector 19">
            <a:extLst>
              <a:ext uri="{FF2B5EF4-FFF2-40B4-BE49-F238E27FC236}">
                <a16:creationId xmlns:a16="http://schemas.microsoft.com/office/drawing/2014/main" id="{2ADAAB35-4F35-7665-7517-FF174A7845D4}"/>
              </a:ext>
            </a:extLst>
          </p:cNvPr>
          <p:cNvCxnSpPr>
            <a:cxnSpLocks/>
          </p:cNvCxnSpPr>
          <p:nvPr userDrawn="1"/>
        </p:nvCxnSpPr>
        <p:spPr>
          <a:xfrm>
            <a:off x="0" y="6741392"/>
            <a:ext cx="12191999" cy="0"/>
          </a:xfrm>
          <a:prstGeom prst="line">
            <a:avLst/>
          </a:prstGeom>
          <a:ln w="6350" cap="flat" cmpd="sng" algn="ctr">
            <a:solidFill>
              <a:schemeClr val="bg1">
                <a:alpha val="3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42C66ED-5F7D-63AD-96DE-FB506E6A8919}"/>
              </a:ext>
            </a:extLst>
          </p:cNvPr>
          <p:cNvCxnSpPr>
            <a:cxnSpLocks/>
          </p:cNvCxnSpPr>
          <p:nvPr userDrawn="1"/>
        </p:nvCxnSpPr>
        <p:spPr>
          <a:xfrm>
            <a:off x="5887092" y="6741392"/>
            <a:ext cx="417816" cy="0"/>
          </a:xfrm>
          <a:prstGeom prst="line">
            <a:avLst/>
          </a:prstGeom>
          <a:ln w="15875" cap="flat" cmpd="sng" algn="ctr">
            <a:solidFill>
              <a:srgbClr val="74748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8648195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8_Standard slide_no bullet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8643B9-646F-79E1-3DA1-3EA89A90BF69}"/>
              </a:ext>
            </a:extLst>
          </p:cNvPr>
          <p:cNvPicPr>
            <a:picLocks noChangeAspect="1"/>
          </p:cNvPicPr>
          <p:nvPr userDrawn="1"/>
        </p:nvPicPr>
        <p:blipFill>
          <a:blip r:embed="rId2" cstate="screen">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 name="Rectangle 5">
            <a:extLst>
              <a:ext uri="{FF2B5EF4-FFF2-40B4-BE49-F238E27FC236}">
                <a16:creationId xmlns:a16="http://schemas.microsoft.com/office/drawing/2014/main" id="{052D7209-0328-C2D1-5E61-32FAB18EF5A8}"/>
              </a:ext>
            </a:extLst>
          </p:cNvPr>
          <p:cNvSpPr>
            <a:spLocks/>
          </p:cNvSpPr>
          <p:nvPr userDrawn="1"/>
        </p:nvSpPr>
        <p:spPr>
          <a:xfrm>
            <a:off x="-1" y="0"/>
            <a:ext cx="12191999" cy="6858000"/>
          </a:xfrm>
          <a:prstGeom prst="rect">
            <a:avLst/>
          </a:prstGeom>
          <a:solidFill>
            <a:srgbClr val="2E2E38">
              <a:alpha val="80000"/>
            </a:srgb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grpSp>
        <p:nvGrpSpPr>
          <p:cNvPr id="7" name="Group 4">
            <a:extLst>
              <a:ext uri="{FF2B5EF4-FFF2-40B4-BE49-F238E27FC236}">
                <a16:creationId xmlns:a16="http://schemas.microsoft.com/office/drawing/2014/main" id="{61F27248-8723-A061-1F09-A6BC142B502F}"/>
              </a:ext>
            </a:extLst>
          </p:cNvPr>
          <p:cNvGrpSpPr>
            <a:grpSpLocks noChangeAspect="1"/>
          </p:cNvGrpSpPr>
          <p:nvPr userDrawn="1"/>
        </p:nvGrpSpPr>
        <p:grpSpPr bwMode="auto">
          <a:xfrm>
            <a:off x="11281250" y="153981"/>
            <a:ext cx="303055" cy="311150"/>
            <a:chOff x="7110" y="4004"/>
            <a:chExt cx="191" cy="196"/>
          </a:xfrm>
        </p:grpSpPr>
        <p:sp>
          <p:nvSpPr>
            <p:cNvPr id="8" name="Freeform 5">
              <a:extLst>
                <a:ext uri="{FF2B5EF4-FFF2-40B4-BE49-F238E27FC236}">
                  <a16:creationId xmlns:a16="http://schemas.microsoft.com/office/drawing/2014/main" id="{AFAD10C3-B6B6-E271-AAFB-FC8007A4665A}"/>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9" name="Freeform 6">
              <a:extLst>
                <a:ext uri="{FF2B5EF4-FFF2-40B4-BE49-F238E27FC236}">
                  <a16:creationId xmlns:a16="http://schemas.microsoft.com/office/drawing/2014/main" id="{FA670CFE-FAD4-4CFE-09D0-22FF337222C0}"/>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0" name="Freeform 7">
              <a:extLst>
                <a:ext uri="{FF2B5EF4-FFF2-40B4-BE49-F238E27FC236}">
                  <a16:creationId xmlns:a16="http://schemas.microsoft.com/office/drawing/2014/main" id="{9A8B8770-0AA6-69D3-F20A-7C3D09A4CD12}"/>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grpSp>
      <p:sp>
        <p:nvSpPr>
          <p:cNvPr id="11" name="Slide Number Placeholder 4">
            <a:extLst>
              <a:ext uri="{FF2B5EF4-FFF2-40B4-BE49-F238E27FC236}">
                <a16:creationId xmlns:a16="http://schemas.microsoft.com/office/drawing/2014/main" id="{7C98785B-0FE0-DE9A-DFA3-90431F55072D}"/>
              </a:ext>
            </a:extLst>
          </p:cNvPr>
          <p:cNvSpPr txBox="1">
            <a:spLocks/>
          </p:cNvSpPr>
          <p:nvPr userDrawn="1"/>
        </p:nvSpPr>
        <p:spPr>
          <a:xfrm>
            <a:off x="181210" y="271070"/>
            <a:ext cx="303055" cy="180000"/>
          </a:xfrm>
          <a:prstGeom prst="rect">
            <a:avLst/>
          </a:prstGeom>
        </p:spPr>
        <p:txBody>
          <a:bodyPr lIns="0" rIns="0" anchor="ctr" anchorCtr="0"/>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fld id="{D5B76411-544C-4F9A-8EDE-9EEB2BD21F95}" type="slidenum">
              <a:rPr lang="en-IN" sz="1000" smtClean="0"/>
              <a:pPr lvl="0" algn="ctr"/>
              <a:t>‹#›</a:t>
            </a:fld>
            <a:endParaRPr sz="1000" dirty="0"/>
          </a:p>
        </p:txBody>
      </p:sp>
      <p:sp>
        <p:nvSpPr>
          <p:cNvPr id="12" name="Slide Number Placeholder 4">
            <a:extLst>
              <a:ext uri="{FF2B5EF4-FFF2-40B4-BE49-F238E27FC236}">
                <a16:creationId xmlns:a16="http://schemas.microsoft.com/office/drawing/2014/main" id="{07DF00E3-9491-22E1-4A7D-C6B77C9259FE}"/>
              </a:ext>
            </a:extLst>
          </p:cNvPr>
          <p:cNvSpPr txBox="1">
            <a:spLocks/>
          </p:cNvSpPr>
          <p:nvPr userDrawn="1"/>
        </p:nvSpPr>
        <p:spPr>
          <a:xfrm>
            <a:off x="607695" y="265106"/>
            <a:ext cx="1205465" cy="180000"/>
          </a:xfrm>
          <a:prstGeom prst="rect">
            <a:avLst/>
          </a:prstGeom>
        </p:spPr>
        <p:txBody>
          <a:bodyPr lIns="0" rIns="0" anchor="ctr" anchorCtr="0"/>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l"/>
            <a:r>
              <a:rPr lang="en-IN" sz="800" dirty="0">
                <a:latin typeface="+mn-lt"/>
              </a:rPr>
              <a:t>WBA AI Training Part 2</a:t>
            </a:r>
            <a:endParaRPr sz="800" dirty="0">
              <a:latin typeface="+mn-lt"/>
            </a:endParaRPr>
          </a:p>
        </p:txBody>
      </p:sp>
      <p:sp>
        <p:nvSpPr>
          <p:cNvPr id="13" name="Oval 12">
            <a:extLst>
              <a:ext uri="{FF2B5EF4-FFF2-40B4-BE49-F238E27FC236}">
                <a16:creationId xmlns:a16="http://schemas.microsoft.com/office/drawing/2014/main" id="{48F9197D-9A7D-F47E-A212-07218D62091F}"/>
              </a:ext>
            </a:extLst>
          </p:cNvPr>
          <p:cNvSpPr/>
          <p:nvPr userDrawn="1"/>
        </p:nvSpPr>
        <p:spPr>
          <a:xfrm>
            <a:off x="177400" y="209543"/>
            <a:ext cx="303055" cy="303055"/>
          </a:xfrm>
          <a:prstGeom prst="ellipse">
            <a:avLst/>
          </a:prstGeom>
          <a:noFill/>
          <a:ln w="9525" cap="flat" cmpd="sng" algn="ctr">
            <a:solidFill>
              <a:srgbClr val="C4C4C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cxnSp>
        <p:nvCxnSpPr>
          <p:cNvPr id="14" name="Straight Connector 13">
            <a:extLst>
              <a:ext uri="{FF2B5EF4-FFF2-40B4-BE49-F238E27FC236}">
                <a16:creationId xmlns:a16="http://schemas.microsoft.com/office/drawing/2014/main" id="{44086518-99D4-F8D8-56FA-B4163975CBD1}"/>
              </a:ext>
            </a:extLst>
          </p:cNvPr>
          <p:cNvCxnSpPr>
            <a:cxnSpLocks/>
            <a:stCxn id="12" idx="3"/>
          </p:cNvCxnSpPr>
          <p:nvPr userDrawn="1"/>
        </p:nvCxnSpPr>
        <p:spPr>
          <a:xfrm>
            <a:off x="1813160" y="355106"/>
            <a:ext cx="9211011" cy="0"/>
          </a:xfrm>
          <a:prstGeom prst="line">
            <a:avLst/>
          </a:prstGeom>
          <a:ln w="6350" cap="flat" cmpd="sng" algn="ctr">
            <a:solidFill>
              <a:schemeClr val="bg1">
                <a:alpha val="5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01F9A1B-E3DA-A3D8-78B2-46C984EA2108}"/>
              </a:ext>
            </a:extLst>
          </p:cNvPr>
          <p:cNvCxnSpPr>
            <a:cxnSpLocks/>
          </p:cNvCxnSpPr>
          <p:nvPr userDrawn="1"/>
        </p:nvCxnSpPr>
        <p:spPr>
          <a:xfrm>
            <a:off x="614896" y="3255007"/>
            <a:ext cx="917498" cy="0"/>
          </a:xfrm>
          <a:prstGeom prst="line">
            <a:avLst/>
          </a:prstGeom>
          <a:ln w="25400" cap="rnd" cmpd="sng" algn="ctr">
            <a:solidFill>
              <a:srgbClr val="FFE60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614896" y="3385837"/>
            <a:ext cx="4917223" cy="2026983"/>
          </a:xfrm>
        </p:spPr>
        <p:txBody>
          <a:bodyPr vert="horz" lIns="0" tIns="0" rIns="0" bIns="0" rtlCol="0" anchor="t" anchorCtr="0">
            <a:noAutofit/>
          </a:bodyPr>
          <a:lstStyle>
            <a:lvl1pPr marL="0" indent="0">
              <a:buNone/>
              <a:defRPr kumimoji="0" lang="en-IN" sz="3600"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a:t>Chapter Title</a:t>
            </a:r>
            <a:endParaRPr lang="en-IN"/>
          </a:p>
        </p:txBody>
      </p:sp>
      <p:grpSp>
        <p:nvGrpSpPr>
          <p:cNvPr id="2" name="Group 1">
            <a:extLst>
              <a:ext uri="{FF2B5EF4-FFF2-40B4-BE49-F238E27FC236}">
                <a16:creationId xmlns:a16="http://schemas.microsoft.com/office/drawing/2014/main" id="{263A9E44-A3C3-7442-B48B-1A8863882FFF}"/>
              </a:ext>
            </a:extLst>
          </p:cNvPr>
          <p:cNvGrpSpPr/>
          <p:nvPr userDrawn="1"/>
        </p:nvGrpSpPr>
        <p:grpSpPr>
          <a:xfrm>
            <a:off x="5956278" y="792396"/>
            <a:ext cx="5582014" cy="5582014"/>
            <a:chOff x="6464300" y="894962"/>
            <a:chExt cx="7835726" cy="7835726"/>
          </a:xfrm>
        </p:grpSpPr>
        <p:sp>
          <p:nvSpPr>
            <p:cNvPr id="18" name="Oval 17">
              <a:extLst>
                <a:ext uri="{FF2B5EF4-FFF2-40B4-BE49-F238E27FC236}">
                  <a16:creationId xmlns:a16="http://schemas.microsoft.com/office/drawing/2014/main" id="{9B8F27CF-46E2-90E4-F87F-22C878EF9006}"/>
                </a:ext>
              </a:extLst>
            </p:cNvPr>
            <p:cNvSpPr/>
            <p:nvPr userDrawn="1"/>
          </p:nvSpPr>
          <p:spPr>
            <a:xfrm>
              <a:off x="6464300" y="894962"/>
              <a:ext cx="7835726" cy="7835726"/>
            </a:xfrm>
            <a:prstGeom prst="ellipse">
              <a:avLst/>
            </a:prstGeom>
            <a:solidFill>
              <a:srgbClr val="2E2E38">
                <a:alpha val="80000"/>
              </a:srgbClr>
            </a:solidFill>
            <a:ln w="9525" cap="flat" cmpd="sng" algn="ctr">
              <a:solidFill>
                <a:srgbClr val="FFE600"/>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pic>
          <p:nvPicPr>
            <p:cNvPr id="4" name="Picture 3">
              <a:extLst>
                <a:ext uri="{FF2B5EF4-FFF2-40B4-BE49-F238E27FC236}">
                  <a16:creationId xmlns:a16="http://schemas.microsoft.com/office/drawing/2014/main" id="{76D08DC6-2B8D-2FEA-2201-6D1F3A3D6893}"/>
                </a:ext>
              </a:extLst>
            </p:cNvPr>
            <p:cNvPicPr>
              <a:picLocks/>
            </p:cNvPicPr>
            <p:nvPr userDrawn="1"/>
          </p:nvPicPr>
          <p:blipFill>
            <a:blip r:embed="rId4" cstate="screen">
              <a:extLst>
                <a:ext uri="{28A0092B-C50C-407E-A947-70E740481C1C}">
                  <a14:useLocalDpi xmlns:a14="http://schemas.microsoft.com/office/drawing/2010/main"/>
                </a:ext>
              </a:extLst>
            </a:blip>
            <a:srcRect/>
            <a:stretch/>
          </p:blipFill>
          <p:spPr>
            <a:xfrm>
              <a:off x="6641926" y="1072588"/>
              <a:ext cx="7480475" cy="7480475"/>
            </a:xfrm>
            <a:prstGeom prst="ellipse">
              <a:avLst/>
            </a:prstGeom>
          </p:spPr>
        </p:pic>
      </p:grpSp>
      <p:cxnSp>
        <p:nvCxnSpPr>
          <p:cNvPr id="19" name="Straight Connector 18">
            <a:extLst>
              <a:ext uri="{FF2B5EF4-FFF2-40B4-BE49-F238E27FC236}">
                <a16:creationId xmlns:a16="http://schemas.microsoft.com/office/drawing/2014/main" id="{4320EB2C-FF49-8C49-452F-9AE6E7D13A7A}"/>
              </a:ext>
            </a:extLst>
          </p:cNvPr>
          <p:cNvCxnSpPr>
            <a:cxnSpLocks/>
          </p:cNvCxnSpPr>
          <p:nvPr userDrawn="1"/>
        </p:nvCxnSpPr>
        <p:spPr>
          <a:xfrm>
            <a:off x="0" y="6741392"/>
            <a:ext cx="12191999" cy="0"/>
          </a:xfrm>
          <a:prstGeom prst="line">
            <a:avLst/>
          </a:prstGeom>
          <a:ln w="6350" cap="flat" cmpd="sng" algn="ctr">
            <a:solidFill>
              <a:schemeClr val="bg1">
                <a:alpha val="3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A093F06-C1A7-E817-5115-861FA070D56B}"/>
              </a:ext>
            </a:extLst>
          </p:cNvPr>
          <p:cNvCxnSpPr>
            <a:cxnSpLocks/>
          </p:cNvCxnSpPr>
          <p:nvPr userDrawn="1"/>
        </p:nvCxnSpPr>
        <p:spPr>
          <a:xfrm>
            <a:off x="5887092" y="6741392"/>
            <a:ext cx="417816" cy="0"/>
          </a:xfrm>
          <a:prstGeom prst="line">
            <a:avLst/>
          </a:prstGeom>
          <a:ln w="15875" cap="flat" cmpd="sng" algn="ctr">
            <a:solidFill>
              <a:srgbClr val="74748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0079280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_Standard slide_no bullet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8643B9-646F-79E1-3DA1-3EA89A90BF6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 name="Rectangle 5">
            <a:extLst>
              <a:ext uri="{FF2B5EF4-FFF2-40B4-BE49-F238E27FC236}">
                <a16:creationId xmlns:a16="http://schemas.microsoft.com/office/drawing/2014/main" id="{052D7209-0328-C2D1-5E61-32FAB18EF5A8}"/>
              </a:ext>
            </a:extLst>
          </p:cNvPr>
          <p:cNvSpPr>
            <a:spLocks/>
          </p:cNvSpPr>
          <p:nvPr userDrawn="1"/>
        </p:nvSpPr>
        <p:spPr>
          <a:xfrm>
            <a:off x="3124198" y="0"/>
            <a:ext cx="9069708" cy="6858000"/>
          </a:xfrm>
          <a:prstGeom prst="rect">
            <a:avLst/>
          </a:prstGeom>
          <a:solidFill>
            <a:srgbClr val="2E2E38">
              <a:alpha val="96000"/>
            </a:srgb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grpSp>
        <p:nvGrpSpPr>
          <p:cNvPr id="7" name="Group 4">
            <a:extLst>
              <a:ext uri="{FF2B5EF4-FFF2-40B4-BE49-F238E27FC236}">
                <a16:creationId xmlns:a16="http://schemas.microsoft.com/office/drawing/2014/main" id="{61F27248-8723-A061-1F09-A6BC142B502F}"/>
              </a:ext>
            </a:extLst>
          </p:cNvPr>
          <p:cNvGrpSpPr>
            <a:grpSpLocks noChangeAspect="1"/>
          </p:cNvGrpSpPr>
          <p:nvPr userDrawn="1"/>
        </p:nvGrpSpPr>
        <p:grpSpPr bwMode="auto">
          <a:xfrm>
            <a:off x="11281250" y="153981"/>
            <a:ext cx="303055" cy="311150"/>
            <a:chOff x="7110" y="4004"/>
            <a:chExt cx="191" cy="196"/>
          </a:xfrm>
        </p:grpSpPr>
        <p:sp>
          <p:nvSpPr>
            <p:cNvPr id="8" name="Freeform 5">
              <a:extLst>
                <a:ext uri="{FF2B5EF4-FFF2-40B4-BE49-F238E27FC236}">
                  <a16:creationId xmlns:a16="http://schemas.microsoft.com/office/drawing/2014/main" id="{AFAD10C3-B6B6-E271-AAFB-FC8007A4665A}"/>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9" name="Freeform 6">
              <a:extLst>
                <a:ext uri="{FF2B5EF4-FFF2-40B4-BE49-F238E27FC236}">
                  <a16:creationId xmlns:a16="http://schemas.microsoft.com/office/drawing/2014/main" id="{FA670CFE-FAD4-4CFE-09D0-22FF337222C0}"/>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0" name="Freeform 7">
              <a:extLst>
                <a:ext uri="{FF2B5EF4-FFF2-40B4-BE49-F238E27FC236}">
                  <a16:creationId xmlns:a16="http://schemas.microsoft.com/office/drawing/2014/main" id="{9A8B8770-0AA6-69D3-F20A-7C3D09A4CD12}"/>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grpSp>
      <p:sp>
        <p:nvSpPr>
          <p:cNvPr id="2" name="Rectangle 1">
            <a:extLst>
              <a:ext uri="{FF2B5EF4-FFF2-40B4-BE49-F238E27FC236}">
                <a16:creationId xmlns:a16="http://schemas.microsoft.com/office/drawing/2014/main" id="{35659462-E6B6-383B-1656-435DECB9E22F}"/>
              </a:ext>
            </a:extLst>
          </p:cNvPr>
          <p:cNvSpPr>
            <a:spLocks/>
          </p:cNvSpPr>
          <p:nvPr userDrawn="1"/>
        </p:nvSpPr>
        <p:spPr>
          <a:xfrm>
            <a:off x="1" y="0"/>
            <a:ext cx="3124198" cy="6857999"/>
          </a:xfrm>
          <a:prstGeom prst="rect">
            <a:avLst/>
          </a:prstGeom>
          <a:gradFill>
            <a:gsLst>
              <a:gs pos="0">
                <a:schemeClr val="tx1">
                  <a:alpha val="79000"/>
                </a:schemeClr>
              </a:gs>
              <a:gs pos="100000">
                <a:schemeClr val="tx1">
                  <a:alpha val="0"/>
                </a:schemeClr>
              </a:gs>
            </a:gsLst>
            <a:lin ang="5400000" scaled="0"/>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sp>
        <p:nvSpPr>
          <p:cNvPr id="15" name="Rectangle 14">
            <a:extLst>
              <a:ext uri="{FF2B5EF4-FFF2-40B4-BE49-F238E27FC236}">
                <a16:creationId xmlns:a16="http://schemas.microsoft.com/office/drawing/2014/main" id="{4089F13E-E50F-AC34-143F-8C66F8364346}"/>
              </a:ext>
            </a:extLst>
          </p:cNvPr>
          <p:cNvSpPr>
            <a:spLocks/>
          </p:cNvSpPr>
          <p:nvPr userDrawn="1"/>
        </p:nvSpPr>
        <p:spPr>
          <a:xfrm rot="10800000">
            <a:off x="-48817" y="506632"/>
            <a:ext cx="3171107" cy="6351366"/>
          </a:xfrm>
          <a:prstGeom prst="rect">
            <a:avLst/>
          </a:prstGeom>
          <a:gradFill>
            <a:gsLst>
              <a:gs pos="0">
                <a:schemeClr val="tx1">
                  <a:alpha val="51000"/>
                </a:schemeClr>
              </a:gs>
              <a:gs pos="100000">
                <a:schemeClr val="tx1">
                  <a:alpha val="0"/>
                </a:schemeClr>
              </a:gs>
            </a:gsLst>
            <a:lin ang="5400000" scaled="0"/>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sp>
        <p:nvSpPr>
          <p:cNvPr id="11" name="Slide Number Placeholder 4">
            <a:extLst>
              <a:ext uri="{FF2B5EF4-FFF2-40B4-BE49-F238E27FC236}">
                <a16:creationId xmlns:a16="http://schemas.microsoft.com/office/drawing/2014/main" id="{7C98785B-0FE0-DE9A-DFA3-90431F55072D}"/>
              </a:ext>
            </a:extLst>
          </p:cNvPr>
          <p:cNvSpPr txBox="1">
            <a:spLocks/>
          </p:cNvSpPr>
          <p:nvPr userDrawn="1"/>
        </p:nvSpPr>
        <p:spPr>
          <a:xfrm>
            <a:off x="181210" y="271070"/>
            <a:ext cx="303055" cy="180000"/>
          </a:xfrm>
          <a:prstGeom prst="rect">
            <a:avLst/>
          </a:prstGeom>
        </p:spPr>
        <p:txBody>
          <a:bodyPr lIns="0" rIns="0" anchor="ctr" anchorCtr="0"/>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fld id="{D5B76411-544C-4F9A-8EDE-9EEB2BD21F95}" type="slidenum">
              <a:rPr lang="en-IN" sz="1000" smtClean="0"/>
              <a:pPr lvl="0" algn="ctr"/>
              <a:t>‹#›</a:t>
            </a:fld>
            <a:endParaRPr sz="1000" dirty="0"/>
          </a:p>
        </p:txBody>
      </p:sp>
      <p:sp>
        <p:nvSpPr>
          <p:cNvPr id="12" name="Slide Number Placeholder 4">
            <a:extLst>
              <a:ext uri="{FF2B5EF4-FFF2-40B4-BE49-F238E27FC236}">
                <a16:creationId xmlns:a16="http://schemas.microsoft.com/office/drawing/2014/main" id="{07DF00E3-9491-22E1-4A7D-C6B77C9259FE}"/>
              </a:ext>
            </a:extLst>
          </p:cNvPr>
          <p:cNvSpPr txBox="1">
            <a:spLocks/>
          </p:cNvSpPr>
          <p:nvPr userDrawn="1"/>
        </p:nvSpPr>
        <p:spPr>
          <a:xfrm>
            <a:off x="607695" y="265106"/>
            <a:ext cx="1205465" cy="180000"/>
          </a:xfrm>
          <a:prstGeom prst="rect">
            <a:avLst/>
          </a:prstGeom>
        </p:spPr>
        <p:txBody>
          <a:bodyPr lIns="0" rIns="0" anchor="ctr" anchorCtr="0"/>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l"/>
            <a:r>
              <a:rPr lang="en-US" sz="800" dirty="0">
                <a:latin typeface="+mn-lt"/>
              </a:rPr>
              <a:t>Severance tax</a:t>
            </a:r>
          </a:p>
        </p:txBody>
      </p:sp>
      <p:sp>
        <p:nvSpPr>
          <p:cNvPr id="13" name="Oval 12">
            <a:extLst>
              <a:ext uri="{FF2B5EF4-FFF2-40B4-BE49-F238E27FC236}">
                <a16:creationId xmlns:a16="http://schemas.microsoft.com/office/drawing/2014/main" id="{48F9197D-9A7D-F47E-A212-07218D62091F}"/>
              </a:ext>
            </a:extLst>
          </p:cNvPr>
          <p:cNvSpPr/>
          <p:nvPr userDrawn="1"/>
        </p:nvSpPr>
        <p:spPr>
          <a:xfrm>
            <a:off x="177400" y="209543"/>
            <a:ext cx="303055" cy="303055"/>
          </a:xfrm>
          <a:prstGeom prst="ellipse">
            <a:avLst/>
          </a:prstGeom>
          <a:noFill/>
          <a:ln w="9525" cap="flat" cmpd="sng" algn="ctr">
            <a:solidFill>
              <a:srgbClr val="C4C4C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cxnSp>
        <p:nvCxnSpPr>
          <p:cNvPr id="22" name="Straight Connector 21">
            <a:extLst>
              <a:ext uri="{FF2B5EF4-FFF2-40B4-BE49-F238E27FC236}">
                <a16:creationId xmlns:a16="http://schemas.microsoft.com/office/drawing/2014/main" id="{DB3ABB7B-3B56-8A2E-B10E-4BA61772DD10}"/>
              </a:ext>
            </a:extLst>
          </p:cNvPr>
          <p:cNvCxnSpPr>
            <a:cxnSpLocks/>
          </p:cNvCxnSpPr>
          <p:nvPr userDrawn="1"/>
        </p:nvCxnSpPr>
        <p:spPr>
          <a:xfrm>
            <a:off x="3125109" y="2840236"/>
            <a:ext cx="0" cy="1411978"/>
          </a:xfrm>
          <a:prstGeom prst="line">
            <a:avLst/>
          </a:prstGeom>
          <a:ln w="6350" cap="flat" cmpd="sng" algn="ctr">
            <a:solidFill>
              <a:srgbClr val="FFE60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8" name="Text Placeholder 4">
            <a:extLst>
              <a:ext uri="{FF2B5EF4-FFF2-40B4-BE49-F238E27FC236}">
                <a16:creationId xmlns:a16="http://schemas.microsoft.com/office/drawing/2014/main" id="{CDB43879-B02E-9245-DF34-A9D19A83CC3C}"/>
              </a:ext>
            </a:extLst>
          </p:cNvPr>
          <p:cNvSpPr>
            <a:spLocks noGrp="1"/>
          </p:cNvSpPr>
          <p:nvPr userDrawn="1">
            <p:ph type="body" sz="quarter" idx="10" hasCustomPrompt="1"/>
          </p:nvPr>
        </p:nvSpPr>
        <p:spPr>
          <a:xfrm rot="16200000">
            <a:off x="80221" y="2945066"/>
            <a:ext cx="4226130" cy="1202318"/>
          </a:xfrm>
        </p:spPr>
        <p:txBody>
          <a:bodyPr vert="horz" lIns="0" tIns="0" rIns="0" bIns="0" rtlCol="0" anchor="ctr" anchorCtr="0">
            <a:noAutofit/>
          </a:bodyPr>
          <a:lstStyle>
            <a:lvl1pPr marL="0" indent="0" algn="ctr">
              <a:buNone/>
              <a:defRPr kumimoji="0" lang="en-IN" sz="3598"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a:t>Chapter Title</a:t>
            </a:r>
            <a:endParaRPr lang="en-IN"/>
          </a:p>
        </p:txBody>
      </p:sp>
      <p:sp>
        <p:nvSpPr>
          <p:cNvPr id="5" name="Oval 4">
            <a:extLst>
              <a:ext uri="{FF2B5EF4-FFF2-40B4-BE49-F238E27FC236}">
                <a16:creationId xmlns:a16="http://schemas.microsoft.com/office/drawing/2014/main" id="{3D96BDE0-B916-7A69-122B-72135B952EB3}"/>
              </a:ext>
            </a:extLst>
          </p:cNvPr>
          <p:cNvSpPr/>
          <p:nvPr userDrawn="1"/>
        </p:nvSpPr>
        <p:spPr>
          <a:xfrm>
            <a:off x="3071568" y="3580195"/>
            <a:ext cx="102360" cy="102360"/>
          </a:xfrm>
          <a:prstGeom prst="ellipse">
            <a:avLst/>
          </a:prstGeom>
          <a:solidFill>
            <a:srgbClr val="2E2E38"/>
          </a:solidFill>
          <a:ln w="9525" cap="flat"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cxnSp>
        <p:nvCxnSpPr>
          <p:cNvPr id="18" name="Straight Connector 17">
            <a:extLst>
              <a:ext uri="{FF2B5EF4-FFF2-40B4-BE49-F238E27FC236}">
                <a16:creationId xmlns:a16="http://schemas.microsoft.com/office/drawing/2014/main" id="{4B91281B-F7AF-202E-B39C-07F9654AC250}"/>
              </a:ext>
            </a:extLst>
          </p:cNvPr>
          <p:cNvCxnSpPr>
            <a:cxnSpLocks/>
          </p:cNvCxnSpPr>
          <p:nvPr userDrawn="1"/>
        </p:nvCxnSpPr>
        <p:spPr>
          <a:xfrm>
            <a:off x="0" y="6741392"/>
            <a:ext cx="12191999" cy="0"/>
          </a:xfrm>
          <a:prstGeom prst="line">
            <a:avLst/>
          </a:prstGeom>
          <a:ln w="6350" cap="flat" cmpd="sng" algn="ctr">
            <a:solidFill>
              <a:schemeClr val="bg1">
                <a:alpha val="3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FF9DF6B3-78E5-96F3-2320-B2E274676175}"/>
              </a:ext>
            </a:extLst>
          </p:cNvPr>
          <p:cNvCxnSpPr>
            <a:cxnSpLocks/>
          </p:cNvCxnSpPr>
          <p:nvPr userDrawn="1"/>
        </p:nvCxnSpPr>
        <p:spPr>
          <a:xfrm>
            <a:off x="5887092" y="6741392"/>
            <a:ext cx="417816" cy="0"/>
          </a:xfrm>
          <a:prstGeom prst="line">
            <a:avLst/>
          </a:prstGeom>
          <a:ln w="15875" cap="flat" cmpd="sng" algn="ctr">
            <a:solidFill>
              <a:srgbClr val="74748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98293B8C-8A2A-AD8F-884D-26F843A711D5}"/>
              </a:ext>
            </a:extLst>
          </p:cNvPr>
          <p:cNvCxnSpPr>
            <a:cxnSpLocks/>
          </p:cNvCxnSpPr>
          <p:nvPr userDrawn="1"/>
        </p:nvCxnSpPr>
        <p:spPr>
          <a:xfrm>
            <a:off x="1346662" y="354895"/>
            <a:ext cx="9685822" cy="0"/>
          </a:xfrm>
          <a:prstGeom prst="line">
            <a:avLst/>
          </a:prstGeom>
          <a:ln w="6350" cap="flat" cmpd="sng" algn="ctr">
            <a:solidFill>
              <a:schemeClr val="bg1">
                <a:alpha val="5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0728601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7856" y="5826613"/>
            <a:ext cx="3876004"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grpSp>
      <p:sp>
        <p:nvSpPr>
          <p:cNvPr id="18" name="Title 1"/>
          <p:cNvSpPr>
            <a:spLocks noGrp="1"/>
          </p:cNvSpPr>
          <p:nvPr userDrawn="1">
            <p:ph type="ctrTitle"/>
          </p:nvPr>
        </p:nvSpPr>
        <p:spPr>
          <a:xfrm>
            <a:off x="944388" y="2158329"/>
            <a:ext cx="4781392" cy="860400"/>
          </a:xfrm>
          <a:prstGeom prst="rect">
            <a:avLst/>
          </a:prstGeom>
        </p:spPr>
        <p:txBody>
          <a:bodyPr/>
          <a:lstStyle>
            <a:lvl1pPr>
              <a:defRPr sz="2999"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9" name="Subtitle 2"/>
          <p:cNvSpPr>
            <a:spLocks noGrp="1"/>
          </p:cNvSpPr>
          <p:nvPr userDrawn="1">
            <p:ph type="subTitle" idx="1"/>
          </p:nvPr>
        </p:nvSpPr>
        <p:spPr>
          <a:xfrm>
            <a:off x="944580" y="3200329"/>
            <a:ext cx="4805525" cy="645742"/>
          </a:xfrm>
          <a:prstGeom prst="rect">
            <a:avLst/>
          </a:prstGeom>
        </p:spPr>
        <p:txBody>
          <a:bodyPr/>
          <a:lstStyle>
            <a:lvl1pPr marL="0" indent="0" algn="l">
              <a:buNone/>
              <a:defRPr sz="1999">
                <a:solidFill>
                  <a:schemeClr val="bg1"/>
                </a:solidFill>
                <a:latin typeface="EYInterstate Light" panose="02000506000000020004" pitchFamily="2" charset="0"/>
                <a:cs typeface="Arial"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112" y="723658"/>
            <a:ext cx="5677988"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sz="1799" dirty="0"/>
          </a:p>
        </p:txBody>
      </p:sp>
      <p:sp>
        <p:nvSpPr>
          <p:cNvPr id="4" name="Freeform: Shape 3">
            <a:extLst>
              <a:ext uri="{FF2B5EF4-FFF2-40B4-BE49-F238E27FC236}">
                <a16:creationId xmlns:a16="http://schemas.microsoft.com/office/drawing/2014/main" id="{15324C54-B75E-4AC0-90C2-FA558C7716F7}"/>
              </a:ext>
            </a:extLst>
          </p:cNvPr>
          <p:cNvSpPr/>
          <p:nvPr/>
        </p:nvSpPr>
        <p:spPr>
          <a:xfrm>
            <a:off x="489112" y="4021756"/>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dirty="0"/>
          </a:p>
        </p:txBody>
      </p:sp>
      <p:sp>
        <p:nvSpPr>
          <p:cNvPr id="5" name="Freeform: Shape 4">
            <a:extLst>
              <a:ext uri="{FF2B5EF4-FFF2-40B4-BE49-F238E27FC236}">
                <a16:creationId xmlns:a16="http://schemas.microsoft.com/office/drawing/2014/main" id="{CAA95478-C099-485F-AD95-A617656C6C7C}"/>
              </a:ext>
            </a:extLst>
          </p:cNvPr>
          <p:cNvSpPr/>
          <p:nvPr/>
        </p:nvSpPr>
        <p:spPr>
          <a:xfrm>
            <a:off x="774294" y="4021756"/>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dirty="0"/>
          </a:p>
        </p:txBody>
      </p:sp>
      <p:sp>
        <p:nvSpPr>
          <p:cNvPr id="6" name="Freeform: Shape 5">
            <a:extLst>
              <a:ext uri="{FF2B5EF4-FFF2-40B4-BE49-F238E27FC236}">
                <a16:creationId xmlns:a16="http://schemas.microsoft.com/office/drawing/2014/main" id="{D65680A1-86D1-44C2-AA38-0DF5735F1F26}"/>
              </a:ext>
            </a:extLst>
          </p:cNvPr>
          <p:cNvSpPr/>
          <p:nvPr/>
        </p:nvSpPr>
        <p:spPr>
          <a:xfrm>
            <a:off x="1059359" y="4021756"/>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dirty="0"/>
          </a:p>
        </p:txBody>
      </p:sp>
      <p:grpSp>
        <p:nvGrpSpPr>
          <p:cNvPr id="104" name="Group 4">
            <a:extLst>
              <a:ext uri="{FF2B5EF4-FFF2-40B4-BE49-F238E27FC236}">
                <a16:creationId xmlns:a16="http://schemas.microsoft.com/office/drawing/2014/main" id="{89402076-F24D-44C5-B8A7-1127F9C4B9B7}"/>
              </a:ext>
            </a:extLst>
          </p:cNvPr>
          <p:cNvGrpSpPr>
            <a:grpSpLocks noChangeAspect="1"/>
          </p:cNvGrpSpPr>
          <p:nvPr userDrawn="1"/>
        </p:nvGrpSpPr>
        <p:grpSpPr bwMode="auto">
          <a:xfrm>
            <a:off x="10359392" y="4960938"/>
            <a:ext cx="1224912" cy="1435100"/>
            <a:chOff x="6529" y="3125"/>
            <a:chExt cx="772" cy="904"/>
          </a:xfrm>
        </p:grpSpPr>
        <p:sp>
          <p:nvSpPr>
            <p:cNvPr id="105" name="Freeform 5">
              <a:extLst>
                <a:ext uri="{FF2B5EF4-FFF2-40B4-BE49-F238E27FC236}">
                  <a16:creationId xmlns:a16="http://schemas.microsoft.com/office/drawing/2014/main" id="{A239DDBF-0740-4B20-9CF3-A05C2A0BF592}"/>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06" name="Freeform 6">
              <a:extLst>
                <a:ext uri="{FF2B5EF4-FFF2-40B4-BE49-F238E27FC236}">
                  <a16:creationId xmlns:a16="http://schemas.microsoft.com/office/drawing/2014/main" id="{380EECCA-3396-425E-AB04-F11ABB1B5092}"/>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grpSp>
    </p:spTree>
    <p:extLst>
      <p:ext uri="{BB962C8B-B14F-4D97-AF65-F5344CB8AC3E}">
        <p14:creationId xmlns:p14="http://schemas.microsoft.com/office/powerpoint/2010/main" val="1372785236"/>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pic>
        <p:nvPicPr>
          <p:cNvPr id="76" name="Picture 75">
            <a:extLst>
              <a:ext uri="{FF2B5EF4-FFF2-40B4-BE49-F238E27FC236}">
                <a16:creationId xmlns:a16="http://schemas.microsoft.com/office/drawing/2014/main" id="{14BCD91D-E17F-4B16-A3F2-EEF2A6E3B44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15540" b="21219"/>
          <a:stretch/>
        </p:blipFill>
        <p:spPr>
          <a:xfrm>
            <a:off x="0" y="-2"/>
            <a:ext cx="12192000" cy="6858001"/>
          </a:xfrm>
          <a:prstGeom prst="rect">
            <a:avLst/>
          </a:prstGeom>
        </p:spPr>
      </p:pic>
      <p:pic>
        <p:nvPicPr>
          <p:cNvPr id="85" name="Graphic 84">
            <a:extLst>
              <a:ext uri="{FF2B5EF4-FFF2-40B4-BE49-F238E27FC236}">
                <a16:creationId xmlns:a16="http://schemas.microsoft.com/office/drawing/2014/main" id="{819BCB30-E1AA-4383-BEF0-0BE30C6425DE}"/>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89111" y="869577"/>
            <a:ext cx="4845500" cy="3933825"/>
          </a:xfrm>
          <a:prstGeom prst="rect">
            <a:avLst/>
          </a:prstGeom>
        </p:spPr>
      </p:pic>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7856" y="5826613"/>
            <a:ext cx="3876004"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388" y="2158329"/>
            <a:ext cx="3998354" cy="860400"/>
          </a:xfrm>
          <a:prstGeom prst="rect">
            <a:avLst/>
          </a:prstGeom>
        </p:spPr>
        <p:txBody>
          <a:bodyPr/>
          <a:lstStyle>
            <a:lvl1pPr>
              <a:defRPr sz="2999"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4580" y="3200329"/>
            <a:ext cx="4018535" cy="645742"/>
          </a:xfrm>
          <a:prstGeom prst="rect">
            <a:avLst/>
          </a:prstGeom>
        </p:spPr>
        <p:txBody>
          <a:bodyPr/>
          <a:lstStyle>
            <a:lvl1pPr marL="0" indent="0" algn="l">
              <a:buNone/>
              <a:defRPr sz="1999">
                <a:solidFill>
                  <a:schemeClr val="bg1"/>
                </a:solidFill>
                <a:latin typeface="EYInterstate Light" panose="02000506000000020004" pitchFamily="2" charset="0"/>
                <a:cs typeface="Arial"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grpSp>
        <p:nvGrpSpPr>
          <p:cNvPr id="82" name="Group 4">
            <a:extLst>
              <a:ext uri="{FF2B5EF4-FFF2-40B4-BE49-F238E27FC236}">
                <a16:creationId xmlns:a16="http://schemas.microsoft.com/office/drawing/2014/main" id="{A63454B3-EB4E-450A-98AA-6B5943D89732}"/>
              </a:ext>
            </a:extLst>
          </p:cNvPr>
          <p:cNvGrpSpPr>
            <a:grpSpLocks noChangeAspect="1"/>
          </p:cNvGrpSpPr>
          <p:nvPr userDrawn="1"/>
        </p:nvGrpSpPr>
        <p:grpSpPr bwMode="auto">
          <a:xfrm>
            <a:off x="10359392" y="4960938"/>
            <a:ext cx="1224912" cy="1435100"/>
            <a:chOff x="6529" y="3125"/>
            <a:chExt cx="772" cy="904"/>
          </a:xfrm>
        </p:grpSpPr>
        <p:sp>
          <p:nvSpPr>
            <p:cNvPr id="83" name="Freeform 5">
              <a:extLst>
                <a:ext uri="{FF2B5EF4-FFF2-40B4-BE49-F238E27FC236}">
                  <a16:creationId xmlns:a16="http://schemas.microsoft.com/office/drawing/2014/main" id="{C4ED221A-C963-42C0-91ED-C597F6BDAF9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84" name="Freeform 6">
              <a:extLst>
                <a:ext uri="{FF2B5EF4-FFF2-40B4-BE49-F238E27FC236}">
                  <a16:creationId xmlns:a16="http://schemas.microsoft.com/office/drawing/2014/main" id="{7956D1CB-5F24-4766-80AE-D7551538344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grpSp>
    </p:spTree>
    <p:extLst>
      <p:ext uri="{BB962C8B-B14F-4D97-AF65-F5344CB8AC3E}">
        <p14:creationId xmlns:p14="http://schemas.microsoft.com/office/powerpoint/2010/main" val="2642111401"/>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4852" y="1"/>
            <a:ext cx="3997149" cy="6156104"/>
          </a:xfrm>
        </p:spPr>
        <p:txBody>
          <a:bodyPr/>
          <a:lstStyle/>
          <a:p>
            <a:endParaRPr lang="en-IN" dirty="0"/>
          </a:p>
        </p:txBody>
      </p:sp>
      <p:sp>
        <p:nvSpPr>
          <p:cNvPr id="2" name="Title 1"/>
          <p:cNvSpPr>
            <a:spLocks noGrp="1"/>
          </p:cNvSpPr>
          <p:nvPr>
            <p:ph type="title"/>
          </p:nvPr>
        </p:nvSpPr>
        <p:spPr>
          <a:xfrm>
            <a:off x="609601" y="294200"/>
            <a:ext cx="7440547" cy="590400"/>
          </a:xfrm>
        </p:spPr>
        <p:txBody>
          <a:bodyPr/>
          <a:lstStyle>
            <a:lvl1pPr>
              <a:defRPr sz="2399">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609601" y="1137921"/>
            <a:ext cx="7295842" cy="873760"/>
          </a:xfrm>
        </p:spPr>
        <p:txBody>
          <a:bodyPr/>
          <a:lstStyle>
            <a:lvl1pPr marL="0" indent="0">
              <a:buNone/>
              <a:defRPr sz="17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601" y="2311401"/>
            <a:ext cx="3578253" cy="3844704"/>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7190" y="2311402"/>
            <a:ext cx="3578253" cy="1254759"/>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7190" y="4236721"/>
            <a:ext cx="3578253" cy="1944160"/>
          </a:xfrm>
        </p:spPr>
        <p:txBody>
          <a:bodyPr numCol="1"/>
          <a:lstStyle>
            <a:lvl1pPr marL="0" indent="0">
              <a:buNone/>
              <a:defRPr sz="1799">
                <a:solidFill>
                  <a:schemeClr val="bg1"/>
                </a:solidFill>
                <a:latin typeface="Georgia" panose="02040502050405020303" pitchFamily="18" charset="0"/>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601" y="907750"/>
            <a:ext cx="771983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Tree>
    <p:extLst>
      <p:ext uri="{BB962C8B-B14F-4D97-AF65-F5344CB8AC3E}">
        <p14:creationId xmlns:p14="http://schemas.microsoft.com/office/powerpoint/2010/main" val="389682388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1"/>
            <a:ext cx="2383219" cy="6857999"/>
          </a:xfrm>
        </p:spPr>
        <p:txBody>
          <a:bodyPr/>
          <a:lstStyle/>
          <a:p>
            <a:endParaRPr lang="en-IN" dirty="0"/>
          </a:p>
        </p:txBody>
      </p:sp>
      <p:sp>
        <p:nvSpPr>
          <p:cNvPr id="2" name="Title 1"/>
          <p:cNvSpPr>
            <a:spLocks noGrp="1"/>
          </p:cNvSpPr>
          <p:nvPr>
            <p:ph type="title"/>
          </p:nvPr>
        </p:nvSpPr>
        <p:spPr>
          <a:xfrm>
            <a:off x="2693891" y="294200"/>
            <a:ext cx="8887371" cy="590400"/>
          </a:xfrm>
        </p:spPr>
        <p:txBody>
          <a:bodyPr/>
          <a:lstStyle>
            <a:lvl1pPr>
              <a:defRPr sz="2399">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2693890" y="1137921"/>
            <a:ext cx="2741454" cy="5018184"/>
          </a:xfrm>
        </p:spPr>
        <p:txBody>
          <a:bodyPr/>
          <a:lstStyle>
            <a:lvl1pPr marL="0" indent="0">
              <a:buNone/>
              <a:defRPr sz="17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4102" y="1137921"/>
            <a:ext cx="2802382" cy="5018184"/>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5241" y="1137922"/>
            <a:ext cx="2767159" cy="2796151"/>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3891" y="907750"/>
            <a:ext cx="8887371"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Tree>
    <p:extLst>
      <p:ext uri="{BB962C8B-B14F-4D97-AF65-F5344CB8AC3E}">
        <p14:creationId xmlns:p14="http://schemas.microsoft.com/office/powerpoint/2010/main" val="131491241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609601" y="1137920"/>
            <a:ext cx="8234455" cy="4834800"/>
          </a:xfrm>
        </p:spPr>
        <p:txBody>
          <a:bodyPr/>
          <a:lstStyle>
            <a:lvl1pPr marL="0" indent="0">
              <a:spcBef>
                <a:spcPts val="0"/>
              </a:spcBef>
              <a:buNone/>
              <a:defRPr>
                <a:solidFill>
                  <a:schemeClr val="bg1"/>
                </a:solidFill>
              </a:defRPr>
            </a:lvl1pPr>
            <a:lvl2pPr marL="0" indent="0">
              <a:spcBef>
                <a:spcPts val="0"/>
              </a:spcBef>
              <a:buNone/>
              <a:defRPr sz="1799">
                <a:solidFill>
                  <a:schemeClr val="bg1"/>
                </a:solidFill>
              </a:defRPr>
            </a:lvl2pPr>
            <a:lvl3pPr marL="0" indent="0">
              <a:spcBef>
                <a:spcPts val="0"/>
              </a:spcBef>
              <a:buNone/>
              <a:defRPr sz="1599">
                <a:solidFill>
                  <a:schemeClr val="bg1"/>
                </a:solidFill>
              </a:defRPr>
            </a:lvl3pPr>
            <a:lvl4pPr marL="0" indent="0">
              <a:spcBef>
                <a:spcPts val="0"/>
              </a:spcBef>
              <a:buNone/>
              <a:defRPr sz="1399">
                <a:solidFill>
                  <a:schemeClr val="bg1"/>
                </a:solidFill>
              </a:defRPr>
            </a:lvl4pPr>
            <a:lvl5pPr marL="0" indent="0">
              <a:spcBef>
                <a:spcPts val="0"/>
              </a:spcBef>
              <a:buNone/>
              <a:defRPr sz="1199">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Tree>
    <p:extLst>
      <p:ext uri="{BB962C8B-B14F-4D97-AF65-F5344CB8AC3E}">
        <p14:creationId xmlns:p14="http://schemas.microsoft.com/office/powerpoint/2010/main" val="157400786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4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609600" y="3029322"/>
            <a:ext cx="4445485" cy="1202318"/>
          </a:xfrm>
        </p:spPr>
        <p:txBody>
          <a:bodyPr vert="horz" lIns="0" tIns="0" rIns="0" bIns="0" rtlCol="0" anchor="ctr" anchorCtr="0">
            <a:noAutofit/>
          </a:bodyPr>
          <a:lstStyle>
            <a:lvl1pPr marL="0" indent="0">
              <a:buNone/>
              <a:defRPr kumimoji="0" lang="en-IN" sz="3598"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a:t>Chapter Title</a:t>
            </a:r>
            <a:endParaRPr lang="en-IN"/>
          </a:p>
        </p:txBody>
      </p:sp>
    </p:spTree>
    <p:extLst>
      <p:ext uri="{BB962C8B-B14F-4D97-AF65-F5344CB8AC3E}">
        <p14:creationId xmlns:p14="http://schemas.microsoft.com/office/powerpoint/2010/main" val="252867048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tandard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1" y="814388"/>
            <a:ext cx="10972800" cy="590400"/>
          </a:xfrm>
        </p:spPr>
        <p:txBody>
          <a:bodyPr/>
          <a:lstStyle>
            <a:lvl1pPr>
              <a:defRPr sz="2399">
                <a:solidFill>
                  <a:schemeClr val="bg1"/>
                </a:solidFill>
              </a:defRPr>
            </a:lvl1pPr>
          </a:lstStyle>
          <a:p>
            <a:r>
              <a:rPr lang="en-US"/>
              <a:t>Standard slide</a:t>
            </a:r>
            <a:endParaRPr lang="en-GB"/>
          </a:p>
        </p:txBody>
      </p:sp>
    </p:spTree>
    <p:extLst>
      <p:ext uri="{BB962C8B-B14F-4D97-AF65-F5344CB8AC3E}">
        <p14:creationId xmlns:p14="http://schemas.microsoft.com/office/powerpoint/2010/main" val="112546210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3938" y="0"/>
            <a:ext cx="5968062" cy="6858000"/>
          </a:xfrm>
        </p:spPr>
        <p:txBody>
          <a:bodyPr/>
          <a:lstStyle/>
          <a:p>
            <a:endParaRPr lang="en-IN" dirty="0"/>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513" y="2578743"/>
            <a:ext cx="4535597" cy="1055708"/>
          </a:xfrm>
        </p:spPr>
        <p:txBody>
          <a:bodyPr/>
          <a:lstStyle>
            <a:lvl1pPr marL="0" indent="0">
              <a:buNone/>
              <a:defRPr sz="2999"/>
            </a:lvl1pPr>
          </a:lstStyle>
          <a:p>
            <a:pPr lvl="0"/>
            <a:r>
              <a:rPr lang="en-IN"/>
              <a:t>Chapter Title</a:t>
            </a:r>
          </a:p>
          <a:p>
            <a:pPr lvl="0"/>
            <a:r>
              <a:rPr lang="en-IN"/>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513" y="3840384"/>
            <a:ext cx="4535597" cy="1055708"/>
          </a:xfrm>
        </p:spPr>
        <p:txBody>
          <a:bodyPr/>
          <a:lstStyle>
            <a:lvl1pPr marL="0" indent="0">
              <a:buNone/>
              <a:defRPr sz="1599"/>
            </a:lvl1pPr>
          </a:lstStyle>
          <a:p>
            <a:pPr lvl="0"/>
            <a:r>
              <a:rPr lang="en-IN"/>
              <a:t>text</a:t>
            </a:r>
          </a:p>
        </p:txBody>
      </p:sp>
    </p:spTree>
    <p:extLst>
      <p:ext uri="{BB962C8B-B14F-4D97-AF65-F5344CB8AC3E}">
        <p14:creationId xmlns:p14="http://schemas.microsoft.com/office/powerpoint/2010/main" val="263336247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a:solidFill>
                  <a:schemeClr val="bg1"/>
                </a:solidFill>
              </a:defRPr>
            </a:lvl1pPr>
          </a:lstStyle>
          <a:p>
            <a:r>
              <a:rPr lang="en-US"/>
              <a:t>Click to edit Master title style</a:t>
            </a:r>
            <a:endParaRPr lang="en-GB"/>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600" y="1137921"/>
            <a:ext cx="4954924" cy="4267457"/>
          </a:xfrm>
        </p:spPr>
        <p:txBody>
          <a:bodyPr/>
          <a:lstStyle/>
          <a:p>
            <a:endParaRPr lang="en-IN" dirty="0"/>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29748" y="3813288"/>
            <a:ext cx="3087667" cy="180000"/>
          </a:xfrm>
        </p:spPr>
        <p:txBody>
          <a:bodyPr/>
          <a:lstStyle>
            <a:lvl1pPr marL="0" indent="0">
              <a:buNone/>
              <a:defRPr sz="1199">
                <a:solidFill>
                  <a:schemeClr val="bg1"/>
                </a:solidFill>
              </a:defRPr>
            </a:lvl1pPr>
          </a:lstStyle>
          <a:p>
            <a:pPr lvl="0"/>
            <a:r>
              <a:rPr lang="en-US"/>
              <a:t>Name Surname</a:t>
            </a:r>
            <a:endParaRPr lang="en-GB"/>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29748" y="4055931"/>
            <a:ext cx="3087667" cy="180000"/>
          </a:xfrm>
        </p:spPr>
        <p:txBody>
          <a:bodyPr/>
          <a:lstStyle>
            <a:lvl1pPr marL="0" indent="0">
              <a:buNone/>
              <a:defRPr sz="1199">
                <a:solidFill>
                  <a:schemeClr val="bg1"/>
                </a:solidFill>
              </a:defRPr>
            </a:lvl1pPr>
          </a:lstStyle>
          <a:p>
            <a:pPr lvl="0"/>
            <a:r>
              <a:rPr lang="en-US"/>
              <a:t>Job Title to go here</a:t>
            </a:r>
            <a:endParaRPr lang="en-GB"/>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19820" y="3578084"/>
            <a:ext cx="778554" cy="778959"/>
          </a:xfrm>
          <a:prstGeom prst="ellipse">
            <a:avLst/>
          </a:prstGeom>
        </p:spPr>
        <p:txBody>
          <a:bodyPr anchor="ctr"/>
          <a:lstStyle>
            <a:lvl1pPr marL="0" indent="0" algn="ctr">
              <a:buNone/>
              <a:defRPr sz="900">
                <a:solidFill>
                  <a:schemeClr val="bg1"/>
                </a:solidFill>
              </a:defRPr>
            </a:lvl1pPr>
          </a:lstStyle>
          <a:p>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19821" y="1137921"/>
            <a:ext cx="5462580" cy="373807"/>
          </a:xfrm>
        </p:spPr>
        <p:txBody>
          <a:bodyPr/>
          <a:lstStyle>
            <a:lvl1pPr marL="0" indent="0">
              <a:buNone/>
              <a:defRPr/>
            </a:lvl1pPr>
          </a:lstStyle>
          <a:p>
            <a:pPr lvl="0"/>
            <a:r>
              <a:rPr lang="en-US"/>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19821" y="1635009"/>
            <a:ext cx="5462580" cy="1611554"/>
          </a:xfrm>
        </p:spPr>
        <p:txBody>
          <a:bodyPr/>
          <a:lstStyle>
            <a:lvl1pPr marL="0" indent="0">
              <a:buNone/>
              <a:defRPr sz="1599"/>
            </a:lvl1pPr>
          </a:lstStyle>
          <a:p>
            <a:pPr lvl="0"/>
            <a:r>
              <a:rPr lang="en-US"/>
              <a:t>Content EY Interstate Light, 16pt, Lorem ipsum dolor, 12pt, </a:t>
            </a:r>
            <a:r>
              <a:rPr lang="en-US" err="1"/>
              <a:t>Utinam</a:t>
            </a:r>
            <a:r>
              <a:rPr lang="en-US"/>
              <a:t> </a:t>
            </a:r>
            <a:r>
              <a:rPr lang="en-US" err="1"/>
              <a:t>nonumy</a:t>
            </a:r>
            <a:r>
              <a:rPr lang="en-US"/>
              <a:t> </a:t>
            </a:r>
            <a:r>
              <a:rPr lang="en-US" err="1"/>
              <a:t>abhorreant</a:t>
            </a:r>
            <a:r>
              <a:rPr lang="en-US"/>
              <a:t> </a:t>
            </a:r>
            <a:r>
              <a:rPr lang="en-US" err="1"/>
              <a:t>sead</a:t>
            </a:r>
            <a:r>
              <a:rPr lang="en-US"/>
              <a:t>. </a:t>
            </a:r>
            <a:r>
              <a:rPr lang="en-US" err="1"/>
              <a:t>Putant</a:t>
            </a:r>
            <a:r>
              <a:rPr lang="en-US"/>
              <a:t> </a:t>
            </a:r>
            <a:r>
              <a:rPr lang="en-US" err="1"/>
              <a:t>probatus</a:t>
            </a:r>
            <a:r>
              <a:rPr lang="en-US"/>
              <a:t> id vis, ad his </a:t>
            </a:r>
            <a:r>
              <a:rPr lang="en-US" err="1"/>
              <a:t>meis</a:t>
            </a:r>
            <a:r>
              <a:rPr lang="en-US"/>
              <a:t> </a:t>
            </a:r>
            <a:r>
              <a:rPr lang="en-US" err="1"/>
              <a:t>habemus</a:t>
            </a:r>
            <a:r>
              <a:rPr lang="en-US"/>
              <a:t> </a:t>
            </a:r>
            <a:r>
              <a:rPr lang="en-US" err="1"/>
              <a:t>repudiare</a:t>
            </a:r>
            <a:r>
              <a:rPr lang="en-US"/>
              <a:t>, has an </a:t>
            </a:r>
            <a:r>
              <a:rPr lang="en-US" err="1"/>
              <a:t>pericula</a:t>
            </a:r>
            <a:r>
              <a:rPr lang="en-US"/>
              <a:t> </a:t>
            </a:r>
            <a:r>
              <a:rPr lang="en-US" err="1"/>
              <a:t>tractatos</a:t>
            </a:r>
            <a:r>
              <a:rPr lang="en-US"/>
              <a:t>. </a:t>
            </a:r>
            <a:r>
              <a:rPr lang="en-US" err="1"/>
              <a:t>Nec</a:t>
            </a:r>
            <a:r>
              <a:rPr lang="en-US"/>
              <a:t> </a:t>
            </a:r>
            <a:r>
              <a:rPr lang="en-US" err="1"/>
              <a:t>debitis</a:t>
            </a:r>
            <a:r>
              <a:rPr lang="en-US"/>
              <a:t> </a:t>
            </a:r>
            <a:r>
              <a:rPr lang="en-US" err="1"/>
              <a:t>dissentias</a:t>
            </a:r>
            <a:r>
              <a:rPr lang="en-US"/>
              <a:t> ad. </a:t>
            </a:r>
            <a:r>
              <a:rPr lang="en-US" err="1"/>
              <a:t>Patrioque</a:t>
            </a:r>
            <a:r>
              <a:rPr lang="en-US"/>
              <a:t> </a:t>
            </a:r>
            <a:r>
              <a:rPr lang="en-US" err="1"/>
              <a:t>voluptatum</a:t>
            </a:r>
            <a:r>
              <a:rPr lang="en-US"/>
              <a:t> </a:t>
            </a:r>
            <a:r>
              <a:rPr lang="en-US" err="1"/>
              <a:t>sed</a:t>
            </a:r>
            <a:r>
              <a:rPr lang="en-US"/>
              <a:t> ex, id </a:t>
            </a:r>
            <a:r>
              <a:rPr lang="en-US" err="1"/>
              <a:t>admodum</a:t>
            </a:r>
            <a:r>
              <a:rPr lang="en-US"/>
              <a:t>.</a:t>
            </a:r>
          </a:p>
          <a:p>
            <a:pPr lvl="0"/>
            <a:endParaRPr lang="en-US"/>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Tree>
    <p:extLst>
      <p:ext uri="{BB962C8B-B14F-4D97-AF65-F5344CB8AC3E}">
        <p14:creationId xmlns:p14="http://schemas.microsoft.com/office/powerpoint/2010/main" val="9336499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463063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1378" y="2060235"/>
            <a:ext cx="5289245" cy="3025522"/>
          </a:xfrm>
        </p:spPr>
        <p:txBody>
          <a:bodyPr lIns="0" tIns="0" rIns="0" bIns="0">
            <a:noAutofit/>
          </a:bodyPr>
          <a:lstStyle>
            <a:lvl1pPr marL="0" indent="0" algn="ctr">
              <a:buNone/>
              <a:defRPr lang="en-US" sz="2799" dirty="0" smtClean="0">
                <a:latin typeface="Georgia" panose="02040502050405020303" pitchFamily="18" charset="0"/>
              </a:defRPr>
            </a:lvl1pPr>
          </a:lstStyle>
          <a:p>
            <a:pPr marL="356438" lvl="0" indent="-356438" algn="ctr">
              <a:spcBef>
                <a:spcPts val="0"/>
              </a:spcBef>
            </a:pPr>
            <a:r>
              <a:rPr lang="en-US"/>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1378" y="5506678"/>
            <a:ext cx="5289245" cy="316838"/>
          </a:xfrm>
        </p:spPr>
        <p:txBody>
          <a:bodyPr lIns="0" tIns="0" rIns="0" bIns="0">
            <a:noAutofit/>
          </a:bodyPr>
          <a:lstStyle>
            <a:lvl1pPr marL="0" indent="0" algn="ctr">
              <a:buNone/>
              <a:defRPr lang="en-US" sz="1599" dirty="0" smtClean="0">
                <a:solidFill>
                  <a:srgbClr val="FFE600"/>
                </a:solidFill>
                <a:latin typeface="+mn-lt"/>
              </a:defRPr>
            </a:lvl1pPr>
          </a:lstStyle>
          <a:p>
            <a:pPr marL="356438" lvl="0" indent="-356438" algn="ctr">
              <a:spcBef>
                <a:spcPts val="0"/>
              </a:spcBef>
              <a:spcAft>
                <a:spcPts val="600"/>
              </a:spcAft>
            </a:pPr>
            <a:r>
              <a:rPr lang="en-US"/>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1378" y="5818717"/>
            <a:ext cx="5289245" cy="316838"/>
          </a:xfrm>
        </p:spPr>
        <p:txBody>
          <a:bodyPr vert="horz" lIns="0" tIns="0" rIns="0" bIns="0" rtlCol="0" anchor="t" anchorCtr="0">
            <a:noAutofit/>
          </a:bodyPr>
          <a:lstStyle>
            <a:lvl1pPr marL="0" indent="0" algn="ctr">
              <a:buNone/>
              <a:defRPr lang="en-US" sz="1599" dirty="0" smtClean="0">
                <a:latin typeface="+mn-lt"/>
              </a:defRPr>
            </a:lvl1pPr>
          </a:lstStyle>
          <a:p>
            <a:pPr marL="356438" lvl="0" indent="-356438" algn="ctr">
              <a:spcBef>
                <a:spcPts val="0"/>
              </a:spcBef>
              <a:spcAft>
                <a:spcPts val="600"/>
              </a:spcAft>
            </a:pPr>
            <a:r>
              <a:rPr lang="en-US"/>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7415" y="979788"/>
            <a:ext cx="2337171"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194"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192221522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102" y="1488927"/>
            <a:ext cx="2337171"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194"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083" y="2526765"/>
            <a:ext cx="5289245" cy="1800000"/>
          </a:xfrm>
        </p:spPr>
        <p:txBody>
          <a:bodyPr lIns="90000" tIns="46800" rIns="90000" bIns="46800"/>
          <a:lstStyle>
            <a:lvl1pPr marL="0" indent="0">
              <a:buNone/>
              <a:defRPr lang="en-US" sz="2799" dirty="0" smtClean="0">
                <a:latin typeface="Georgia" panose="02040502050405020303" pitchFamily="18" charset="0"/>
              </a:defRPr>
            </a:lvl1pPr>
          </a:lstStyle>
          <a:p>
            <a:pPr marL="356438" lvl="0" indent="-356438">
              <a:spcBef>
                <a:spcPts val="0"/>
              </a:spcBef>
            </a:pPr>
            <a:r>
              <a:rPr lang="en-US"/>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083" y="4632765"/>
            <a:ext cx="5289245" cy="316838"/>
          </a:xfrm>
        </p:spPr>
        <p:txBody>
          <a:bodyPr lIns="90000" tIns="46800" rIns="90000" bIns="46800"/>
          <a:lstStyle>
            <a:lvl1pPr marL="0" indent="0" algn="l" defTabSz="913943" rtl="0" eaLnBrk="1" latinLnBrk="0" hangingPunct="1">
              <a:spcBef>
                <a:spcPts val="0"/>
              </a:spcBef>
              <a:spcAft>
                <a:spcPts val="600"/>
              </a:spcAft>
              <a:buClr>
                <a:schemeClr val="tx2"/>
              </a:buClr>
              <a:buSzPct val="70000"/>
              <a:buFont typeface="Arial" pitchFamily="34" charset="0"/>
              <a:buNone/>
              <a:defRPr lang="en-US" sz="1599" kern="1200" dirty="0" smtClean="0">
                <a:solidFill>
                  <a:schemeClr val="tx2"/>
                </a:solidFill>
                <a:latin typeface="+mn-lt"/>
                <a:ea typeface="+mn-ea"/>
                <a:cs typeface="+mn-cs"/>
              </a:defRPr>
            </a:lvl1pPr>
            <a:lvl2pPr marL="356438"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083" y="4971442"/>
            <a:ext cx="5289245" cy="316838"/>
          </a:xfrm>
        </p:spPr>
        <p:txBody>
          <a:bodyPr lIns="90000" tIns="46800" rIns="90000" bIns="46800"/>
          <a:lstStyle>
            <a:lvl1pPr marL="0" indent="0" algn="l" defTabSz="913943" rtl="0" eaLnBrk="1" latinLnBrk="0" hangingPunct="1">
              <a:spcBef>
                <a:spcPts val="0"/>
              </a:spcBef>
              <a:spcAft>
                <a:spcPts val="600"/>
              </a:spcAft>
              <a:buClr>
                <a:schemeClr val="tx2"/>
              </a:buClr>
              <a:buSzPct val="70000"/>
              <a:buFont typeface="Arial" pitchFamily="34" charset="0"/>
              <a:buNone/>
              <a:defRPr lang="en-US" sz="1599" kern="1200" dirty="0" smtClean="0">
                <a:solidFill>
                  <a:schemeClr val="bg1"/>
                </a:solidFill>
                <a:latin typeface="+mn-lt"/>
                <a:ea typeface="+mn-ea"/>
                <a:cs typeface="+mn-cs"/>
              </a:defRPr>
            </a:lvl1pPr>
            <a:lvl2pPr marL="356438"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a:t>Job Title</a:t>
            </a:r>
          </a:p>
        </p:txBody>
      </p:sp>
    </p:spTree>
    <p:extLst>
      <p:ext uri="{BB962C8B-B14F-4D97-AF65-F5344CB8AC3E}">
        <p14:creationId xmlns:p14="http://schemas.microsoft.com/office/powerpoint/2010/main" val="301008453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609601" y="1137920"/>
            <a:ext cx="8234455" cy="4834800"/>
          </a:xfrm>
        </p:spPr>
        <p:txBody>
          <a:bodyPr/>
          <a:lstStyle>
            <a:lvl1pPr marL="0" indent="0">
              <a:buNone/>
              <a:defRPr>
                <a:solidFill>
                  <a:schemeClr val="bg1"/>
                </a:solidFill>
              </a:defRPr>
            </a:lvl1pPr>
            <a:lvl2pPr marL="356438">
              <a:defRPr>
                <a:solidFill>
                  <a:schemeClr val="bg1"/>
                </a:solidFill>
              </a:defRPr>
            </a:lvl2pPr>
            <a:lvl3pPr marL="712875">
              <a:defRPr>
                <a:solidFill>
                  <a:schemeClr val="bg1"/>
                </a:solidFill>
              </a:defRPr>
            </a:lvl3pPr>
            <a:lvl4pPr marL="1069313">
              <a:defRPr>
                <a:solidFill>
                  <a:schemeClr val="bg1"/>
                </a:solidFill>
              </a:defRPr>
            </a:lvl4pPr>
            <a:lvl5pPr marL="1425751">
              <a:defRPr sz="1199">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Line 10">
            <a:extLst>
              <a:ext uri="{FF2B5EF4-FFF2-40B4-BE49-F238E27FC236}">
                <a16:creationId xmlns:a16="http://schemas.microsoft.com/office/drawing/2014/main" id="{8D4CA674-C969-4C5C-9EA4-6D41FE961DE2}"/>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Tree>
    <p:extLst>
      <p:ext uri="{BB962C8B-B14F-4D97-AF65-F5344CB8AC3E}">
        <p14:creationId xmlns:p14="http://schemas.microsoft.com/office/powerpoint/2010/main" val="428522894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880"/>
          </a:xfrm>
        </p:spPr>
        <p:txBody>
          <a:bodyPr/>
          <a:lstStyle>
            <a:lvl1pPr>
              <a:defRPr>
                <a:solidFill>
                  <a:schemeClr val="bg1"/>
                </a:solidFill>
              </a:defRPr>
            </a:lvl1pPr>
          </a:lstStyle>
          <a:p>
            <a:r>
              <a:rPr lang="en-US"/>
              <a:t>Click to edit Master title style</a:t>
            </a:r>
            <a:endParaRPr lang="en-GB"/>
          </a:p>
        </p:txBody>
      </p:sp>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Tree>
    <p:extLst>
      <p:ext uri="{BB962C8B-B14F-4D97-AF65-F5344CB8AC3E}">
        <p14:creationId xmlns:p14="http://schemas.microsoft.com/office/powerpoint/2010/main" val="129821053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88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sz="half" idx="1"/>
          </p:nvPr>
        </p:nvSpPr>
        <p:spPr>
          <a:xfrm>
            <a:off x="609601" y="1137919"/>
            <a:ext cx="5384800" cy="4834800"/>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7601" y="1137919"/>
            <a:ext cx="5384800" cy="4834800"/>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Tree>
    <p:extLst>
      <p:ext uri="{BB962C8B-B14F-4D97-AF65-F5344CB8AC3E}">
        <p14:creationId xmlns:p14="http://schemas.microsoft.com/office/powerpoint/2010/main" val="281064498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329" y="1869441"/>
            <a:ext cx="5390400" cy="4256075"/>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6405" y="1869441"/>
            <a:ext cx="5390400" cy="4256075"/>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p:cNvSpPr>
            <a:spLocks noGrp="1"/>
          </p:cNvSpPr>
          <p:nvPr>
            <p:ph type="body" sz="quarter" idx="12"/>
          </p:nvPr>
        </p:nvSpPr>
        <p:spPr>
          <a:xfrm>
            <a:off x="609601" y="1137920"/>
            <a:ext cx="5390400" cy="640800"/>
          </a:xfrm>
        </p:spPr>
        <p:txBody>
          <a:bodyPr anchor="t" anchorCtr="0"/>
          <a:lstStyle>
            <a:lvl1pPr>
              <a:buNone/>
              <a:defRPr b="1">
                <a:solidFill>
                  <a:schemeClr val="bg1"/>
                </a:solidFill>
              </a:defRPr>
            </a:lvl1pPr>
          </a:lstStyle>
          <a:p>
            <a:pPr lvl="0"/>
            <a:endParaRPr lang="en-GB"/>
          </a:p>
        </p:txBody>
      </p:sp>
      <p:sp>
        <p:nvSpPr>
          <p:cNvPr id="11" name="Text Placeholder 9"/>
          <p:cNvSpPr>
            <a:spLocks noGrp="1"/>
          </p:cNvSpPr>
          <p:nvPr>
            <p:ph type="body" sz="quarter" idx="13"/>
          </p:nvPr>
        </p:nvSpPr>
        <p:spPr>
          <a:xfrm>
            <a:off x="6196405" y="1137920"/>
            <a:ext cx="5390400" cy="640800"/>
          </a:xfrm>
        </p:spPr>
        <p:txBody>
          <a:bodyPr anchor="t" anchorCtr="0"/>
          <a:lstStyle>
            <a:lvl1pPr>
              <a:buNone/>
              <a:defRPr b="1">
                <a:solidFill>
                  <a:schemeClr val="bg1"/>
                </a:solidFill>
              </a:defRPr>
            </a:lvl1pPr>
          </a:lstStyle>
          <a:p>
            <a:pPr lvl="0"/>
            <a:endParaRPr lang="en-GB"/>
          </a:p>
        </p:txBody>
      </p:sp>
      <p:sp>
        <p:nvSpPr>
          <p:cNvPr id="2" name="Title 1"/>
          <p:cNvSpPr>
            <a:spLocks noGrp="1"/>
          </p:cNvSpPr>
          <p:nvPr>
            <p:ph type="title"/>
          </p:nvPr>
        </p:nvSpPr>
        <p:spPr>
          <a:xfrm>
            <a:off x="609601" y="294200"/>
            <a:ext cx="10972800" cy="590880"/>
          </a:xfrm>
        </p:spPr>
        <p:txBody>
          <a:bodyPr/>
          <a:lstStyle>
            <a:lvl1pPr>
              <a:defRPr>
                <a:solidFill>
                  <a:schemeClr val="bg1"/>
                </a:solidFill>
              </a:defRPr>
            </a:lvl1pPr>
          </a:lstStyle>
          <a:p>
            <a:r>
              <a:rPr lang="en-US"/>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Tree>
    <p:extLst>
      <p:ext uri="{BB962C8B-B14F-4D97-AF65-F5344CB8AC3E}">
        <p14:creationId xmlns:p14="http://schemas.microsoft.com/office/powerpoint/2010/main" val="368429072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110030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601" y="814388"/>
            <a:ext cx="10972800" cy="590400"/>
          </a:xfrm>
        </p:spPr>
        <p:txBody>
          <a:bodyPr/>
          <a:lstStyle>
            <a:lvl1pPr>
              <a:defRPr sz="2399">
                <a:solidFill>
                  <a:schemeClr val="bg1"/>
                </a:solidFill>
              </a:defRPr>
            </a:lvl1pPr>
          </a:lstStyle>
          <a:p>
            <a:r>
              <a:rPr lang="en-US"/>
              <a:t>Click to edit Master title style</a:t>
            </a:r>
            <a:endParaRPr lang="en-GB"/>
          </a:p>
        </p:txBody>
      </p:sp>
      <p:sp>
        <p:nvSpPr>
          <p:cNvPr id="5" name="Text Placeholder 4">
            <a:extLst>
              <a:ext uri="{FF2B5EF4-FFF2-40B4-BE49-F238E27FC236}">
                <a16:creationId xmlns:a16="http://schemas.microsoft.com/office/drawing/2014/main" id="{F079E910-7CFE-41D0-BD32-A43268A79099}"/>
              </a:ext>
            </a:extLst>
          </p:cNvPr>
          <p:cNvSpPr>
            <a:spLocks noGrp="1"/>
          </p:cNvSpPr>
          <p:nvPr>
            <p:ph type="body" sz="quarter" idx="10" hasCustomPrompt="1"/>
          </p:nvPr>
        </p:nvSpPr>
        <p:spPr>
          <a:xfrm>
            <a:off x="609283" y="1662113"/>
            <a:ext cx="10975022" cy="4756150"/>
          </a:xfrm>
        </p:spPr>
        <p:txBody>
          <a:bodyPr/>
          <a:lstStyle>
            <a:lvl1pPr>
              <a:defRPr/>
            </a:lvl1pPr>
          </a:lstStyle>
          <a:p>
            <a:pPr lvl="0"/>
            <a:r>
              <a:rPr lang="en-IN"/>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extLst>
      <p:ext uri="{BB962C8B-B14F-4D97-AF65-F5344CB8AC3E}">
        <p14:creationId xmlns:p14="http://schemas.microsoft.com/office/powerpoint/2010/main" val="393077073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Focused data">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462093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5917667"/>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5881799"/>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186312108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2000" cy="6858000"/>
          </a:xfrm>
        </p:spPr>
        <p:txBody>
          <a:bodyPr anchor="ctr"/>
          <a:lstStyle>
            <a:lvl1pPr marL="0" indent="0" algn="ctr">
              <a:buNone/>
              <a:defRPr/>
            </a:lvl1pPr>
          </a:lstStyle>
          <a:p>
            <a:r>
              <a:rPr lang="en-IN" dirty="0"/>
              <a:t>Video</a:t>
            </a:r>
          </a:p>
        </p:txBody>
      </p:sp>
    </p:spTree>
    <p:extLst>
      <p:ext uri="{BB962C8B-B14F-4D97-AF65-F5344CB8AC3E}">
        <p14:creationId xmlns:p14="http://schemas.microsoft.com/office/powerpoint/2010/main" val="17787153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2_Final legal text">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E83BDE2E-2BCF-4140-945E-7D5610CDE4C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5206" cy="6858000"/>
          </a:xfrm>
          <a:prstGeom prst="rect">
            <a:avLst/>
          </a:prstGeom>
        </p:spPr>
      </p:pic>
      <p:sp>
        <p:nvSpPr>
          <p:cNvPr id="8" name="Content Placeholder 2"/>
          <p:cNvSpPr>
            <a:spLocks noGrp="1"/>
          </p:cNvSpPr>
          <p:nvPr>
            <p:ph idx="1"/>
          </p:nvPr>
        </p:nvSpPr>
        <p:spPr>
          <a:xfrm>
            <a:off x="607483" y="719139"/>
            <a:ext cx="4675200"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25" indent="-176125" algn="l" defTabSz="994865"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19" indent="-188819" algn="l" defTabSz="994865"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67358748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C129049-E3D5-4C0A-BB1F-72BEDB1FB59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88827" cy="6858000"/>
          </a:xfrm>
          <a:prstGeom prst="rect">
            <a:avLst/>
          </a:prstGeom>
        </p:spPr>
      </p:pic>
      <p:sp>
        <p:nvSpPr>
          <p:cNvPr id="8" name="Content Placeholder 2"/>
          <p:cNvSpPr>
            <a:spLocks noGrp="1"/>
          </p:cNvSpPr>
          <p:nvPr>
            <p:ph idx="1"/>
          </p:nvPr>
        </p:nvSpPr>
        <p:spPr>
          <a:xfrm>
            <a:off x="607483" y="719139"/>
            <a:ext cx="4675200"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25" indent="-176125" algn="l" defTabSz="994865"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19" indent="-188819" algn="l" defTabSz="994865"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35258558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1_Final legal text">
    <p:spTree>
      <p:nvGrpSpPr>
        <p:cNvPr id="1" name=""/>
        <p:cNvGrpSpPr/>
        <p:nvPr/>
      </p:nvGrpSpPr>
      <p:grpSpPr>
        <a:xfrm>
          <a:off x="0" y="0"/>
          <a:ext cx="0" cy="0"/>
          <a:chOff x="0" y="0"/>
          <a:chExt cx="0" cy="0"/>
        </a:xfrm>
      </p:grpSpPr>
      <p:pic>
        <p:nvPicPr>
          <p:cNvPr id="5" name="Content Placeholder 3">
            <a:extLst>
              <a:ext uri="{FF2B5EF4-FFF2-40B4-BE49-F238E27FC236}">
                <a16:creationId xmlns:a16="http://schemas.microsoft.com/office/drawing/2014/main" id="{501A2F11-32A0-4526-A5F7-F4382DA5B4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5203" cy="6858000"/>
          </a:xfrm>
          <a:prstGeom prst="rect">
            <a:avLst/>
          </a:prstGeom>
        </p:spPr>
      </p:pic>
      <p:sp>
        <p:nvSpPr>
          <p:cNvPr id="8" name="Content Placeholder 2"/>
          <p:cNvSpPr>
            <a:spLocks noGrp="1"/>
          </p:cNvSpPr>
          <p:nvPr>
            <p:ph idx="1"/>
          </p:nvPr>
        </p:nvSpPr>
        <p:spPr>
          <a:xfrm>
            <a:off x="607483" y="719139"/>
            <a:ext cx="4675200"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25" indent="-176125" algn="l" defTabSz="994865"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19" indent="-188819" algn="l" defTabSz="994865"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21123419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94015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2_Cover alternat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F4B0007-DA02-48C7-9137-9386DFC24A9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6" name="Freeform 56">
            <a:extLst>
              <a:ext uri="{FF2B5EF4-FFF2-40B4-BE49-F238E27FC236}">
                <a16:creationId xmlns:a16="http://schemas.microsoft.com/office/drawing/2014/main" id="{13A7AC18-CF42-4EC5-8D40-441EAE30A06C}"/>
              </a:ext>
            </a:extLst>
          </p:cNvPr>
          <p:cNvSpPr/>
          <p:nvPr userDrawn="1"/>
        </p:nvSpPr>
        <p:spPr>
          <a:xfrm>
            <a:off x="497857" y="795662"/>
            <a:ext cx="4927845"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dirty="0"/>
          </a:p>
        </p:txBody>
      </p:sp>
      <p:sp>
        <p:nvSpPr>
          <p:cNvPr id="11" name="Title 1"/>
          <p:cNvSpPr>
            <a:spLocks noGrp="1"/>
          </p:cNvSpPr>
          <p:nvPr>
            <p:ph type="ctrTitle"/>
          </p:nvPr>
        </p:nvSpPr>
        <p:spPr>
          <a:xfrm>
            <a:off x="775100" y="1954221"/>
            <a:ext cx="4326679" cy="979702"/>
          </a:xfrm>
        </p:spPr>
        <p:txBody>
          <a:bodyPr/>
          <a:lstStyle>
            <a:lvl1pPr>
              <a:defRPr sz="2998" b="0">
                <a:solidFill>
                  <a:schemeClr val="tx1"/>
                </a:solidFill>
                <a:latin typeface="EYInterstate Light" panose="02000506000000020004" pitchFamily="2" charset="0"/>
                <a:cs typeface="Arial" pitchFamily="34" charset="0"/>
              </a:defRPr>
            </a:lvl1pPr>
          </a:lstStyle>
          <a:p>
            <a:r>
              <a:rPr lang="en-US"/>
              <a:t>Click to edit Master title style</a:t>
            </a:r>
          </a:p>
        </p:txBody>
      </p:sp>
      <p:sp>
        <p:nvSpPr>
          <p:cNvPr id="12" name="Subtitle 2"/>
          <p:cNvSpPr>
            <a:spLocks noGrp="1"/>
          </p:cNvSpPr>
          <p:nvPr>
            <p:ph type="subTitle" idx="1"/>
          </p:nvPr>
        </p:nvSpPr>
        <p:spPr>
          <a:xfrm>
            <a:off x="775100" y="3046161"/>
            <a:ext cx="4326679" cy="1046323"/>
          </a:xfrm>
        </p:spPr>
        <p:txBody>
          <a:bodyPr/>
          <a:lstStyle>
            <a:lvl1pPr marL="0" indent="0" algn="l">
              <a:spcAft>
                <a:spcPts val="1198"/>
              </a:spcAft>
              <a:buNone/>
              <a:defRPr sz="1998">
                <a:solidFill>
                  <a:schemeClr val="tx1"/>
                </a:solidFill>
                <a:latin typeface="EYInterstate Regular" panose="02000503020000020004" pitchFamily="2" charset="0"/>
                <a:cs typeface="Arial" pitchFamily="34" charset="0"/>
              </a:defRPr>
            </a:lvl1pPr>
            <a:lvl2pPr marL="0" indent="0" algn="l">
              <a:buNone/>
              <a:defRPr sz="1598" b="1">
                <a:solidFill>
                  <a:srgbClr val="404040"/>
                </a:solidFill>
              </a:defRPr>
            </a:lvl2pPr>
            <a:lvl3pPr marL="913486" indent="0" algn="ctr">
              <a:buNone/>
              <a:defRPr>
                <a:solidFill>
                  <a:schemeClr val="tx1">
                    <a:tint val="75000"/>
                  </a:schemeClr>
                </a:solidFill>
              </a:defRPr>
            </a:lvl3pPr>
            <a:lvl4pPr marL="1370229" indent="0" algn="ctr">
              <a:buNone/>
              <a:defRPr>
                <a:solidFill>
                  <a:schemeClr val="tx1">
                    <a:tint val="75000"/>
                  </a:schemeClr>
                </a:solidFill>
              </a:defRPr>
            </a:lvl4pPr>
            <a:lvl5pPr marL="1826972" indent="0" algn="ctr">
              <a:buNone/>
              <a:defRPr>
                <a:solidFill>
                  <a:schemeClr val="tx1">
                    <a:tint val="75000"/>
                  </a:schemeClr>
                </a:solidFill>
              </a:defRPr>
            </a:lvl5pPr>
            <a:lvl6pPr marL="2283715" indent="0" algn="ctr">
              <a:buNone/>
              <a:defRPr>
                <a:solidFill>
                  <a:schemeClr val="tx1">
                    <a:tint val="75000"/>
                  </a:schemeClr>
                </a:solidFill>
              </a:defRPr>
            </a:lvl6pPr>
            <a:lvl7pPr marL="2740457" indent="0" algn="ctr">
              <a:buNone/>
              <a:defRPr>
                <a:solidFill>
                  <a:schemeClr val="tx1">
                    <a:tint val="75000"/>
                  </a:schemeClr>
                </a:solidFill>
              </a:defRPr>
            </a:lvl7pPr>
            <a:lvl8pPr marL="3197201" indent="0" algn="ctr">
              <a:buNone/>
              <a:defRPr>
                <a:solidFill>
                  <a:schemeClr val="tx1">
                    <a:tint val="75000"/>
                  </a:schemeClr>
                </a:solidFill>
              </a:defRPr>
            </a:lvl8pPr>
            <a:lvl9pPr marL="3653943" indent="0" algn="ctr">
              <a:buNone/>
              <a:defRPr>
                <a:solidFill>
                  <a:schemeClr val="tx1">
                    <a:tint val="75000"/>
                  </a:schemeClr>
                </a:solidFill>
              </a:defRPr>
            </a:lvl9pPr>
          </a:lstStyle>
          <a:p>
            <a:pPr lvl="0"/>
            <a:r>
              <a:rPr lang="en-US"/>
              <a:t>Click to edit Master subtitle style</a:t>
            </a:r>
          </a:p>
        </p:txBody>
      </p:sp>
      <p:sp>
        <p:nvSpPr>
          <p:cNvPr id="2" name="Rectangle 1">
            <a:extLst>
              <a:ext uri="{FF2B5EF4-FFF2-40B4-BE49-F238E27FC236}">
                <a16:creationId xmlns:a16="http://schemas.microsoft.com/office/drawing/2014/main" id="{714457EE-1CE4-B657-F428-447A2D0AC798}"/>
              </a:ext>
            </a:extLst>
          </p:cNvPr>
          <p:cNvSpPr/>
          <p:nvPr userDrawn="1"/>
        </p:nvSpPr>
        <p:spPr>
          <a:xfrm>
            <a:off x="0" y="4754880"/>
            <a:ext cx="12192000" cy="2103120"/>
          </a:xfrm>
          <a:prstGeom prst="rect">
            <a:avLst/>
          </a:prstGeom>
          <a:gradFill>
            <a:gsLst>
              <a:gs pos="0">
                <a:schemeClr val="bg2">
                  <a:alpha val="0"/>
                </a:schemeClr>
              </a:gs>
              <a:gs pos="100000">
                <a:schemeClr val="bg2"/>
              </a:gs>
            </a:gsLst>
            <a:lin ang="54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dirty="0">
              <a:solidFill>
                <a:schemeClr val="tx1"/>
              </a:solidFill>
            </a:endParaRPr>
          </a:p>
        </p:txBody>
      </p:sp>
      <p:grpSp>
        <p:nvGrpSpPr>
          <p:cNvPr id="14" name="Group 4">
            <a:extLst>
              <a:ext uri="{FF2B5EF4-FFF2-40B4-BE49-F238E27FC236}">
                <a16:creationId xmlns:a16="http://schemas.microsoft.com/office/drawing/2014/main" id="{C8422AE9-8257-41A9-AB41-1F10585C886F}"/>
              </a:ext>
            </a:extLst>
          </p:cNvPr>
          <p:cNvGrpSpPr>
            <a:grpSpLocks noChangeAspect="1"/>
          </p:cNvGrpSpPr>
          <p:nvPr userDrawn="1"/>
        </p:nvGrpSpPr>
        <p:grpSpPr bwMode="auto">
          <a:xfrm>
            <a:off x="10359392" y="4960938"/>
            <a:ext cx="1224912" cy="1435100"/>
            <a:chOff x="6529" y="3125"/>
            <a:chExt cx="772" cy="904"/>
          </a:xfrm>
        </p:grpSpPr>
        <p:sp>
          <p:nvSpPr>
            <p:cNvPr id="15"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8" dirty="0"/>
            </a:p>
          </p:txBody>
        </p:sp>
        <p:sp>
          <p:nvSpPr>
            <p:cNvPr id="17"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8" dirty="0"/>
            </a:p>
          </p:txBody>
        </p:sp>
      </p:grpSp>
    </p:spTree>
    <p:extLst>
      <p:ext uri="{BB962C8B-B14F-4D97-AF65-F5344CB8AC3E}">
        <p14:creationId xmlns:p14="http://schemas.microsoft.com/office/powerpoint/2010/main" val="2857951581"/>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Standard slide_no bullet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8643B9-646F-79E1-3DA1-3EA89A90BF69}"/>
              </a:ext>
            </a:extLst>
          </p:cNvPr>
          <p:cNvPicPr>
            <a:picLocks noChangeAspect="1"/>
          </p:cNvPicPr>
          <p:nvPr userDrawn="1"/>
        </p:nvPicPr>
        <p:blipFill>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l="99" r="99"/>
          <a:stretch/>
        </p:blipFill>
        <p:spPr>
          <a:xfrm>
            <a:off x="0" y="0"/>
            <a:ext cx="12192000" cy="6858000"/>
          </a:xfrm>
          <a:prstGeom prst="rect">
            <a:avLst/>
          </a:prstGeom>
        </p:spPr>
      </p:pic>
      <p:sp>
        <p:nvSpPr>
          <p:cNvPr id="6" name="Rectangle 5">
            <a:extLst>
              <a:ext uri="{FF2B5EF4-FFF2-40B4-BE49-F238E27FC236}">
                <a16:creationId xmlns:a16="http://schemas.microsoft.com/office/drawing/2014/main" id="{052D7209-0328-C2D1-5E61-32FAB18EF5A8}"/>
              </a:ext>
            </a:extLst>
          </p:cNvPr>
          <p:cNvSpPr>
            <a:spLocks/>
          </p:cNvSpPr>
          <p:nvPr userDrawn="1"/>
        </p:nvSpPr>
        <p:spPr>
          <a:xfrm>
            <a:off x="0" y="0"/>
            <a:ext cx="12192000" cy="6858000"/>
          </a:xfrm>
          <a:prstGeom prst="rect">
            <a:avLst/>
          </a:prstGeom>
          <a:solidFill>
            <a:srgbClr val="2E2E38">
              <a:alpha val="80000"/>
            </a:srgb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grpSp>
        <p:nvGrpSpPr>
          <p:cNvPr id="7" name="Group 4">
            <a:extLst>
              <a:ext uri="{FF2B5EF4-FFF2-40B4-BE49-F238E27FC236}">
                <a16:creationId xmlns:a16="http://schemas.microsoft.com/office/drawing/2014/main" id="{61F27248-8723-A061-1F09-A6BC142B502F}"/>
              </a:ext>
            </a:extLst>
          </p:cNvPr>
          <p:cNvGrpSpPr>
            <a:grpSpLocks noChangeAspect="1"/>
          </p:cNvGrpSpPr>
          <p:nvPr userDrawn="1"/>
        </p:nvGrpSpPr>
        <p:grpSpPr bwMode="auto">
          <a:xfrm>
            <a:off x="11281250" y="153981"/>
            <a:ext cx="303055" cy="311150"/>
            <a:chOff x="7110" y="4004"/>
            <a:chExt cx="191" cy="196"/>
          </a:xfrm>
        </p:grpSpPr>
        <p:sp>
          <p:nvSpPr>
            <p:cNvPr id="8" name="Freeform 5">
              <a:extLst>
                <a:ext uri="{FF2B5EF4-FFF2-40B4-BE49-F238E27FC236}">
                  <a16:creationId xmlns:a16="http://schemas.microsoft.com/office/drawing/2014/main" id="{AFAD10C3-B6B6-E271-AAFB-FC8007A4665A}"/>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9" name="Freeform 6">
              <a:extLst>
                <a:ext uri="{FF2B5EF4-FFF2-40B4-BE49-F238E27FC236}">
                  <a16:creationId xmlns:a16="http://schemas.microsoft.com/office/drawing/2014/main" id="{FA670CFE-FAD4-4CFE-09D0-22FF337222C0}"/>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0" name="Freeform 7">
              <a:extLst>
                <a:ext uri="{FF2B5EF4-FFF2-40B4-BE49-F238E27FC236}">
                  <a16:creationId xmlns:a16="http://schemas.microsoft.com/office/drawing/2014/main" id="{9A8B8770-0AA6-69D3-F20A-7C3D09A4CD12}"/>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grpSp>
      <p:sp>
        <p:nvSpPr>
          <p:cNvPr id="11" name="Slide Number Placeholder 4">
            <a:extLst>
              <a:ext uri="{FF2B5EF4-FFF2-40B4-BE49-F238E27FC236}">
                <a16:creationId xmlns:a16="http://schemas.microsoft.com/office/drawing/2014/main" id="{7C98785B-0FE0-DE9A-DFA3-90431F55072D}"/>
              </a:ext>
            </a:extLst>
          </p:cNvPr>
          <p:cNvSpPr txBox="1">
            <a:spLocks/>
          </p:cNvSpPr>
          <p:nvPr userDrawn="1"/>
        </p:nvSpPr>
        <p:spPr>
          <a:xfrm>
            <a:off x="181210" y="271070"/>
            <a:ext cx="303055" cy="180000"/>
          </a:xfrm>
          <a:prstGeom prst="rect">
            <a:avLst/>
          </a:prstGeom>
        </p:spPr>
        <p:txBody>
          <a:bodyPr lIns="0" rIns="0" anchor="ctr" anchorCtr="0"/>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fld id="{D5B76411-544C-4F9A-8EDE-9EEB2BD21F95}" type="slidenum">
              <a:rPr lang="en-IN" sz="1000" smtClean="0"/>
              <a:pPr lvl="0" algn="ctr"/>
              <a:t>‹#›</a:t>
            </a:fld>
            <a:endParaRPr sz="1000" dirty="0"/>
          </a:p>
        </p:txBody>
      </p:sp>
      <p:sp>
        <p:nvSpPr>
          <p:cNvPr id="12" name="Slide Number Placeholder 4">
            <a:extLst>
              <a:ext uri="{FF2B5EF4-FFF2-40B4-BE49-F238E27FC236}">
                <a16:creationId xmlns:a16="http://schemas.microsoft.com/office/drawing/2014/main" id="{07DF00E3-9491-22E1-4A7D-C6B77C9259FE}"/>
              </a:ext>
            </a:extLst>
          </p:cNvPr>
          <p:cNvSpPr txBox="1">
            <a:spLocks/>
          </p:cNvSpPr>
          <p:nvPr userDrawn="1"/>
        </p:nvSpPr>
        <p:spPr>
          <a:xfrm>
            <a:off x="607695" y="265106"/>
            <a:ext cx="1205465" cy="180000"/>
          </a:xfrm>
          <a:prstGeom prst="rect">
            <a:avLst/>
          </a:prstGeom>
        </p:spPr>
        <p:txBody>
          <a:bodyPr lIns="0" rIns="0" anchor="ctr" anchorCtr="0"/>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l"/>
            <a:r>
              <a:rPr lang="en-IN" sz="800" dirty="0">
                <a:latin typeface="+mn-lt"/>
              </a:rPr>
              <a:t>WBA AI Training Part 2</a:t>
            </a:r>
            <a:endParaRPr sz="800" dirty="0">
              <a:latin typeface="+mn-lt"/>
            </a:endParaRPr>
          </a:p>
        </p:txBody>
      </p:sp>
      <p:sp>
        <p:nvSpPr>
          <p:cNvPr id="13" name="Oval 12">
            <a:extLst>
              <a:ext uri="{FF2B5EF4-FFF2-40B4-BE49-F238E27FC236}">
                <a16:creationId xmlns:a16="http://schemas.microsoft.com/office/drawing/2014/main" id="{48F9197D-9A7D-F47E-A212-07218D62091F}"/>
              </a:ext>
            </a:extLst>
          </p:cNvPr>
          <p:cNvSpPr/>
          <p:nvPr userDrawn="1"/>
        </p:nvSpPr>
        <p:spPr>
          <a:xfrm>
            <a:off x="177400" y="209543"/>
            <a:ext cx="303055" cy="303055"/>
          </a:xfrm>
          <a:prstGeom prst="ellipse">
            <a:avLst/>
          </a:prstGeom>
          <a:noFill/>
          <a:ln w="9525" cap="flat" cmpd="sng" algn="ctr">
            <a:solidFill>
              <a:srgbClr val="C4C4C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cxnSp>
        <p:nvCxnSpPr>
          <p:cNvPr id="14" name="Straight Connector 13">
            <a:extLst>
              <a:ext uri="{FF2B5EF4-FFF2-40B4-BE49-F238E27FC236}">
                <a16:creationId xmlns:a16="http://schemas.microsoft.com/office/drawing/2014/main" id="{44086518-99D4-F8D8-56FA-B4163975CBD1}"/>
              </a:ext>
            </a:extLst>
          </p:cNvPr>
          <p:cNvCxnSpPr>
            <a:cxnSpLocks/>
            <a:stCxn id="12" idx="3"/>
          </p:cNvCxnSpPr>
          <p:nvPr userDrawn="1"/>
        </p:nvCxnSpPr>
        <p:spPr>
          <a:xfrm>
            <a:off x="1813160" y="355106"/>
            <a:ext cx="9211011" cy="0"/>
          </a:xfrm>
          <a:prstGeom prst="line">
            <a:avLst/>
          </a:prstGeom>
          <a:ln w="6350" cap="flat" cmpd="sng" algn="ctr">
            <a:solidFill>
              <a:schemeClr val="bg1">
                <a:alpha val="5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614896" y="3385837"/>
            <a:ext cx="4917223" cy="2026983"/>
          </a:xfrm>
        </p:spPr>
        <p:txBody>
          <a:bodyPr vert="horz" lIns="0" tIns="0" rIns="0" bIns="0" rtlCol="0" anchor="t" anchorCtr="0">
            <a:noAutofit/>
          </a:bodyPr>
          <a:lstStyle>
            <a:lvl1pPr marL="0" indent="0">
              <a:buNone/>
              <a:defRPr kumimoji="0" lang="en-IN" sz="3600"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a:t>Chapter Title</a:t>
            </a:r>
            <a:endParaRPr lang="en-IN"/>
          </a:p>
        </p:txBody>
      </p:sp>
      <p:grpSp>
        <p:nvGrpSpPr>
          <p:cNvPr id="2" name="Group 1">
            <a:extLst>
              <a:ext uri="{FF2B5EF4-FFF2-40B4-BE49-F238E27FC236}">
                <a16:creationId xmlns:a16="http://schemas.microsoft.com/office/drawing/2014/main" id="{263A9E44-A3C3-7442-B48B-1A8863882FFF}"/>
              </a:ext>
            </a:extLst>
          </p:cNvPr>
          <p:cNvGrpSpPr/>
          <p:nvPr userDrawn="1"/>
        </p:nvGrpSpPr>
        <p:grpSpPr>
          <a:xfrm>
            <a:off x="5956278" y="792396"/>
            <a:ext cx="5582014" cy="5582014"/>
            <a:chOff x="6464300" y="894962"/>
            <a:chExt cx="7835726" cy="7835726"/>
          </a:xfrm>
        </p:grpSpPr>
        <p:sp>
          <p:nvSpPr>
            <p:cNvPr id="18" name="Oval 17">
              <a:extLst>
                <a:ext uri="{FF2B5EF4-FFF2-40B4-BE49-F238E27FC236}">
                  <a16:creationId xmlns:a16="http://schemas.microsoft.com/office/drawing/2014/main" id="{9B8F27CF-46E2-90E4-F87F-22C878EF9006}"/>
                </a:ext>
              </a:extLst>
            </p:cNvPr>
            <p:cNvSpPr/>
            <p:nvPr userDrawn="1"/>
          </p:nvSpPr>
          <p:spPr>
            <a:xfrm>
              <a:off x="6464300" y="894962"/>
              <a:ext cx="7835726" cy="7835726"/>
            </a:xfrm>
            <a:prstGeom prst="ellipse">
              <a:avLst/>
            </a:prstGeom>
            <a:solidFill>
              <a:srgbClr val="2E2E38">
                <a:alpha val="80000"/>
              </a:srgbClr>
            </a:solidFill>
            <a:ln w="9525" cap="flat" cmpd="sng" algn="ctr">
              <a:solidFill>
                <a:srgbClr val="FFE600"/>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pic>
          <p:nvPicPr>
            <p:cNvPr id="4" name="Picture 3">
              <a:extLst>
                <a:ext uri="{FF2B5EF4-FFF2-40B4-BE49-F238E27FC236}">
                  <a16:creationId xmlns:a16="http://schemas.microsoft.com/office/drawing/2014/main" id="{76D08DC6-2B8D-2FEA-2201-6D1F3A3D6893}"/>
                </a:ext>
              </a:extLst>
            </p:cNvPr>
            <p:cNvPicPr>
              <a:picLocks/>
            </p:cNvPicPr>
            <p:nvPr userDrawn="1"/>
          </p:nvPicPr>
          <p:blipFill>
            <a:blip r:embed="rId4" cstate="screen">
              <a:extLst>
                <a:ext uri="{28A0092B-C50C-407E-A947-70E740481C1C}">
                  <a14:useLocalDpi xmlns:a14="http://schemas.microsoft.com/office/drawing/2010/main"/>
                </a:ext>
              </a:extLst>
            </a:blip>
            <a:srcRect/>
            <a:stretch/>
          </p:blipFill>
          <p:spPr>
            <a:xfrm>
              <a:off x="6641926" y="1072588"/>
              <a:ext cx="7480475" cy="7480475"/>
            </a:xfrm>
            <a:prstGeom prst="ellipse">
              <a:avLst/>
            </a:prstGeom>
          </p:spPr>
        </p:pic>
      </p:grpSp>
      <p:cxnSp>
        <p:nvCxnSpPr>
          <p:cNvPr id="20" name="Straight Connector 19">
            <a:extLst>
              <a:ext uri="{FF2B5EF4-FFF2-40B4-BE49-F238E27FC236}">
                <a16:creationId xmlns:a16="http://schemas.microsoft.com/office/drawing/2014/main" id="{47E40607-0099-C310-E9CB-0D0D503D87C6}"/>
              </a:ext>
            </a:extLst>
          </p:cNvPr>
          <p:cNvCxnSpPr>
            <a:cxnSpLocks/>
          </p:cNvCxnSpPr>
          <p:nvPr userDrawn="1"/>
        </p:nvCxnSpPr>
        <p:spPr>
          <a:xfrm>
            <a:off x="614896" y="3255007"/>
            <a:ext cx="917498" cy="0"/>
          </a:xfrm>
          <a:prstGeom prst="line">
            <a:avLst/>
          </a:prstGeom>
          <a:ln w="25400" cap="rnd" cmpd="sng" algn="ctr">
            <a:solidFill>
              <a:srgbClr val="FFE60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 name="Text Placeholder 4">
            <a:extLst>
              <a:ext uri="{FF2B5EF4-FFF2-40B4-BE49-F238E27FC236}">
                <a16:creationId xmlns:a16="http://schemas.microsoft.com/office/drawing/2014/main" id="{14FAFE33-B628-B1E3-FA8C-AF0E31B7CA36}"/>
              </a:ext>
            </a:extLst>
          </p:cNvPr>
          <p:cNvSpPr>
            <a:spLocks noGrp="1"/>
          </p:cNvSpPr>
          <p:nvPr>
            <p:ph type="body" sz="quarter" idx="11" hasCustomPrompt="1"/>
          </p:nvPr>
        </p:nvSpPr>
        <p:spPr>
          <a:xfrm>
            <a:off x="589407" y="1616122"/>
            <a:ext cx="1489230" cy="1769715"/>
          </a:xfrm>
        </p:spPr>
        <p:txBody>
          <a:bodyPr vert="horz" wrap="square" lIns="0" tIns="0" rIns="0" bIns="0" rtlCol="0" anchor="t" anchorCtr="0">
            <a:spAutoFit/>
          </a:bodyPr>
          <a:lstStyle>
            <a:lvl1pPr marL="0" indent="0">
              <a:buNone/>
              <a:defRPr kumimoji="0" lang="en-IN" sz="11500" b="1" i="0" u="none" strike="noStrike" cap="none" spc="0" normalizeH="0" baseline="0" dirty="0">
                <a:ln w="6350">
                  <a:solidFill>
                    <a:schemeClr val="bg1">
                      <a:alpha val="50000"/>
                    </a:schemeClr>
                  </a:solidFill>
                </a:ln>
                <a:no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a:t>2</a:t>
            </a:r>
            <a:endParaRPr lang="en-IN"/>
          </a:p>
        </p:txBody>
      </p:sp>
      <p:cxnSp>
        <p:nvCxnSpPr>
          <p:cNvPr id="15" name="Straight Connector 14">
            <a:extLst>
              <a:ext uri="{FF2B5EF4-FFF2-40B4-BE49-F238E27FC236}">
                <a16:creationId xmlns:a16="http://schemas.microsoft.com/office/drawing/2014/main" id="{49BFBAA3-7B22-47E7-4514-5146092FDB05}"/>
              </a:ext>
            </a:extLst>
          </p:cNvPr>
          <p:cNvCxnSpPr>
            <a:cxnSpLocks/>
          </p:cNvCxnSpPr>
          <p:nvPr userDrawn="1"/>
        </p:nvCxnSpPr>
        <p:spPr>
          <a:xfrm>
            <a:off x="0" y="6741392"/>
            <a:ext cx="12191999" cy="0"/>
          </a:xfrm>
          <a:prstGeom prst="line">
            <a:avLst/>
          </a:prstGeom>
          <a:ln w="6350" cap="flat" cmpd="sng" algn="ctr">
            <a:solidFill>
              <a:schemeClr val="bg1">
                <a:alpha val="3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1387AFE7-7439-2BA3-8657-D232FB94A729}"/>
              </a:ext>
            </a:extLst>
          </p:cNvPr>
          <p:cNvCxnSpPr>
            <a:cxnSpLocks/>
          </p:cNvCxnSpPr>
          <p:nvPr userDrawn="1"/>
        </p:nvCxnSpPr>
        <p:spPr>
          <a:xfrm>
            <a:off x="5887092" y="6741392"/>
            <a:ext cx="417816" cy="0"/>
          </a:xfrm>
          <a:prstGeom prst="line">
            <a:avLst/>
          </a:prstGeom>
          <a:ln w="15875" cap="flat" cmpd="sng" algn="ctr">
            <a:solidFill>
              <a:srgbClr val="74748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4235510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1_Divider 3">
    <p:spTree>
      <p:nvGrpSpPr>
        <p:cNvPr id="1" name=""/>
        <p:cNvGrpSpPr/>
        <p:nvPr/>
      </p:nvGrpSpPr>
      <p:grpSpPr>
        <a:xfrm>
          <a:off x="0" y="0"/>
          <a:ext cx="0" cy="0"/>
          <a:chOff x="0" y="0"/>
          <a:chExt cx="0" cy="0"/>
        </a:xfrm>
      </p:grpSpPr>
      <p:sp>
        <p:nvSpPr>
          <p:cNvPr id="2" name="Line 10">
            <a:extLst>
              <a:ext uri="{FF2B5EF4-FFF2-40B4-BE49-F238E27FC236}">
                <a16:creationId xmlns:a16="http://schemas.microsoft.com/office/drawing/2014/main" id="{8720867E-24A8-AA55-0DBE-2C20E0283E58}"/>
              </a:ext>
            </a:extLst>
          </p:cNvPr>
          <p:cNvSpPr>
            <a:spLocks noChangeShapeType="1"/>
          </p:cNvSpPr>
          <p:nvPr userDrawn="1"/>
        </p:nvSpPr>
        <p:spPr bwMode="auto">
          <a:xfrm>
            <a:off x="609601" y="988137"/>
            <a:ext cx="656565"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Tree>
    <p:extLst>
      <p:ext uri="{BB962C8B-B14F-4D97-AF65-F5344CB8AC3E}">
        <p14:creationId xmlns:p14="http://schemas.microsoft.com/office/powerpoint/2010/main" val="2965967258"/>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23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607696" y="2851522"/>
            <a:ext cx="4445485" cy="1202318"/>
          </a:xfrm>
        </p:spPr>
        <p:txBody>
          <a:bodyPr vert="horz" lIns="0" tIns="0" rIns="0" bIns="0" rtlCol="0" anchor="ctr" anchorCtr="0">
            <a:noAutofit/>
          </a:bodyPr>
          <a:lstStyle>
            <a:lvl1pPr marL="0" indent="0">
              <a:buNone/>
              <a:defRPr kumimoji="0" lang="en-IN" sz="3598"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a:t>Section Title</a:t>
            </a:r>
            <a:endParaRPr lang="en-IN"/>
          </a:p>
        </p:txBody>
      </p:sp>
      <p:sp>
        <p:nvSpPr>
          <p:cNvPr id="6" name="Footer Placeholder 5">
            <a:extLst>
              <a:ext uri="{FF2B5EF4-FFF2-40B4-BE49-F238E27FC236}">
                <a16:creationId xmlns:a16="http://schemas.microsoft.com/office/drawing/2014/main" id="{4D965095-8565-8F0A-2F32-69BAB87F2B87}"/>
              </a:ext>
            </a:extLst>
          </p:cNvPr>
          <p:cNvSpPr>
            <a:spLocks noGrp="1"/>
          </p:cNvSpPr>
          <p:nvPr>
            <p:ph type="ftr" sz="quarter" idx="11"/>
          </p:nvPr>
        </p:nvSpPr>
        <p:spPr>
          <a:xfrm>
            <a:off x="4038600" y="6356350"/>
            <a:ext cx="4114800" cy="365125"/>
          </a:xfrm>
          <a:prstGeom prst="rect">
            <a:avLst/>
          </a:prstGeom>
        </p:spPr>
        <p:txBody>
          <a:bodyPr/>
          <a:lstStyle/>
          <a:p>
            <a:r>
              <a:rPr lang="en-IN" dirty="0"/>
              <a:t>Responsible AI Training Session #2</a:t>
            </a:r>
            <a:endParaRPr lang="en-US" dirty="0"/>
          </a:p>
        </p:txBody>
      </p:sp>
      <p:sp>
        <p:nvSpPr>
          <p:cNvPr id="7" name="Slide Number Placeholder 6">
            <a:extLst>
              <a:ext uri="{FF2B5EF4-FFF2-40B4-BE49-F238E27FC236}">
                <a16:creationId xmlns:a16="http://schemas.microsoft.com/office/drawing/2014/main" id="{CCFC5E09-E451-954A-1692-AB8F7512D6D4}"/>
              </a:ext>
            </a:extLst>
          </p:cNvPr>
          <p:cNvSpPr>
            <a:spLocks noGrp="1"/>
          </p:cNvSpPr>
          <p:nvPr>
            <p:ph type="sldNum" sz="quarter" idx="12"/>
          </p:nvPr>
        </p:nvSpPr>
        <p:spPr>
          <a:xfrm>
            <a:off x="8610600" y="6356350"/>
            <a:ext cx="2743200" cy="365125"/>
          </a:xfrm>
          <a:prstGeom prst="rect">
            <a:avLst/>
          </a:prstGeom>
        </p:spPr>
        <p:txBody>
          <a:bodyPr/>
          <a:lstStyle/>
          <a:p>
            <a:fld id="{F1BC30E3-FFE5-4B91-AA19-87A149EBB9EE}" type="slidenum">
              <a:rPr lang="en-IN" smtClean="0"/>
              <a:pPr/>
              <a:t>‹#›</a:t>
            </a:fld>
            <a:endParaRPr lang="en-IN" dirty="0"/>
          </a:p>
        </p:txBody>
      </p:sp>
    </p:spTree>
    <p:extLst>
      <p:ext uri="{BB962C8B-B14F-4D97-AF65-F5344CB8AC3E}">
        <p14:creationId xmlns:p14="http://schemas.microsoft.com/office/powerpoint/2010/main" val="3731718974"/>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_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BD5388A-86DF-494E-B137-EE20B7E1CF99}"/>
              </a:ext>
            </a:extLst>
          </p:cNvPr>
          <p:cNvSpPr>
            <a:spLocks noGrp="1"/>
          </p:cNvSpPr>
          <p:nvPr>
            <p:ph type="dt" sz="half" idx="10"/>
          </p:nvPr>
        </p:nvSpPr>
        <p:spPr>
          <a:xfrm>
            <a:off x="1428184" y="6471244"/>
            <a:ext cx="1190638" cy="180000"/>
          </a:xfrm>
          <a:prstGeom prst="rect">
            <a:avLst/>
          </a:prstGeom>
        </p:spPr>
        <p:txBody>
          <a:bodyPr/>
          <a:lstStyle/>
          <a:p>
            <a:fld id="{B26E4F46-4975-434E-805B-FA2A24350325}" type="datetime4">
              <a:rPr lang="en-US" smtClean="0"/>
              <a:t>October 21, 2024</a:t>
            </a:fld>
            <a:endParaRPr lang="en-IN" dirty="0"/>
          </a:p>
        </p:txBody>
      </p:sp>
      <p:sp>
        <p:nvSpPr>
          <p:cNvPr id="3" name="Footer Placeholder 2">
            <a:extLst>
              <a:ext uri="{FF2B5EF4-FFF2-40B4-BE49-F238E27FC236}">
                <a16:creationId xmlns:a16="http://schemas.microsoft.com/office/drawing/2014/main" id="{7297E548-6FF4-4D89-ADE0-60181F5365D0}"/>
              </a:ext>
            </a:extLst>
          </p:cNvPr>
          <p:cNvSpPr>
            <a:spLocks noGrp="1"/>
          </p:cNvSpPr>
          <p:nvPr>
            <p:ph type="ftr" sz="quarter" idx="11"/>
          </p:nvPr>
        </p:nvSpPr>
        <p:spPr>
          <a:xfrm>
            <a:off x="4038600" y="6356350"/>
            <a:ext cx="4114800" cy="365125"/>
          </a:xfrm>
          <a:prstGeom prst="rect">
            <a:avLst/>
          </a:prstGeom>
        </p:spPr>
        <p:txBody>
          <a:bodyPr/>
          <a:lstStyle/>
          <a:p>
            <a:r>
              <a:rPr lang="en-IN" dirty="0"/>
              <a:t>Presentation title</a:t>
            </a:r>
          </a:p>
        </p:txBody>
      </p:sp>
      <p:sp>
        <p:nvSpPr>
          <p:cNvPr id="4" name="Slide Number Placeholder 3">
            <a:extLst>
              <a:ext uri="{FF2B5EF4-FFF2-40B4-BE49-F238E27FC236}">
                <a16:creationId xmlns:a16="http://schemas.microsoft.com/office/drawing/2014/main" id="{810B0A8B-D001-432B-877C-21558412BB33}"/>
              </a:ext>
            </a:extLst>
          </p:cNvPr>
          <p:cNvSpPr>
            <a:spLocks noGrp="1"/>
          </p:cNvSpPr>
          <p:nvPr>
            <p:ph type="sldNum" sz="quarter" idx="12"/>
          </p:nvPr>
        </p:nvSpPr>
        <p:spPr>
          <a:xfrm>
            <a:off x="8610600" y="6356350"/>
            <a:ext cx="2743200" cy="365125"/>
          </a:xfrm>
          <a:prstGeom prst="rect">
            <a:avLst/>
          </a:prstGeom>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759970893"/>
      </p:ext>
    </p:extLst>
  </p:cSld>
  <p:clrMapOvr>
    <a:masterClrMapping/>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5_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sz="2399">
                <a:solidFill>
                  <a:schemeClr val="bg1"/>
                </a:solidFill>
              </a:defRPr>
            </a:lvl1pPr>
          </a:lstStyle>
          <a:p>
            <a:r>
              <a:rPr lang="en-US"/>
              <a:t>Click to edit Master title style</a:t>
            </a:r>
            <a:endParaRPr lang="en-GB"/>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5" name="Text Placeholder 4">
            <a:extLst>
              <a:ext uri="{FF2B5EF4-FFF2-40B4-BE49-F238E27FC236}">
                <a16:creationId xmlns:a16="http://schemas.microsoft.com/office/drawing/2014/main" id="{F079E910-7CFE-41D0-BD32-A43268A79099}"/>
              </a:ext>
            </a:extLst>
          </p:cNvPr>
          <p:cNvSpPr>
            <a:spLocks noGrp="1"/>
          </p:cNvSpPr>
          <p:nvPr>
            <p:ph type="body" sz="quarter" idx="10" hasCustomPrompt="1"/>
          </p:nvPr>
        </p:nvSpPr>
        <p:spPr>
          <a:xfrm>
            <a:off x="609283" y="1137920"/>
            <a:ext cx="10975022" cy="4756150"/>
          </a:xfrm>
        </p:spPr>
        <p:txBody>
          <a:bodyPr/>
          <a:lstStyle>
            <a:lvl1pPr>
              <a:defRPr/>
            </a:lvl1pPr>
          </a:lstStyle>
          <a:p>
            <a:pPr lvl="0"/>
            <a:r>
              <a:rPr lang="en-IN"/>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extLst>
      <p:ext uri="{BB962C8B-B14F-4D97-AF65-F5344CB8AC3E}">
        <p14:creationId xmlns:p14="http://schemas.microsoft.com/office/powerpoint/2010/main" val="165018352"/>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userDrawn="1">
  <p:cSld name="2_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294078778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cSld name="3_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sz="2400">
                <a:solidFill>
                  <a:schemeClr val="bg1"/>
                </a:solidFill>
              </a:defRPr>
            </a:lvl1pPr>
          </a:lstStyle>
          <a:p>
            <a:r>
              <a:rPr lang="en-US" dirty="0"/>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09601" y="1137920"/>
            <a:ext cx="10972800" cy="4947920"/>
          </a:xfrm>
          <a:prstGeom prst="rect">
            <a:avLst/>
          </a:prstGeom>
        </p:spPr>
        <p:txBody>
          <a:bodyPr vert="horz" lIns="0" tIns="0" rIns="0" bIns="0" rtlCol="0" anchor="t" anchorCtr="0">
            <a:noAutofit/>
          </a:bodyPr>
          <a:lstStyle>
            <a:lvl1pPr>
              <a:defRPr sz="2000"/>
            </a:lvl1pPr>
            <a:lvl2pPr>
              <a:defRPr sz="1800"/>
            </a:lvl2pPr>
            <a:lvl3pPr>
              <a:defRPr sz="1600"/>
            </a:lvl3pPr>
            <a:lvl4pPr>
              <a:defRPr sz="1400"/>
            </a:lvl4pPr>
            <a:lvl5pPr>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Date Placeholder 2">
            <a:extLst>
              <a:ext uri="{FF2B5EF4-FFF2-40B4-BE49-F238E27FC236}">
                <a16:creationId xmlns:a16="http://schemas.microsoft.com/office/drawing/2014/main" id="{48197805-0689-4503-8125-F783F9317141}"/>
              </a:ext>
            </a:extLst>
          </p:cNvPr>
          <p:cNvSpPr>
            <a:spLocks noGrp="1"/>
          </p:cNvSpPr>
          <p:nvPr>
            <p:ph type="dt" sz="half" idx="10"/>
          </p:nvPr>
        </p:nvSpPr>
        <p:spPr/>
        <p:txBody>
          <a:bodyPr/>
          <a:lstStyle/>
          <a:p>
            <a:fld id="{57BD8AAC-70C4-433E-BAA2-1A1AFBD71E3C}" type="datetime3">
              <a:rPr lang="en-US" smtClean="0"/>
              <a:t>21 October 2024</a:t>
            </a:fld>
            <a:endParaRPr lang="en-IN" dirty="0"/>
          </a:p>
        </p:txBody>
      </p:sp>
      <p:sp>
        <p:nvSpPr>
          <p:cNvPr id="4" name="Footer Placeholder 3">
            <a:extLst>
              <a:ext uri="{FF2B5EF4-FFF2-40B4-BE49-F238E27FC236}">
                <a16:creationId xmlns:a16="http://schemas.microsoft.com/office/drawing/2014/main" id="{2D180DED-A206-48B8-8395-C38D75067DC6}"/>
              </a:ext>
            </a:extLst>
          </p:cNvPr>
          <p:cNvSpPr>
            <a:spLocks noGrp="1"/>
          </p:cNvSpPr>
          <p:nvPr>
            <p:ph type="ftr" sz="quarter" idx="11"/>
          </p:nvPr>
        </p:nvSpPr>
        <p:spPr/>
        <p:txBody>
          <a:bodyPr/>
          <a:lstStyle/>
          <a:p>
            <a:r>
              <a:rPr lang="en-IN" dirty="0"/>
              <a:t>Presentation title</a:t>
            </a:r>
          </a:p>
        </p:txBody>
      </p:sp>
      <p:sp>
        <p:nvSpPr>
          <p:cNvPr id="5" name="Slide Number Placeholder 4">
            <a:extLst>
              <a:ext uri="{FF2B5EF4-FFF2-40B4-BE49-F238E27FC236}">
                <a16:creationId xmlns:a16="http://schemas.microsoft.com/office/drawing/2014/main" id="{B584CBDA-5400-4C9D-A814-1CE6E3FD4F41}"/>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27027715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_Standard slide_no bullet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8643B9-646F-79E1-3DA1-3EA89A90BF69}"/>
              </a:ext>
            </a:extLst>
          </p:cNvPr>
          <p:cNvPicPr>
            <a:picLocks noChangeAspect="1"/>
          </p:cNvPicPr>
          <p:nvPr userDrawn="1"/>
        </p:nvPicPr>
        <p:blipFill>
          <a:blip r:embed="rId2" cstate="screen">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 name="Rectangle 5">
            <a:extLst>
              <a:ext uri="{FF2B5EF4-FFF2-40B4-BE49-F238E27FC236}">
                <a16:creationId xmlns:a16="http://schemas.microsoft.com/office/drawing/2014/main" id="{052D7209-0328-C2D1-5E61-32FAB18EF5A8}"/>
              </a:ext>
            </a:extLst>
          </p:cNvPr>
          <p:cNvSpPr>
            <a:spLocks/>
          </p:cNvSpPr>
          <p:nvPr userDrawn="1"/>
        </p:nvSpPr>
        <p:spPr>
          <a:xfrm>
            <a:off x="-1" y="0"/>
            <a:ext cx="12192001" cy="6858000"/>
          </a:xfrm>
          <a:prstGeom prst="rect">
            <a:avLst/>
          </a:prstGeom>
          <a:solidFill>
            <a:srgbClr val="2E2E38">
              <a:alpha val="80000"/>
            </a:srgb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grpSp>
        <p:nvGrpSpPr>
          <p:cNvPr id="7" name="Group 4">
            <a:extLst>
              <a:ext uri="{FF2B5EF4-FFF2-40B4-BE49-F238E27FC236}">
                <a16:creationId xmlns:a16="http://schemas.microsoft.com/office/drawing/2014/main" id="{61F27248-8723-A061-1F09-A6BC142B502F}"/>
              </a:ext>
            </a:extLst>
          </p:cNvPr>
          <p:cNvGrpSpPr>
            <a:grpSpLocks noChangeAspect="1"/>
          </p:cNvGrpSpPr>
          <p:nvPr userDrawn="1"/>
        </p:nvGrpSpPr>
        <p:grpSpPr bwMode="auto">
          <a:xfrm>
            <a:off x="11281250" y="153981"/>
            <a:ext cx="303055" cy="311150"/>
            <a:chOff x="7110" y="4004"/>
            <a:chExt cx="191" cy="196"/>
          </a:xfrm>
        </p:grpSpPr>
        <p:sp>
          <p:nvSpPr>
            <p:cNvPr id="8" name="Freeform 5">
              <a:extLst>
                <a:ext uri="{FF2B5EF4-FFF2-40B4-BE49-F238E27FC236}">
                  <a16:creationId xmlns:a16="http://schemas.microsoft.com/office/drawing/2014/main" id="{AFAD10C3-B6B6-E271-AAFB-FC8007A4665A}"/>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9" name="Freeform 6">
              <a:extLst>
                <a:ext uri="{FF2B5EF4-FFF2-40B4-BE49-F238E27FC236}">
                  <a16:creationId xmlns:a16="http://schemas.microsoft.com/office/drawing/2014/main" id="{FA670CFE-FAD4-4CFE-09D0-22FF337222C0}"/>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0" name="Freeform 7">
              <a:extLst>
                <a:ext uri="{FF2B5EF4-FFF2-40B4-BE49-F238E27FC236}">
                  <a16:creationId xmlns:a16="http://schemas.microsoft.com/office/drawing/2014/main" id="{9A8B8770-0AA6-69D3-F20A-7C3D09A4CD12}"/>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grpSp>
      <p:sp>
        <p:nvSpPr>
          <p:cNvPr id="11" name="Slide Number Placeholder 4">
            <a:extLst>
              <a:ext uri="{FF2B5EF4-FFF2-40B4-BE49-F238E27FC236}">
                <a16:creationId xmlns:a16="http://schemas.microsoft.com/office/drawing/2014/main" id="{7C98785B-0FE0-DE9A-DFA3-90431F55072D}"/>
              </a:ext>
            </a:extLst>
          </p:cNvPr>
          <p:cNvSpPr txBox="1">
            <a:spLocks/>
          </p:cNvSpPr>
          <p:nvPr userDrawn="1"/>
        </p:nvSpPr>
        <p:spPr>
          <a:xfrm>
            <a:off x="181210" y="271070"/>
            <a:ext cx="303055" cy="180000"/>
          </a:xfrm>
          <a:prstGeom prst="rect">
            <a:avLst/>
          </a:prstGeom>
        </p:spPr>
        <p:txBody>
          <a:bodyPr lIns="0" rIns="0" anchor="ctr" anchorCtr="0"/>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fld id="{D5B76411-544C-4F9A-8EDE-9EEB2BD21F95}" type="slidenum">
              <a:rPr lang="en-IN" sz="1000" smtClean="0"/>
              <a:pPr lvl="0" algn="ctr"/>
              <a:t>‹#›</a:t>
            </a:fld>
            <a:endParaRPr sz="1000" dirty="0"/>
          </a:p>
        </p:txBody>
      </p:sp>
      <p:sp>
        <p:nvSpPr>
          <p:cNvPr id="12" name="Slide Number Placeholder 4">
            <a:extLst>
              <a:ext uri="{FF2B5EF4-FFF2-40B4-BE49-F238E27FC236}">
                <a16:creationId xmlns:a16="http://schemas.microsoft.com/office/drawing/2014/main" id="{07DF00E3-9491-22E1-4A7D-C6B77C9259FE}"/>
              </a:ext>
            </a:extLst>
          </p:cNvPr>
          <p:cNvSpPr txBox="1">
            <a:spLocks/>
          </p:cNvSpPr>
          <p:nvPr userDrawn="1"/>
        </p:nvSpPr>
        <p:spPr>
          <a:xfrm>
            <a:off x="607695" y="265106"/>
            <a:ext cx="1205465" cy="180000"/>
          </a:xfrm>
          <a:prstGeom prst="rect">
            <a:avLst/>
          </a:prstGeom>
        </p:spPr>
        <p:txBody>
          <a:bodyPr lIns="0" rIns="0" anchor="ctr" anchorCtr="0"/>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l"/>
            <a:r>
              <a:rPr lang="en-IN" sz="800" dirty="0">
                <a:latin typeface="+mn-lt"/>
              </a:rPr>
              <a:t>WBA AI Training Part 2</a:t>
            </a:r>
            <a:endParaRPr sz="800" dirty="0">
              <a:latin typeface="+mn-lt"/>
            </a:endParaRPr>
          </a:p>
        </p:txBody>
      </p:sp>
      <p:sp>
        <p:nvSpPr>
          <p:cNvPr id="13" name="Oval 12">
            <a:extLst>
              <a:ext uri="{FF2B5EF4-FFF2-40B4-BE49-F238E27FC236}">
                <a16:creationId xmlns:a16="http://schemas.microsoft.com/office/drawing/2014/main" id="{48F9197D-9A7D-F47E-A212-07218D62091F}"/>
              </a:ext>
            </a:extLst>
          </p:cNvPr>
          <p:cNvSpPr/>
          <p:nvPr userDrawn="1"/>
        </p:nvSpPr>
        <p:spPr>
          <a:xfrm>
            <a:off x="177400" y="209543"/>
            <a:ext cx="303055" cy="303055"/>
          </a:xfrm>
          <a:prstGeom prst="ellipse">
            <a:avLst/>
          </a:prstGeom>
          <a:noFill/>
          <a:ln w="9525" cap="flat" cmpd="sng" algn="ctr">
            <a:solidFill>
              <a:srgbClr val="C4C4C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cxnSp>
        <p:nvCxnSpPr>
          <p:cNvPr id="14" name="Straight Connector 13">
            <a:extLst>
              <a:ext uri="{FF2B5EF4-FFF2-40B4-BE49-F238E27FC236}">
                <a16:creationId xmlns:a16="http://schemas.microsoft.com/office/drawing/2014/main" id="{44086518-99D4-F8D8-56FA-B4163975CBD1}"/>
              </a:ext>
            </a:extLst>
          </p:cNvPr>
          <p:cNvCxnSpPr>
            <a:cxnSpLocks/>
            <a:stCxn id="12" idx="3"/>
          </p:cNvCxnSpPr>
          <p:nvPr userDrawn="1"/>
        </p:nvCxnSpPr>
        <p:spPr>
          <a:xfrm>
            <a:off x="1813160" y="355106"/>
            <a:ext cx="9211011" cy="0"/>
          </a:xfrm>
          <a:prstGeom prst="line">
            <a:avLst/>
          </a:prstGeom>
          <a:ln w="6350" cap="flat" cmpd="sng" algn="ctr">
            <a:solidFill>
              <a:schemeClr val="bg1">
                <a:alpha val="5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01F9A1B-E3DA-A3D8-78B2-46C984EA2108}"/>
              </a:ext>
            </a:extLst>
          </p:cNvPr>
          <p:cNvCxnSpPr>
            <a:cxnSpLocks/>
          </p:cNvCxnSpPr>
          <p:nvPr userDrawn="1"/>
        </p:nvCxnSpPr>
        <p:spPr>
          <a:xfrm>
            <a:off x="614896" y="3255007"/>
            <a:ext cx="917498" cy="0"/>
          </a:xfrm>
          <a:prstGeom prst="line">
            <a:avLst/>
          </a:prstGeom>
          <a:ln w="25400" cap="rnd" cmpd="sng" algn="ctr">
            <a:solidFill>
              <a:srgbClr val="FFE60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614896" y="3385837"/>
            <a:ext cx="4917223" cy="2026983"/>
          </a:xfrm>
        </p:spPr>
        <p:txBody>
          <a:bodyPr vert="horz" lIns="0" tIns="0" rIns="0" bIns="0" rtlCol="0" anchor="t" anchorCtr="0">
            <a:noAutofit/>
          </a:bodyPr>
          <a:lstStyle>
            <a:lvl1pPr marL="0" indent="0">
              <a:buNone/>
              <a:defRPr kumimoji="0" lang="en-IN" sz="3600"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a:t>Chapter Title</a:t>
            </a:r>
            <a:endParaRPr lang="en-IN"/>
          </a:p>
        </p:txBody>
      </p:sp>
      <p:sp>
        <p:nvSpPr>
          <p:cNvPr id="19" name="Text Placeholder 4">
            <a:extLst>
              <a:ext uri="{FF2B5EF4-FFF2-40B4-BE49-F238E27FC236}">
                <a16:creationId xmlns:a16="http://schemas.microsoft.com/office/drawing/2014/main" id="{0649E384-B5E1-4FEF-DCD0-1FFA17318775}"/>
              </a:ext>
            </a:extLst>
          </p:cNvPr>
          <p:cNvSpPr>
            <a:spLocks noGrp="1"/>
          </p:cNvSpPr>
          <p:nvPr>
            <p:ph type="body" sz="quarter" idx="11" hasCustomPrompt="1"/>
          </p:nvPr>
        </p:nvSpPr>
        <p:spPr>
          <a:xfrm>
            <a:off x="589407" y="1616122"/>
            <a:ext cx="1489230" cy="1769715"/>
          </a:xfrm>
        </p:spPr>
        <p:txBody>
          <a:bodyPr vert="horz" wrap="square" lIns="0" tIns="0" rIns="0" bIns="0" rtlCol="0" anchor="t" anchorCtr="0">
            <a:spAutoFit/>
          </a:bodyPr>
          <a:lstStyle>
            <a:lvl1pPr marL="0" indent="0">
              <a:buNone/>
              <a:defRPr kumimoji="0" lang="en-IN" sz="11500" b="1" i="0" u="none" strike="noStrike" cap="none" spc="0" normalizeH="0" baseline="0" dirty="0">
                <a:ln w="6350">
                  <a:solidFill>
                    <a:schemeClr val="bg1">
                      <a:alpha val="50000"/>
                    </a:schemeClr>
                  </a:solidFill>
                </a:ln>
                <a:no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a:t>2</a:t>
            </a:r>
            <a:endParaRPr lang="en-IN"/>
          </a:p>
        </p:txBody>
      </p:sp>
      <p:grpSp>
        <p:nvGrpSpPr>
          <p:cNvPr id="2" name="Group 1">
            <a:extLst>
              <a:ext uri="{FF2B5EF4-FFF2-40B4-BE49-F238E27FC236}">
                <a16:creationId xmlns:a16="http://schemas.microsoft.com/office/drawing/2014/main" id="{263A9E44-A3C3-7442-B48B-1A8863882FFF}"/>
              </a:ext>
            </a:extLst>
          </p:cNvPr>
          <p:cNvGrpSpPr/>
          <p:nvPr userDrawn="1"/>
        </p:nvGrpSpPr>
        <p:grpSpPr>
          <a:xfrm>
            <a:off x="5956278" y="792396"/>
            <a:ext cx="5582014" cy="5582014"/>
            <a:chOff x="6464300" y="894962"/>
            <a:chExt cx="7835726" cy="7835726"/>
          </a:xfrm>
        </p:grpSpPr>
        <p:sp>
          <p:nvSpPr>
            <p:cNvPr id="18" name="Oval 17">
              <a:extLst>
                <a:ext uri="{FF2B5EF4-FFF2-40B4-BE49-F238E27FC236}">
                  <a16:creationId xmlns:a16="http://schemas.microsoft.com/office/drawing/2014/main" id="{9B8F27CF-46E2-90E4-F87F-22C878EF9006}"/>
                </a:ext>
              </a:extLst>
            </p:cNvPr>
            <p:cNvSpPr/>
            <p:nvPr userDrawn="1"/>
          </p:nvSpPr>
          <p:spPr>
            <a:xfrm>
              <a:off x="6464300" y="894962"/>
              <a:ext cx="7835726" cy="7835726"/>
            </a:xfrm>
            <a:prstGeom prst="ellipse">
              <a:avLst/>
            </a:prstGeom>
            <a:solidFill>
              <a:srgbClr val="2E2E38">
                <a:alpha val="80000"/>
              </a:srgbClr>
            </a:solidFill>
            <a:ln w="9525" cap="flat" cmpd="sng" algn="ctr">
              <a:solidFill>
                <a:srgbClr val="FFE600"/>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pic>
          <p:nvPicPr>
            <p:cNvPr id="4" name="Picture 3">
              <a:extLst>
                <a:ext uri="{FF2B5EF4-FFF2-40B4-BE49-F238E27FC236}">
                  <a16:creationId xmlns:a16="http://schemas.microsoft.com/office/drawing/2014/main" id="{76D08DC6-2B8D-2FEA-2201-6D1F3A3D6893}"/>
                </a:ext>
              </a:extLst>
            </p:cNvPr>
            <p:cNvPicPr>
              <a:picLocks/>
            </p:cNvPicPr>
            <p:nvPr userDrawn="1"/>
          </p:nvPicPr>
          <p:blipFill rotWithShape="1">
            <a:blip r:embed="rId4" cstate="screen">
              <a:extLst>
                <a:ext uri="{28A0092B-C50C-407E-A947-70E740481C1C}">
                  <a14:useLocalDpi xmlns:a14="http://schemas.microsoft.com/office/drawing/2010/main"/>
                </a:ext>
              </a:extLst>
            </a:blip>
            <a:srcRect/>
            <a:stretch/>
          </p:blipFill>
          <p:spPr>
            <a:xfrm>
              <a:off x="6641926" y="1072588"/>
              <a:ext cx="7480475" cy="7480475"/>
            </a:xfrm>
            <a:prstGeom prst="ellipse">
              <a:avLst/>
            </a:prstGeom>
          </p:spPr>
        </p:pic>
      </p:grpSp>
      <p:cxnSp>
        <p:nvCxnSpPr>
          <p:cNvPr id="20" name="Straight Connector 19">
            <a:extLst>
              <a:ext uri="{FF2B5EF4-FFF2-40B4-BE49-F238E27FC236}">
                <a16:creationId xmlns:a16="http://schemas.microsoft.com/office/drawing/2014/main" id="{3E1E476E-6783-14D2-AACB-C0C46EE56444}"/>
              </a:ext>
            </a:extLst>
          </p:cNvPr>
          <p:cNvCxnSpPr>
            <a:cxnSpLocks/>
          </p:cNvCxnSpPr>
          <p:nvPr userDrawn="1"/>
        </p:nvCxnSpPr>
        <p:spPr>
          <a:xfrm>
            <a:off x="0" y="6741392"/>
            <a:ext cx="12191999" cy="0"/>
          </a:xfrm>
          <a:prstGeom prst="line">
            <a:avLst/>
          </a:prstGeom>
          <a:ln w="6350" cap="flat" cmpd="sng" algn="ctr">
            <a:solidFill>
              <a:schemeClr val="bg1">
                <a:alpha val="3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A3F45EE-CE13-447F-3849-A59FA68AA485}"/>
              </a:ext>
            </a:extLst>
          </p:cNvPr>
          <p:cNvCxnSpPr>
            <a:cxnSpLocks/>
          </p:cNvCxnSpPr>
          <p:nvPr userDrawn="1"/>
        </p:nvCxnSpPr>
        <p:spPr>
          <a:xfrm>
            <a:off x="5887092" y="6741392"/>
            <a:ext cx="417816" cy="0"/>
          </a:xfrm>
          <a:prstGeom prst="line">
            <a:avLst/>
          </a:prstGeom>
          <a:ln w="15875" cap="flat" cmpd="sng" algn="ctr">
            <a:solidFill>
              <a:srgbClr val="74748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9180274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7_Standard slide_no bullet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8643B9-646F-79E1-3DA1-3EA89A90BF69}"/>
              </a:ext>
            </a:extLst>
          </p:cNvPr>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t="7589" b="7589"/>
          <a:stretch/>
        </p:blipFill>
        <p:spPr>
          <a:xfrm>
            <a:off x="0" y="0"/>
            <a:ext cx="12192000" cy="6858000"/>
          </a:xfrm>
          <a:prstGeom prst="rect">
            <a:avLst/>
          </a:prstGeom>
        </p:spPr>
      </p:pic>
      <p:sp>
        <p:nvSpPr>
          <p:cNvPr id="6" name="Rectangle 5">
            <a:extLst>
              <a:ext uri="{FF2B5EF4-FFF2-40B4-BE49-F238E27FC236}">
                <a16:creationId xmlns:a16="http://schemas.microsoft.com/office/drawing/2014/main" id="{052D7209-0328-C2D1-5E61-32FAB18EF5A8}"/>
              </a:ext>
            </a:extLst>
          </p:cNvPr>
          <p:cNvSpPr>
            <a:spLocks/>
          </p:cNvSpPr>
          <p:nvPr userDrawn="1"/>
        </p:nvSpPr>
        <p:spPr>
          <a:xfrm>
            <a:off x="0" y="0"/>
            <a:ext cx="12192000" cy="6858000"/>
          </a:xfrm>
          <a:prstGeom prst="rect">
            <a:avLst/>
          </a:prstGeom>
          <a:solidFill>
            <a:srgbClr val="2E2E38">
              <a:alpha val="80000"/>
            </a:srgb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grpSp>
        <p:nvGrpSpPr>
          <p:cNvPr id="7" name="Group 4">
            <a:extLst>
              <a:ext uri="{FF2B5EF4-FFF2-40B4-BE49-F238E27FC236}">
                <a16:creationId xmlns:a16="http://schemas.microsoft.com/office/drawing/2014/main" id="{61F27248-8723-A061-1F09-A6BC142B502F}"/>
              </a:ext>
            </a:extLst>
          </p:cNvPr>
          <p:cNvGrpSpPr>
            <a:grpSpLocks noChangeAspect="1"/>
          </p:cNvGrpSpPr>
          <p:nvPr userDrawn="1"/>
        </p:nvGrpSpPr>
        <p:grpSpPr bwMode="auto">
          <a:xfrm>
            <a:off x="11281250" y="153981"/>
            <a:ext cx="303055" cy="311150"/>
            <a:chOff x="7110" y="4004"/>
            <a:chExt cx="191" cy="196"/>
          </a:xfrm>
        </p:grpSpPr>
        <p:sp>
          <p:nvSpPr>
            <p:cNvPr id="8" name="Freeform 5">
              <a:extLst>
                <a:ext uri="{FF2B5EF4-FFF2-40B4-BE49-F238E27FC236}">
                  <a16:creationId xmlns:a16="http://schemas.microsoft.com/office/drawing/2014/main" id="{AFAD10C3-B6B6-E271-AAFB-FC8007A4665A}"/>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9" name="Freeform 6">
              <a:extLst>
                <a:ext uri="{FF2B5EF4-FFF2-40B4-BE49-F238E27FC236}">
                  <a16:creationId xmlns:a16="http://schemas.microsoft.com/office/drawing/2014/main" id="{FA670CFE-FAD4-4CFE-09D0-22FF337222C0}"/>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0" name="Freeform 7">
              <a:extLst>
                <a:ext uri="{FF2B5EF4-FFF2-40B4-BE49-F238E27FC236}">
                  <a16:creationId xmlns:a16="http://schemas.microsoft.com/office/drawing/2014/main" id="{9A8B8770-0AA6-69D3-F20A-7C3D09A4CD12}"/>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grpSp>
      <p:sp>
        <p:nvSpPr>
          <p:cNvPr id="11" name="Slide Number Placeholder 4">
            <a:extLst>
              <a:ext uri="{FF2B5EF4-FFF2-40B4-BE49-F238E27FC236}">
                <a16:creationId xmlns:a16="http://schemas.microsoft.com/office/drawing/2014/main" id="{7C98785B-0FE0-DE9A-DFA3-90431F55072D}"/>
              </a:ext>
            </a:extLst>
          </p:cNvPr>
          <p:cNvSpPr txBox="1">
            <a:spLocks/>
          </p:cNvSpPr>
          <p:nvPr userDrawn="1"/>
        </p:nvSpPr>
        <p:spPr>
          <a:xfrm>
            <a:off x="181210" y="271070"/>
            <a:ext cx="303055" cy="180000"/>
          </a:xfrm>
          <a:prstGeom prst="rect">
            <a:avLst/>
          </a:prstGeom>
        </p:spPr>
        <p:txBody>
          <a:bodyPr lIns="0" rIns="0" anchor="ctr" anchorCtr="0"/>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fld id="{D5B76411-544C-4F9A-8EDE-9EEB2BD21F95}" type="slidenum">
              <a:rPr lang="en-IN" sz="1000" smtClean="0"/>
              <a:pPr lvl="0" algn="ctr"/>
              <a:t>‹#›</a:t>
            </a:fld>
            <a:endParaRPr sz="1000" dirty="0"/>
          </a:p>
        </p:txBody>
      </p:sp>
      <p:sp>
        <p:nvSpPr>
          <p:cNvPr id="12" name="Slide Number Placeholder 4">
            <a:extLst>
              <a:ext uri="{FF2B5EF4-FFF2-40B4-BE49-F238E27FC236}">
                <a16:creationId xmlns:a16="http://schemas.microsoft.com/office/drawing/2014/main" id="{07DF00E3-9491-22E1-4A7D-C6B77C9259FE}"/>
              </a:ext>
            </a:extLst>
          </p:cNvPr>
          <p:cNvSpPr txBox="1">
            <a:spLocks/>
          </p:cNvSpPr>
          <p:nvPr userDrawn="1"/>
        </p:nvSpPr>
        <p:spPr>
          <a:xfrm>
            <a:off x="607695" y="265106"/>
            <a:ext cx="1205465" cy="180000"/>
          </a:xfrm>
          <a:prstGeom prst="rect">
            <a:avLst/>
          </a:prstGeom>
        </p:spPr>
        <p:txBody>
          <a:bodyPr lIns="0" rIns="0" anchor="ctr" anchorCtr="0"/>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l"/>
            <a:r>
              <a:rPr lang="en-IN" sz="800" dirty="0">
                <a:latin typeface="+mn-lt"/>
              </a:rPr>
              <a:t>WBA AI Training Part 2</a:t>
            </a:r>
            <a:endParaRPr sz="800" dirty="0">
              <a:latin typeface="+mn-lt"/>
            </a:endParaRPr>
          </a:p>
        </p:txBody>
      </p:sp>
      <p:sp>
        <p:nvSpPr>
          <p:cNvPr id="13" name="Oval 12">
            <a:extLst>
              <a:ext uri="{FF2B5EF4-FFF2-40B4-BE49-F238E27FC236}">
                <a16:creationId xmlns:a16="http://schemas.microsoft.com/office/drawing/2014/main" id="{48F9197D-9A7D-F47E-A212-07218D62091F}"/>
              </a:ext>
            </a:extLst>
          </p:cNvPr>
          <p:cNvSpPr/>
          <p:nvPr userDrawn="1"/>
        </p:nvSpPr>
        <p:spPr>
          <a:xfrm>
            <a:off x="177400" y="209543"/>
            <a:ext cx="303055" cy="303055"/>
          </a:xfrm>
          <a:prstGeom prst="ellipse">
            <a:avLst/>
          </a:prstGeom>
          <a:noFill/>
          <a:ln w="9525" cap="flat" cmpd="sng" algn="ctr">
            <a:solidFill>
              <a:srgbClr val="C4C4C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cxnSp>
        <p:nvCxnSpPr>
          <p:cNvPr id="14" name="Straight Connector 13">
            <a:extLst>
              <a:ext uri="{FF2B5EF4-FFF2-40B4-BE49-F238E27FC236}">
                <a16:creationId xmlns:a16="http://schemas.microsoft.com/office/drawing/2014/main" id="{44086518-99D4-F8D8-56FA-B4163975CBD1}"/>
              </a:ext>
            </a:extLst>
          </p:cNvPr>
          <p:cNvCxnSpPr>
            <a:cxnSpLocks/>
            <a:stCxn id="12" idx="3"/>
          </p:cNvCxnSpPr>
          <p:nvPr userDrawn="1"/>
        </p:nvCxnSpPr>
        <p:spPr>
          <a:xfrm>
            <a:off x="1813160" y="355106"/>
            <a:ext cx="9211011" cy="0"/>
          </a:xfrm>
          <a:prstGeom prst="line">
            <a:avLst/>
          </a:prstGeom>
          <a:ln w="6350" cap="flat" cmpd="sng" algn="ctr">
            <a:solidFill>
              <a:schemeClr val="bg1">
                <a:alpha val="5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01F9A1B-E3DA-A3D8-78B2-46C984EA2108}"/>
              </a:ext>
            </a:extLst>
          </p:cNvPr>
          <p:cNvCxnSpPr>
            <a:cxnSpLocks/>
          </p:cNvCxnSpPr>
          <p:nvPr userDrawn="1"/>
        </p:nvCxnSpPr>
        <p:spPr>
          <a:xfrm>
            <a:off x="614896" y="3255007"/>
            <a:ext cx="917498" cy="0"/>
          </a:xfrm>
          <a:prstGeom prst="line">
            <a:avLst/>
          </a:prstGeom>
          <a:ln w="25400" cap="rnd" cmpd="sng" algn="ctr">
            <a:solidFill>
              <a:srgbClr val="FFE60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614896" y="3385837"/>
            <a:ext cx="4917223" cy="2026983"/>
          </a:xfrm>
        </p:spPr>
        <p:txBody>
          <a:bodyPr vert="horz" lIns="0" tIns="0" rIns="0" bIns="0" rtlCol="0" anchor="t" anchorCtr="0">
            <a:noAutofit/>
          </a:bodyPr>
          <a:lstStyle>
            <a:lvl1pPr marL="0" indent="0">
              <a:buNone/>
              <a:defRPr kumimoji="0" lang="en-IN" sz="3600"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a:t>Chapter Title</a:t>
            </a:r>
            <a:endParaRPr lang="en-IN"/>
          </a:p>
        </p:txBody>
      </p:sp>
      <p:sp>
        <p:nvSpPr>
          <p:cNvPr id="19" name="Text Placeholder 4">
            <a:extLst>
              <a:ext uri="{FF2B5EF4-FFF2-40B4-BE49-F238E27FC236}">
                <a16:creationId xmlns:a16="http://schemas.microsoft.com/office/drawing/2014/main" id="{0649E384-B5E1-4FEF-DCD0-1FFA17318775}"/>
              </a:ext>
            </a:extLst>
          </p:cNvPr>
          <p:cNvSpPr>
            <a:spLocks noGrp="1"/>
          </p:cNvSpPr>
          <p:nvPr>
            <p:ph type="body" sz="quarter" idx="11" hasCustomPrompt="1"/>
          </p:nvPr>
        </p:nvSpPr>
        <p:spPr>
          <a:xfrm>
            <a:off x="589407" y="1616122"/>
            <a:ext cx="1489230" cy="1769715"/>
          </a:xfrm>
        </p:spPr>
        <p:txBody>
          <a:bodyPr vert="horz" wrap="square" lIns="0" tIns="0" rIns="0" bIns="0" rtlCol="0" anchor="t" anchorCtr="0">
            <a:spAutoFit/>
          </a:bodyPr>
          <a:lstStyle>
            <a:lvl1pPr marL="0" indent="0">
              <a:buNone/>
              <a:defRPr kumimoji="0" lang="en-IN" sz="11500" b="1" i="0" u="none" strike="noStrike" cap="none" spc="0" normalizeH="0" baseline="0" dirty="0">
                <a:ln w="6350">
                  <a:solidFill>
                    <a:schemeClr val="bg1">
                      <a:alpha val="50000"/>
                    </a:schemeClr>
                  </a:solidFill>
                </a:ln>
                <a:no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a:t>3</a:t>
            </a:r>
            <a:endParaRPr lang="en-IN"/>
          </a:p>
        </p:txBody>
      </p:sp>
      <p:grpSp>
        <p:nvGrpSpPr>
          <p:cNvPr id="2" name="Group 1">
            <a:extLst>
              <a:ext uri="{FF2B5EF4-FFF2-40B4-BE49-F238E27FC236}">
                <a16:creationId xmlns:a16="http://schemas.microsoft.com/office/drawing/2014/main" id="{263A9E44-A3C3-7442-B48B-1A8863882FFF}"/>
              </a:ext>
            </a:extLst>
          </p:cNvPr>
          <p:cNvGrpSpPr/>
          <p:nvPr userDrawn="1"/>
        </p:nvGrpSpPr>
        <p:grpSpPr>
          <a:xfrm>
            <a:off x="5956278" y="792396"/>
            <a:ext cx="5582014" cy="5582014"/>
            <a:chOff x="6464300" y="894962"/>
            <a:chExt cx="7835726" cy="7835726"/>
          </a:xfrm>
        </p:grpSpPr>
        <p:sp>
          <p:nvSpPr>
            <p:cNvPr id="18" name="Oval 17">
              <a:extLst>
                <a:ext uri="{FF2B5EF4-FFF2-40B4-BE49-F238E27FC236}">
                  <a16:creationId xmlns:a16="http://schemas.microsoft.com/office/drawing/2014/main" id="{9B8F27CF-46E2-90E4-F87F-22C878EF9006}"/>
                </a:ext>
              </a:extLst>
            </p:cNvPr>
            <p:cNvSpPr/>
            <p:nvPr userDrawn="1"/>
          </p:nvSpPr>
          <p:spPr>
            <a:xfrm>
              <a:off x="6464300" y="894962"/>
              <a:ext cx="7835726" cy="7835726"/>
            </a:xfrm>
            <a:prstGeom prst="ellipse">
              <a:avLst/>
            </a:prstGeom>
            <a:solidFill>
              <a:srgbClr val="2E2E38">
                <a:alpha val="80000"/>
              </a:srgbClr>
            </a:solidFill>
            <a:ln w="9525" cap="flat" cmpd="sng" algn="ctr">
              <a:solidFill>
                <a:srgbClr val="FFE600"/>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pic>
          <p:nvPicPr>
            <p:cNvPr id="4" name="Picture 3">
              <a:extLst>
                <a:ext uri="{FF2B5EF4-FFF2-40B4-BE49-F238E27FC236}">
                  <a16:creationId xmlns:a16="http://schemas.microsoft.com/office/drawing/2014/main" id="{76D08DC6-2B8D-2FEA-2201-6D1F3A3D6893}"/>
                </a:ext>
              </a:extLst>
            </p:cNvPr>
            <p:cNvPicPr>
              <a:picLocks/>
            </p:cNvPicPr>
            <p:nvPr userDrawn="1"/>
          </p:nvPicPr>
          <p:blipFill>
            <a:blip r:embed="rId4" cstate="screen">
              <a:extLst>
                <a:ext uri="{28A0092B-C50C-407E-A947-70E740481C1C}">
                  <a14:useLocalDpi xmlns:a14="http://schemas.microsoft.com/office/drawing/2010/main"/>
                </a:ext>
              </a:extLst>
            </a:blip>
            <a:srcRect/>
            <a:stretch/>
          </p:blipFill>
          <p:spPr>
            <a:xfrm>
              <a:off x="6641926" y="1072588"/>
              <a:ext cx="7480475" cy="7480475"/>
            </a:xfrm>
            <a:prstGeom prst="ellipse">
              <a:avLst/>
            </a:prstGeom>
          </p:spPr>
        </p:pic>
      </p:grpSp>
      <p:cxnSp>
        <p:nvCxnSpPr>
          <p:cNvPr id="20" name="Straight Connector 19">
            <a:extLst>
              <a:ext uri="{FF2B5EF4-FFF2-40B4-BE49-F238E27FC236}">
                <a16:creationId xmlns:a16="http://schemas.microsoft.com/office/drawing/2014/main" id="{DACF1758-865C-CA6C-AAB2-D028580AC97A}"/>
              </a:ext>
            </a:extLst>
          </p:cNvPr>
          <p:cNvCxnSpPr>
            <a:cxnSpLocks/>
          </p:cNvCxnSpPr>
          <p:nvPr userDrawn="1"/>
        </p:nvCxnSpPr>
        <p:spPr>
          <a:xfrm>
            <a:off x="0" y="6741392"/>
            <a:ext cx="12191999" cy="0"/>
          </a:xfrm>
          <a:prstGeom prst="line">
            <a:avLst/>
          </a:prstGeom>
          <a:ln w="6350" cap="flat" cmpd="sng" algn="ctr">
            <a:solidFill>
              <a:schemeClr val="bg1">
                <a:alpha val="3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1E131B4-4576-AB99-ED30-E7F9714BFAE1}"/>
              </a:ext>
            </a:extLst>
          </p:cNvPr>
          <p:cNvCxnSpPr>
            <a:cxnSpLocks/>
          </p:cNvCxnSpPr>
          <p:nvPr userDrawn="1"/>
        </p:nvCxnSpPr>
        <p:spPr>
          <a:xfrm>
            <a:off x="5887092" y="6741392"/>
            <a:ext cx="417816" cy="0"/>
          </a:xfrm>
          <a:prstGeom prst="line">
            <a:avLst/>
          </a:prstGeom>
          <a:ln w="15875" cap="flat" cmpd="sng" algn="ctr">
            <a:solidFill>
              <a:srgbClr val="74748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944161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2_Standard slide_no bullet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8643B9-646F-79E1-3DA1-3EA89A90BF69}"/>
              </a:ext>
            </a:extLst>
          </p:cNvPr>
          <p:cNvPicPr>
            <a:picLocks noChangeAspect="1"/>
          </p:cNvPicPr>
          <p:nvPr userDrawn="1"/>
        </p:nvPicPr>
        <p:blipFill>
          <a:blip r:embed="rId2" cstate="screen">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 name="Rectangle 5">
            <a:extLst>
              <a:ext uri="{FF2B5EF4-FFF2-40B4-BE49-F238E27FC236}">
                <a16:creationId xmlns:a16="http://schemas.microsoft.com/office/drawing/2014/main" id="{052D7209-0328-C2D1-5E61-32FAB18EF5A8}"/>
              </a:ext>
            </a:extLst>
          </p:cNvPr>
          <p:cNvSpPr>
            <a:spLocks/>
          </p:cNvSpPr>
          <p:nvPr userDrawn="1"/>
        </p:nvSpPr>
        <p:spPr>
          <a:xfrm>
            <a:off x="0" y="0"/>
            <a:ext cx="12192000" cy="6858000"/>
          </a:xfrm>
          <a:prstGeom prst="rect">
            <a:avLst/>
          </a:prstGeom>
          <a:solidFill>
            <a:srgbClr val="2E2E38">
              <a:alpha val="80000"/>
            </a:srgb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grpSp>
        <p:nvGrpSpPr>
          <p:cNvPr id="7" name="Group 4">
            <a:extLst>
              <a:ext uri="{FF2B5EF4-FFF2-40B4-BE49-F238E27FC236}">
                <a16:creationId xmlns:a16="http://schemas.microsoft.com/office/drawing/2014/main" id="{61F27248-8723-A061-1F09-A6BC142B502F}"/>
              </a:ext>
            </a:extLst>
          </p:cNvPr>
          <p:cNvGrpSpPr>
            <a:grpSpLocks noChangeAspect="1"/>
          </p:cNvGrpSpPr>
          <p:nvPr userDrawn="1"/>
        </p:nvGrpSpPr>
        <p:grpSpPr bwMode="auto">
          <a:xfrm>
            <a:off x="11281250" y="153981"/>
            <a:ext cx="303055" cy="311150"/>
            <a:chOff x="7110" y="4004"/>
            <a:chExt cx="191" cy="196"/>
          </a:xfrm>
        </p:grpSpPr>
        <p:sp>
          <p:nvSpPr>
            <p:cNvPr id="8" name="Freeform 5">
              <a:extLst>
                <a:ext uri="{FF2B5EF4-FFF2-40B4-BE49-F238E27FC236}">
                  <a16:creationId xmlns:a16="http://schemas.microsoft.com/office/drawing/2014/main" id="{AFAD10C3-B6B6-E271-AAFB-FC8007A4665A}"/>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9" name="Freeform 6">
              <a:extLst>
                <a:ext uri="{FF2B5EF4-FFF2-40B4-BE49-F238E27FC236}">
                  <a16:creationId xmlns:a16="http://schemas.microsoft.com/office/drawing/2014/main" id="{FA670CFE-FAD4-4CFE-09D0-22FF337222C0}"/>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0" name="Freeform 7">
              <a:extLst>
                <a:ext uri="{FF2B5EF4-FFF2-40B4-BE49-F238E27FC236}">
                  <a16:creationId xmlns:a16="http://schemas.microsoft.com/office/drawing/2014/main" id="{9A8B8770-0AA6-69D3-F20A-7C3D09A4CD12}"/>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grpSp>
      <p:sp>
        <p:nvSpPr>
          <p:cNvPr id="11" name="Slide Number Placeholder 4">
            <a:extLst>
              <a:ext uri="{FF2B5EF4-FFF2-40B4-BE49-F238E27FC236}">
                <a16:creationId xmlns:a16="http://schemas.microsoft.com/office/drawing/2014/main" id="{7C98785B-0FE0-DE9A-DFA3-90431F55072D}"/>
              </a:ext>
            </a:extLst>
          </p:cNvPr>
          <p:cNvSpPr txBox="1">
            <a:spLocks/>
          </p:cNvSpPr>
          <p:nvPr userDrawn="1"/>
        </p:nvSpPr>
        <p:spPr>
          <a:xfrm>
            <a:off x="181210" y="271070"/>
            <a:ext cx="303055" cy="180000"/>
          </a:xfrm>
          <a:prstGeom prst="rect">
            <a:avLst/>
          </a:prstGeom>
        </p:spPr>
        <p:txBody>
          <a:bodyPr lIns="0" rIns="0" anchor="ctr" anchorCtr="0"/>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fld id="{D5B76411-544C-4F9A-8EDE-9EEB2BD21F95}" type="slidenum">
              <a:rPr lang="en-IN" sz="1000" smtClean="0"/>
              <a:pPr lvl="0" algn="ctr"/>
              <a:t>‹#›</a:t>
            </a:fld>
            <a:endParaRPr sz="1000" dirty="0"/>
          </a:p>
        </p:txBody>
      </p:sp>
      <p:sp>
        <p:nvSpPr>
          <p:cNvPr id="12" name="Slide Number Placeholder 4">
            <a:extLst>
              <a:ext uri="{FF2B5EF4-FFF2-40B4-BE49-F238E27FC236}">
                <a16:creationId xmlns:a16="http://schemas.microsoft.com/office/drawing/2014/main" id="{07DF00E3-9491-22E1-4A7D-C6B77C9259FE}"/>
              </a:ext>
            </a:extLst>
          </p:cNvPr>
          <p:cNvSpPr txBox="1">
            <a:spLocks/>
          </p:cNvSpPr>
          <p:nvPr userDrawn="1"/>
        </p:nvSpPr>
        <p:spPr>
          <a:xfrm>
            <a:off x="607695" y="265106"/>
            <a:ext cx="1205465" cy="180000"/>
          </a:xfrm>
          <a:prstGeom prst="rect">
            <a:avLst/>
          </a:prstGeom>
        </p:spPr>
        <p:txBody>
          <a:bodyPr lIns="0" rIns="0" anchor="ctr" anchorCtr="0"/>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l"/>
            <a:r>
              <a:rPr lang="en-IN" sz="800" dirty="0">
                <a:latin typeface="+mn-lt"/>
              </a:rPr>
              <a:t>WBA AI Training Part 2</a:t>
            </a:r>
            <a:endParaRPr sz="800" dirty="0">
              <a:latin typeface="+mn-lt"/>
            </a:endParaRPr>
          </a:p>
        </p:txBody>
      </p:sp>
      <p:sp>
        <p:nvSpPr>
          <p:cNvPr id="13" name="Oval 12">
            <a:extLst>
              <a:ext uri="{FF2B5EF4-FFF2-40B4-BE49-F238E27FC236}">
                <a16:creationId xmlns:a16="http://schemas.microsoft.com/office/drawing/2014/main" id="{48F9197D-9A7D-F47E-A212-07218D62091F}"/>
              </a:ext>
            </a:extLst>
          </p:cNvPr>
          <p:cNvSpPr/>
          <p:nvPr userDrawn="1"/>
        </p:nvSpPr>
        <p:spPr>
          <a:xfrm>
            <a:off x="177400" y="209543"/>
            <a:ext cx="303055" cy="303055"/>
          </a:xfrm>
          <a:prstGeom prst="ellipse">
            <a:avLst/>
          </a:prstGeom>
          <a:noFill/>
          <a:ln w="9525" cap="flat" cmpd="sng" algn="ctr">
            <a:solidFill>
              <a:srgbClr val="C4C4C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cxnSp>
        <p:nvCxnSpPr>
          <p:cNvPr id="14" name="Straight Connector 13">
            <a:extLst>
              <a:ext uri="{FF2B5EF4-FFF2-40B4-BE49-F238E27FC236}">
                <a16:creationId xmlns:a16="http://schemas.microsoft.com/office/drawing/2014/main" id="{44086518-99D4-F8D8-56FA-B4163975CBD1}"/>
              </a:ext>
            </a:extLst>
          </p:cNvPr>
          <p:cNvCxnSpPr>
            <a:cxnSpLocks/>
            <a:stCxn id="12" idx="3"/>
          </p:cNvCxnSpPr>
          <p:nvPr userDrawn="1"/>
        </p:nvCxnSpPr>
        <p:spPr>
          <a:xfrm>
            <a:off x="1813160" y="355106"/>
            <a:ext cx="9211011" cy="0"/>
          </a:xfrm>
          <a:prstGeom prst="line">
            <a:avLst/>
          </a:prstGeom>
          <a:ln w="6350" cap="flat" cmpd="sng" algn="ctr">
            <a:solidFill>
              <a:schemeClr val="bg1">
                <a:alpha val="5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01F9A1B-E3DA-A3D8-78B2-46C984EA2108}"/>
              </a:ext>
            </a:extLst>
          </p:cNvPr>
          <p:cNvCxnSpPr>
            <a:cxnSpLocks/>
          </p:cNvCxnSpPr>
          <p:nvPr userDrawn="1"/>
        </p:nvCxnSpPr>
        <p:spPr>
          <a:xfrm>
            <a:off x="614896" y="3255007"/>
            <a:ext cx="917498" cy="0"/>
          </a:xfrm>
          <a:prstGeom prst="line">
            <a:avLst/>
          </a:prstGeom>
          <a:ln w="25400" cap="rnd" cmpd="sng" algn="ctr">
            <a:solidFill>
              <a:srgbClr val="FFE60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614896" y="3385837"/>
            <a:ext cx="4917223" cy="2026983"/>
          </a:xfrm>
        </p:spPr>
        <p:txBody>
          <a:bodyPr vert="horz" lIns="0" tIns="0" rIns="0" bIns="0" rtlCol="0" anchor="t" anchorCtr="0">
            <a:noAutofit/>
          </a:bodyPr>
          <a:lstStyle>
            <a:lvl1pPr marL="0" indent="0">
              <a:buNone/>
              <a:defRPr kumimoji="0" lang="en-IN" sz="3600"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a:t>Chapter Title</a:t>
            </a:r>
            <a:endParaRPr lang="en-IN"/>
          </a:p>
        </p:txBody>
      </p:sp>
      <p:sp>
        <p:nvSpPr>
          <p:cNvPr id="19" name="Text Placeholder 4">
            <a:extLst>
              <a:ext uri="{FF2B5EF4-FFF2-40B4-BE49-F238E27FC236}">
                <a16:creationId xmlns:a16="http://schemas.microsoft.com/office/drawing/2014/main" id="{0649E384-B5E1-4FEF-DCD0-1FFA17318775}"/>
              </a:ext>
            </a:extLst>
          </p:cNvPr>
          <p:cNvSpPr>
            <a:spLocks noGrp="1"/>
          </p:cNvSpPr>
          <p:nvPr>
            <p:ph type="body" sz="quarter" idx="11" hasCustomPrompt="1"/>
          </p:nvPr>
        </p:nvSpPr>
        <p:spPr>
          <a:xfrm>
            <a:off x="589407" y="1616122"/>
            <a:ext cx="1489230" cy="1769715"/>
          </a:xfrm>
        </p:spPr>
        <p:txBody>
          <a:bodyPr vert="horz" wrap="square" lIns="0" tIns="0" rIns="0" bIns="0" rtlCol="0" anchor="t" anchorCtr="0">
            <a:spAutoFit/>
          </a:bodyPr>
          <a:lstStyle>
            <a:lvl1pPr marL="0" indent="0">
              <a:buNone/>
              <a:defRPr kumimoji="0" lang="en-IN" sz="11500" b="1" i="0" u="none" strike="noStrike" cap="none" spc="0" normalizeH="0" baseline="0" dirty="0">
                <a:ln w="6350">
                  <a:solidFill>
                    <a:schemeClr val="bg1">
                      <a:alpha val="50000"/>
                    </a:schemeClr>
                  </a:solidFill>
                </a:ln>
                <a:no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a:t>4</a:t>
            </a:r>
            <a:endParaRPr lang="en-IN"/>
          </a:p>
        </p:txBody>
      </p:sp>
      <p:grpSp>
        <p:nvGrpSpPr>
          <p:cNvPr id="2" name="Group 1">
            <a:extLst>
              <a:ext uri="{FF2B5EF4-FFF2-40B4-BE49-F238E27FC236}">
                <a16:creationId xmlns:a16="http://schemas.microsoft.com/office/drawing/2014/main" id="{263A9E44-A3C3-7442-B48B-1A8863882FFF}"/>
              </a:ext>
            </a:extLst>
          </p:cNvPr>
          <p:cNvGrpSpPr/>
          <p:nvPr userDrawn="1"/>
        </p:nvGrpSpPr>
        <p:grpSpPr>
          <a:xfrm>
            <a:off x="5956278" y="792396"/>
            <a:ext cx="5582014" cy="5582014"/>
            <a:chOff x="6464300" y="894962"/>
            <a:chExt cx="7835726" cy="7835726"/>
          </a:xfrm>
        </p:grpSpPr>
        <p:sp>
          <p:nvSpPr>
            <p:cNvPr id="18" name="Oval 17">
              <a:extLst>
                <a:ext uri="{FF2B5EF4-FFF2-40B4-BE49-F238E27FC236}">
                  <a16:creationId xmlns:a16="http://schemas.microsoft.com/office/drawing/2014/main" id="{9B8F27CF-46E2-90E4-F87F-22C878EF9006}"/>
                </a:ext>
              </a:extLst>
            </p:cNvPr>
            <p:cNvSpPr/>
            <p:nvPr userDrawn="1"/>
          </p:nvSpPr>
          <p:spPr>
            <a:xfrm>
              <a:off x="6464300" y="894962"/>
              <a:ext cx="7835726" cy="7835726"/>
            </a:xfrm>
            <a:prstGeom prst="ellipse">
              <a:avLst/>
            </a:prstGeom>
            <a:solidFill>
              <a:srgbClr val="2E2E38">
                <a:alpha val="80000"/>
              </a:srgbClr>
            </a:solidFill>
            <a:ln w="9525" cap="flat" cmpd="sng" algn="ctr">
              <a:solidFill>
                <a:srgbClr val="FFE600"/>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pic>
          <p:nvPicPr>
            <p:cNvPr id="4" name="Picture 3">
              <a:extLst>
                <a:ext uri="{FF2B5EF4-FFF2-40B4-BE49-F238E27FC236}">
                  <a16:creationId xmlns:a16="http://schemas.microsoft.com/office/drawing/2014/main" id="{76D08DC6-2B8D-2FEA-2201-6D1F3A3D6893}"/>
                </a:ext>
              </a:extLst>
            </p:cNvPr>
            <p:cNvPicPr>
              <a:picLocks/>
            </p:cNvPicPr>
            <p:nvPr userDrawn="1"/>
          </p:nvPicPr>
          <p:blipFill>
            <a:blip r:embed="rId4" cstate="screen">
              <a:extLst>
                <a:ext uri="{28A0092B-C50C-407E-A947-70E740481C1C}">
                  <a14:useLocalDpi xmlns:a14="http://schemas.microsoft.com/office/drawing/2010/main"/>
                </a:ext>
              </a:extLst>
            </a:blip>
            <a:srcRect/>
            <a:stretch/>
          </p:blipFill>
          <p:spPr>
            <a:xfrm>
              <a:off x="6641926" y="1072588"/>
              <a:ext cx="7480475" cy="7480475"/>
            </a:xfrm>
            <a:prstGeom prst="ellipse">
              <a:avLst/>
            </a:prstGeom>
          </p:spPr>
        </p:pic>
      </p:grpSp>
      <p:cxnSp>
        <p:nvCxnSpPr>
          <p:cNvPr id="20" name="Straight Connector 19">
            <a:extLst>
              <a:ext uri="{FF2B5EF4-FFF2-40B4-BE49-F238E27FC236}">
                <a16:creationId xmlns:a16="http://schemas.microsoft.com/office/drawing/2014/main" id="{215DE787-D66D-55C7-1C2B-542A0DF5E22B}"/>
              </a:ext>
            </a:extLst>
          </p:cNvPr>
          <p:cNvCxnSpPr>
            <a:cxnSpLocks/>
          </p:cNvCxnSpPr>
          <p:nvPr userDrawn="1"/>
        </p:nvCxnSpPr>
        <p:spPr>
          <a:xfrm>
            <a:off x="0" y="6741392"/>
            <a:ext cx="12191999" cy="0"/>
          </a:xfrm>
          <a:prstGeom prst="line">
            <a:avLst/>
          </a:prstGeom>
          <a:ln w="6350" cap="flat" cmpd="sng" algn="ctr">
            <a:solidFill>
              <a:schemeClr val="bg1">
                <a:alpha val="3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D973E6A-BE9D-2433-CA52-80592D181469}"/>
              </a:ext>
            </a:extLst>
          </p:cNvPr>
          <p:cNvCxnSpPr>
            <a:cxnSpLocks/>
          </p:cNvCxnSpPr>
          <p:nvPr userDrawn="1"/>
        </p:nvCxnSpPr>
        <p:spPr>
          <a:xfrm>
            <a:off x="5887092" y="6741392"/>
            <a:ext cx="417816" cy="0"/>
          </a:xfrm>
          <a:prstGeom prst="line">
            <a:avLst/>
          </a:prstGeom>
          <a:ln w="15875" cap="flat" cmpd="sng" algn="ctr">
            <a:solidFill>
              <a:srgbClr val="74748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1963631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1_Standard slide_no bullet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8643B9-646F-79E1-3DA1-3EA89A90BF69}"/>
              </a:ext>
            </a:extLst>
          </p:cNvPr>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0" y="0"/>
            <a:ext cx="12199201" cy="6858000"/>
          </a:xfrm>
          <a:prstGeom prst="rect">
            <a:avLst/>
          </a:prstGeom>
        </p:spPr>
      </p:pic>
      <p:sp>
        <p:nvSpPr>
          <p:cNvPr id="6" name="Rectangle 5">
            <a:extLst>
              <a:ext uri="{FF2B5EF4-FFF2-40B4-BE49-F238E27FC236}">
                <a16:creationId xmlns:a16="http://schemas.microsoft.com/office/drawing/2014/main" id="{052D7209-0328-C2D1-5E61-32FAB18EF5A8}"/>
              </a:ext>
            </a:extLst>
          </p:cNvPr>
          <p:cNvSpPr>
            <a:spLocks/>
          </p:cNvSpPr>
          <p:nvPr userDrawn="1"/>
        </p:nvSpPr>
        <p:spPr>
          <a:xfrm>
            <a:off x="-1" y="0"/>
            <a:ext cx="12199201" cy="6858000"/>
          </a:xfrm>
          <a:prstGeom prst="rect">
            <a:avLst/>
          </a:prstGeom>
          <a:solidFill>
            <a:srgbClr val="2E2E38">
              <a:alpha val="80000"/>
            </a:srgb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grpSp>
        <p:nvGrpSpPr>
          <p:cNvPr id="7" name="Group 4">
            <a:extLst>
              <a:ext uri="{FF2B5EF4-FFF2-40B4-BE49-F238E27FC236}">
                <a16:creationId xmlns:a16="http://schemas.microsoft.com/office/drawing/2014/main" id="{61F27248-8723-A061-1F09-A6BC142B502F}"/>
              </a:ext>
            </a:extLst>
          </p:cNvPr>
          <p:cNvGrpSpPr>
            <a:grpSpLocks noChangeAspect="1"/>
          </p:cNvGrpSpPr>
          <p:nvPr userDrawn="1"/>
        </p:nvGrpSpPr>
        <p:grpSpPr bwMode="auto">
          <a:xfrm>
            <a:off x="11281250" y="153981"/>
            <a:ext cx="303055" cy="311150"/>
            <a:chOff x="7110" y="4004"/>
            <a:chExt cx="191" cy="196"/>
          </a:xfrm>
        </p:grpSpPr>
        <p:sp>
          <p:nvSpPr>
            <p:cNvPr id="8" name="Freeform 5">
              <a:extLst>
                <a:ext uri="{FF2B5EF4-FFF2-40B4-BE49-F238E27FC236}">
                  <a16:creationId xmlns:a16="http://schemas.microsoft.com/office/drawing/2014/main" id="{AFAD10C3-B6B6-E271-AAFB-FC8007A4665A}"/>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9" name="Freeform 6">
              <a:extLst>
                <a:ext uri="{FF2B5EF4-FFF2-40B4-BE49-F238E27FC236}">
                  <a16:creationId xmlns:a16="http://schemas.microsoft.com/office/drawing/2014/main" id="{FA670CFE-FAD4-4CFE-09D0-22FF337222C0}"/>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0" name="Freeform 7">
              <a:extLst>
                <a:ext uri="{FF2B5EF4-FFF2-40B4-BE49-F238E27FC236}">
                  <a16:creationId xmlns:a16="http://schemas.microsoft.com/office/drawing/2014/main" id="{9A8B8770-0AA6-69D3-F20A-7C3D09A4CD12}"/>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grpSp>
      <p:sp>
        <p:nvSpPr>
          <p:cNvPr id="11" name="Slide Number Placeholder 4">
            <a:extLst>
              <a:ext uri="{FF2B5EF4-FFF2-40B4-BE49-F238E27FC236}">
                <a16:creationId xmlns:a16="http://schemas.microsoft.com/office/drawing/2014/main" id="{7C98785B-0FE0-DE9A-DFA3-90431F55072D}"/>
              </a:ext>
            </a:extLst>
          </p:cNvPr>
          <p:cNvSpPr txBox="1">
            <a:spLocks/>
          </p:cNvSpPr>
          <p:nvPr userDrawn="1"/>
        </p:nvSpPr>
        <p:spPr>
          <a:xfrm>
            <a:off x="181210" y="271070"/>
            <a:ext cx="303055" cy="180000"/>
          </a:xfrm>
          <a:prstGeom prst="rect">
            <a:avLst/>
          </a:prstGeom>
        </p:spPr>
        <p:txBody>
          <a:bodyPr lIns="0" rIns="0" anchor="ctr" anchorCtr="0"/>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fld id="{D5B76411-544C-4F9A-8EDE-9EEB2BD21F95}" type="slidenum">
              <a:rPr lang="en-IN" sz="1000" smtClean="0"/>
              <a:pPr lvl="0" algn="ctr"/>
              <a:t>‹#›</a:t>
            </a:fld>
            <a:endParaRPr sz="1000" dirty="0"/>
          </a:p>
        </p:txBody>
      </p:sp>
      <p:sp>
        <p:nvSpPr>
          <p:cNvPr id="12" name="Slide Number Placeholder 4">
            <a:extLst>
              <a:ext uri="{FF2B5EF4-FFF2-40B4-BE49-F238E27FC236}">
                <a16:creationId xmlns:a16="http://schemas.microsoft.com/office/drawing/2014/main" id="{07DF00E3-9491-22E1-4A7D-C6B77C9259FE}"/>
              </a:ext>
            </a:extLst>
          </p:cNvPr>
          <p:cNvSpPr txBox="1">
            <a:spLocks/>
          </p:cNvSpPr>
          <p:nvPr userDrawn="1"/>
        </p:nvSpPr>
        <p:spPr>
          <a:xfrm>
            <a:off x="607695" y="265106"/>
            <a:ext cx="1205465" cy="180000"/>
          </a:xfrm>
          <a:prstGeom prst="rect">
            <a:avLst/>
          </a:prstGeom>
        </p:spPr>
        <p:txBody>
          <a:bodyPr lIns="0" rIns="0" anchor="ctr" anchorCtr="0"/>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l"/>
            <a:r>
              <a:rPr lang="en-IN" sz="800" dirty="0">
                <a:latin typeface="+mn-lt"/>
              </a:rPr>
              <a:t>WBA AI Training Part 2</a:t>
            </a:r>
            <a:endParaRPr sz="800" dirty="0">
              <a:latin typeface="+mn-lt"/>
            </a:endParaRPr>
          </a:p>
        </p:txBody>
      </p:sp>
      <p:sp>
        <p:nvSpPr>
          <p:cNvPr id="13" name="Oval 12">
            <a:extLst>
              <a:ext uri="{FF2B5EF4-FFF2-40B4-BE49-F238E27FC236}">
                <a16:creationId xmlns:a16="http://schemas.microsoft.com/office/drawing/2014/main" id="{48F9197D-9A7D-F47E-A212-07218D62091F}"/>
              </a:ext>
            </a:extLst>
          </p:cNvPr>
          <p:cNvSpPr/>
          <p:nvPr userDrawn="1"/>
        </p:nvSpPr>
        <p:spPr>
          <a:xfrm>
            <a:off x="177400" y="209543"/>
            <a:ext cx="303055" cy="303055"/>
          </a:xfrm>
          <a:prstGeom prst="ellipse">
            <a:avLst/>
          </a:prstGeom>
          <a:noFill/>
          <a:ln w="9525" cap="flat" cmpd="sng" algn="ctr">
            <a:solidFill>
              <a:srgbClr val="C4C4C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cxnSp>
        <p:nvCxnSpPr>
          <p:cNvPr id="14" name="Straight Connector 13">
            <a:extLst>
              <a:ext uri="{FF2B5EF4-FFF2-40B4-BE49-F238E27FC236}">
                <a16:creationId xmlns:a16="http://schemas.microsoft.com/office/drawing/2014/main" id="{44086518-99D4-F8D8-56FA-B4163975CBD1}"/>
              </a:ext>
            </a:extLst>
          </p:cNvPr>
          <p:cNvCxnSpPr>
            <a:cxnSpLocks/>
            <a:stCxn id="12" idx="3"/>
          </p:cNvCxnSpPr>
          <p:nvPr userDrawn="1"/>
        </p:nvCxnSpPr>
        <p:spPr>
          <a:xfrm>
            <a:off x="1813160" y="355106"/>
            <a:ext cx="9211011" cy="0"/>
          </a:xfrm>
          <a:prstGeom prst="line">
            <a:avLst/>
          </a:prstGeom>
          <a:ln w="6350" cap="flat" cmpd="sng" algn="ctr">
            <a:solidFill>
              <a:schemeClr val="bg1">
                <a:alpha val="5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01F9A1B-E3DA-A3D8-78B2-46C984EA2108}"/>
              </a:ext>
            </a:extLst>
          </p:cNvPr>
          <p:cNvCxnSpPr>
            <a:cxnSpLocks/>
          </p:cNvCxnSpPr>
          <p:nvPr userDrawn="1"/>
        </p:nvCxnSpPr>
        <p:spPr>
          <a:xfrm>
            <a:off x="614896" y="3255007"/>
            <a:ext cx="917498" cy="0"/>
          </a:xfrm>
          <a:prstGeom prst="line">
            <a:avLst/>
          </a:prstGeom>
          <a:ln w="25400" cap="rnd" cmpd="sng" algn="ctr">
            <a:solidFill>
              <a:srgbClr val="FFE60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614896" y="3385837"/>
            <a:ext cx="4917223" cy="2026983"/>
          </a:xfrm>
        </p:spPr>
        <p:txBody>
          <a:bodyPr vert="horz" lIns="0" tIns="0" rIns="0" bIns="0" rtlCol="0" anchor="t" anchorCtr="0">
            <a:noAutofit/>
          </a:bodyPr>
          <a:lstStyle>
            <a:lvl1pPr marL="0" indent="0">
              <a:buNone/>
              <a:defRPr kumimoji="0" lang="en-IN" sz="3600"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a:t>Chapter Title</a:t>
            </a:r>
            <a:endParaRPr lang="en-IN"/>
          </a:p>
        </p:txBody>
      </p:sp>
      <p:sp>
        <p:nvSpPr>
          <p:cNvPr id="19" name="Text Placeholder 4">
            <a:extLst>
              <a:ext uri="{FF2B5EF4-FFF2-40B4-BE49-F238E27FC236}">
                <a16:creationId xmlns:a16="http://schemas.microsoft.com/office/drawing/2014/main" id="{0649E384-B5E1-4FEF-DCD0-1FFA17318775}"/>
              </a:ext>
            </a:extLst>
          </p:cNvPr>
          <p:cNvSpPr>
            <a:spLocks noGrp="1"/>
          </p:cNvSpPr>
          <p:nvPr>
            <p:ph type="body" sz="quarter" idx="11" hasCustomPrompt="1"/>
          </p:nvPr>
        </p:nvSpPr>
        <p:spPr>
          <a:xfrm>
            <a:off x="589407" y="1616122"/>
            <a:ext cx="1489230" cy="1769715"/>
          </a:xfrm>
        </p:spPr>
        <p:txBody>
          <a:bodyPr vert="horz" wrap="square" lIns="0" tIns="0" rIns="0" bIns="0" rtlCol="0" anchor="t" anchorCtr="0">
            <a:spAutoFit/>
          </a:bodyPr>
          <a:lstStyle>
            <a:lvl1pPr marL="0" indent="0">
              <a:buNone/>
              <a:defRPr kumimoji="0" lang="en-IN" sz="11500" b="1" i="0" u="none" strike="noStrike" cap="none" spc="0" normalizeH="0" baseline="0" dirty="0">
                <a:ln w="6350">
                  <a:solidFill>
                    <a:schemeClr val="bg1">
                      <a:alpha val="50000"/>
                    </a:schemeClr>
                  </a:solidFill>
                </a:ln>
                <a:no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a:t>5</a:t>
            </a:r>
            <a:endParaRPr lang="en-IN"/>
          </a:p>
        </p:txBody>
      </p:sp>
      <p:grpSp>
        <p:nvGrpSpPr>
          <p:cNvPr id="2" name="Group 1">
            <a:extLst>
              <a:ext uri="{FF2B5EF4-FFF2-40B4-BE49-F238E27FC236}">
                <a16:creationId xmlns:a16="http://schemas.microsoft.com/office/drawing/2014/main" id="{263A9E44-A3C3-7442-B48B-1A8863882FFF}"/>
              </a:ext>
            </a:extLst>
          </p:cNvPr>
          <p:cNvGrpSpPr/>
          <p:nvPr userDrawn="1"/>
        </p:nvGrpSpPr>
        <p:grpSpPr>
          <a:xfrm>
            <a:off x="5956278" y="792396"/>
            <a:ext cx="5582014" cy="5582014"/>
            <a:chOff x="6464300" y="894962"/>
            <a:chExt cx="7835726" cy="7835726"/>
          </a:xfrm>
        </p:grpSpPr>
        <p:sp>
          <p:nvSpPr>
            <p:cNvPr id="18" name="Oval 17">
              <a:extLst>
                <a:ext uri="{FF2B5EF4-FFF2-40B4-BE49-F238E27FC236}">
                  <a16:creationId xmlns:a16="http://schemas.microsoft.com/office/drawing/2014/main" id="{9B8F27CF-46E2-90E4-F87F-22C878EF9006}"/>
                </a:ext>
              </a:extLst>
            </p:cNvPr>
            <p:cNvSpPr/>
            <p:nvPr userDrawn="1"/>
          </p:nvSpPr>
          <p:spPr>
            <a:xfrm>
              <a:off x="6464300" y="894962"/>
              <a:ext cx="7835726" cy="7835726"/>
            </a:xfrm>
            <a:prstGeom prst="ellipse">
              <a:avLst/>
            </a:prstGeom>
            <a:solidFill>
              <a:srgbClr val="2E2E38">
                <a:alpha val="80000"/>
              </a:srgbClr>
            </a:solidFill>
            <a:ln w="9525" cap="flat" cmpd="sng" algn="ctr">
              <a:solidFill>
                <a:srgbClr val="FFE600"/>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pic>
          <p:nvPicPr>
            <p:cNvPr id="4" name="Picture 3">
              <a:extLst>
                <a:ext uri="{FF2B5EF4-FFF2-40B4-BE49-F238E27FC236}">
                  <a16:creationId xmlns:a16="http://schemas.microsoft.com/office/drawing/2014/main" id="{76D08DC6-2B8D-2FEA-2201-6D1F3A3D6893}"/>
                </a:ext>
              </a:extLst>
            </p:cNvPr>
            <p:cNvPicPr>
              <a:picLocks/>
            </p:cNvPicPr>
            <p:nvPr userDrawn="1"/>
          </p:nvPicPr>
          <p:blipFill>
            <a:blip r:embed="rId4" cstate="screen">
              <a:extLst>
                <a:ext uri="{28A0092B-C50C-407E-A947-70E740481C1C}">
                  <a14:useLocalDpi xmlns:a14="http://schemas.microsoft.com/office/drawing/2010/main"/>
                </a:ext>
              </a:extLst>
            </a:blip>
            <a:srcRect/>
            <a:stretch/>
          </p:blipFill>
          <p:spPr>
            <a:xfrm>
              <a:off x="6641926" y="1072588"/>
              <a:ext cx="7480475" cy="7480475"/>
            </a:xfrm>
            <a:prstGeom prst="ellipse">
              <a:avLst/>
            </a:prstGeom>
          </p:spPr>
        </p:pic>
      </p:grpSp>
      <p:cxnSp>
        <p:nvCxnSpPr>
          <p:cNvPr id="20" name="Straight Connector 19">
            <a:extLst>
              <a:ext uri="{FF2B5EF4-FFF2-40B4-BE49-F238E27FC236}">
                <a16:creationId xmlns:a16="http://schemas.microsoft.com/office/drawing/2014/main" id="{246C57D9-D716-FE20-8421-3DF29BF69897}"/>
              </a:ext>
            </a:extLst>
          </p:cNvPr>
          <p:cNvCxnSpPr>
            <a:cxnSpLocks/>
          </p:cNvCxnSpPr>
          <p:nvPr userDrawn="1"/>
        </p:nvCxnSpPr>
        <p:spPr>
          <a:xfrm>
            <a:off x="0" y="6741392"/>
            <a:ext cx="12191999" cy="0"/>
          </a:xfrm>
          <a:prstGeom prst="line">
            <a:avLst/>
          </a:prstGeom>
          <a:ln w="6350" cap="flat" cmpd="sng" algn="ctr">
            <a:solidFill>
              <a:schemeClr val="bg1">
                <a:alpha val="3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1D39F2D5-0E7F-597A-5A1F-07F9008A09F2}"/>
              </a:ext>
            </a:extLst>
          </p:cNvPr>
          <p:cNvCxnSpPr>
            <a:cxnSpLocks/>
          </p:cNvCxnSpPr>
          <p:nvPr userDrawn="1"/>
        </p:nvCxnSpPr>
        <p:spPr>
          <a:xfrm>
            <a:off x="5887092" y="6741392"/>
            <a:ext cx="417816" cy="0"/>
          </a:xfrm>
          <a:prstGeom prst="line">
            <a:avLst/>
          </a:prstGeom>
          <a:ln w="15875" cap="flat" cmpd="sng" algn="ctr">
            <a:solidFill>
              <a:srgbClr val="74748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45597625"/>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image" Target="../media/image1.jpeg"/><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95FA0B14-1420-E986-5BDC-2E15F2D85847}"/>
              </a:ext>
            </a:extLst>
          </p:cNvPr>
          <p:cNvPicPr>
            <a:picLocks noChangeAspect="1"/>
          </p:cNvPicPr>
          <p:nvPr userDrawn="1"/>
        </p:nvPicPr>
        <p:blipFill rotWithShape="1">
          <a:blip r:embed="rId57" cstate="screen">
            <a:extLst>
              <a:ext uri="{28A0092B-C50C-407E-A947-70E740481C1C}">
                <a14:useLocalDpi xmlns:a14="http://schemas.microsoft.com/office/drawing/2010/main"/>
              </a:ext>
            </a:extLst>
          </a:blip>
          <a:srcRect/>
          <a:stretch/>
        </p:blipFill>
        <p:spPr>
          <a:xfrm>
            <a:off x="1" y="0"/>
            <a:ext cx="12191998" cy="1536700"/>
          </a:xfrm>
          <a:prstGeom prst="rect">
            <a:avLst/>
          </a:prstGeom>
        </p:spPr>
      </p:pic>
      <p:sp>
        <p:nvSpPr>
          <p:cNvPr id="24" name="Rectangle 23">
            <a:extLst>
              <a:ext uri="{FF2B5EF4-FFF2-40B4-BE49-F238E27FC236}">
                <a16:creationId xmlns:a16="http://schemas.microsoft.com/office/drawing/2014/main" id="{2E21F227-DD52-F67F-61B7-740014069C86}"/>
              </a:ext>
            </a:extLst>
          </p:cNvPr>
          <p:cNvSpPr>
            <a:spLocks/>
          </p:cNvSpPr>
          <p:nvPr userDrawn="1"/>
        </p:nvSpPr>
        <p:spPr>
          <a:xfrm>
            <a:off x="0" y="0"/>
            <a:ext cx="12192000" cy="1536699"/>
          </a:xfrm>
          <a:prstGeom prst="rect">
            <a:avLst/>
          </a:prstGeom>
          <a:gradFill>
            <a:gsLst>
              <a:gs pos="0">
                <a:schemeClr val="tx1">
                  <a:alpha val="34000"/>
                </a:schemeClr>
              </a:gs>
              <a:gs pos="99000">
                <a:schemeClr val="tx1">
                  <a:alpha val="93000"/>
                </a:schemeClr>
              </a:gs>
            </a:gsLst>
            <a:lin ang="10800000" scaled="0"/>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sp>
        <p:nvSpPr>
          <p:cNvPr id="2" name="Title Placeholder 1"/>
          <p:cNvSpPr>
            <a:spLocks noGrp="1"/>
          </p:cNvSpPr>
          <p:nvPr>
            <p:ph type="title"/>
          </p:nvPr>
        </p:nvSpPr>
        <p:spPr>
          <a:xfrm>
            <a:off x="609601" y="818687"/>
            <a:ext cx="10972800" cy="59088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609601" y="1662407"/>
            <a:ext cx="10972800"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9" name="Group 4">
            <a:extLst>
              <a:ext uri="{FF2B5EF4-FFF2-40B4-BE49-F238E27FC236}">
                <a16:creationId xmlns:a16="http://schemas.microsoft.com/office/drawing/2014/main" id="{ABA621AC-91DA-4716-A450-56540FA39C36}"/>
              </a:ext>
            </a:extLst>
          </p:cNvPr>
          <p:cNvGrpSpPr>
            <a:grpSpLocks noChangeAspect="1"/>
          </p:cNvGrpSpPr>
          <p:nvPr userDrawn="1"/>
        </p:nvGrpSpPr>
        <p:grpSpPr bwMode="auto">
          <a:xfrm>
            <a:off x="11281250" y="153981"/>
            <a:ext cx="303055" cy="311150"/>
            <a:chOff x="7110" y="4004"/>
            <a:chExt cx="191" cy="196"/>
          </a:xfrm>
        </p:grpSpPr>
        <p:sp>
          <p:nvSpPr>
            <p:cNvPr id="11" name="Freeform 5">
              <a:extLst>
                <a:ext uri="{FF2B5EF4-FFF2-40B4-BE49-F238E27FC236}">
                  <a16:creationId xmlns:a16="http://schemas.microsoft.com/office/drawing/2014/main" id="{76E3EDA9-8EAC-419E-8C11-4E1E158AF762}"/>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2" name="Freeform 6">
              <a:extLst>
                <a:ext uri="{FF2B5EF4-FFF2-40B4-BE49-F238E27FC236}">
                  <a16:creationId xmlns:a16="http://schemas.microsoft.com/office/drawing/2014/main" id="{ABC9458B-8C2C-486A-8ADE-F22CCDC7E2F8}"/>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4" name="Freeform 7">
              <a:extLst>
                <a:ext uri="{FF2B5EF4-FFF2-40B4-BE49-F238E27FC236}">
                  <a16:creationId xmlns:a16="http://schemas.microsoft.com/office/drawing/2014/main" id="{0A4C4046-69B4-41DA-AA2E-E892AEC9AA9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grpSp>
      <p:sp>
        <p:nvSpPr>
          <p:cNvPr id="22" name="Slide Number Placeholder 4">
            <a:extLst>
              <a:ext uri="{FF2B5EF4-FFF2-40B4-BE49-F238E27FC236}">
                <a16:creationId xmlns:a16="http://schemas.microsoft.com/office/drawing/2014/main" id="{4093714F-0FA2-4BA1-B9F9-9CDFDB009BD4}"/>
              </a:ext>
            </a:extLst>
          </p:cNvPr>
          <p:cNvSpPr txBox="1">
            <a:spLocks/>
          </p:cNvSpPr>
          <p:nvPr userDrawn="1"/>
        </p:nvSpPr>
        <p:spPr>
          <a:xfrm>
            <a:off x="181210" y="271070"/>
            <a:ext cx="303055" cy="180000"/>
          </a:xfrm>
          <a:prstGeom prst="rect">
            <a:avLst/>
          </a:prstGeom>
        </p:spPr>
        <p:txBody>
          <a:bodyPr lIns="0" rIns="0" anchor="ctr" anchorCtr="0"/>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fld id="{D5B76411-544C-4F9A-8EDE-9EEB2BD21F95}" type="slidenum">
              <a:rPr lang="en-IN" sz="1000" smtClean="0"/>
              <a:pPr lvl="0" algn="ctr"/>
              <a:t>‹#›</a:t>
            </a:fld>
            <a:endParaRPr sz="1000" dirty="0"/>
          </a:p>
        </p:txBody>
      </p:sp>
      <p:sp>
        <p:nvSpPr>
          <p:cNvPr id="5" name="Slide Number Placeholder 4">
            <a:extLst>
              <a:ext uri="{FF2B5EF4-FFF2-40B4-BE49-F238E27FC236}">
                <a16:creationId xmlns:a16="http://schemas.microsoft.com/office/drawing/2014/main" id="{2EBCE2C4-3CAA-5392-56EA-10CC185753EA}"/>
              </a:ext>
            </a:extLst>
          </p:cNvPr>
          <p:cNvSpPr txBox="1">
            <a:spLocks/>
          </p:cNvSpPr>
          <p:nvPr userDrawn="1"/>
        </p:nvSpPr>
        <p:spPr>
          <a:xfrm>
            <a:off x="607695" y="265106"/>
            <a:ext cx="1205465" cy="180000"/>
          </a:xfrm>
          <a:prstGeom prst="rect">
            <a:avLst/>
          </a:prstGeom>
        </p:spPr>
        <p:txBody>
          <a:bodyPr lIns="0" rIns="0" anchor="ctr" anchorCtr="0"/>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l"/>
            <a:r>
              <a:rPr lang="en-US" sz="800" dirty="0">
                <a:latin typeface="+mn-lt"/>
              </a:rPr>
              <a:t>Severance tax</a:t>
            </a:r>
          </a:p>
        </p:txBody>
      </p:sp>
      <p:sp>
        <p:nvSpPr>
          <p:cNvPr id="6" name="Oval 5">
            <a:extLst>
              <a:ext uri="{FF2B5EF4-FFF2-40B4-BE49-F238E27FC236}">
                <a16:creationId xmlns:a16="http://schemas.microsoft.com/office/drawing/2014/main" id="{AAF2870A-C307-9EE5-9978-B387FE75149E}"/>
              </a:ext>
            </a:extLst>
          </p:cNvPr>
          <p:cNvSpPr/>
          <p:nvPr userDrawn="1"/>
        </p:nvSpPr>
        <p:spPr>
          <a:xfrm>
            <a:off x="177400" y="209543"/>
            <a:ext cx="303055" cy="303055"/>
          </a:xfrm>
          <a:prstGeom prst="ellipse">
            <a:avLst/>
          </a:prstGeom>
          <a:noFill/>
          <a:ln w="9525" cap="flat" cmpd="sng" algn="ctr">
            <a:solidFill>
              <a:srgbClr val="C4C4C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cxnSp>
        <p:nvCxnSpPr>
          <p:cNvPr id="8" name="Straight Connector 7">
            <a:extLst>
              <a:ext uri="{FF2B5EF4-FFF2-40B4-BE49-F238E27FC236}">
                <a16:creationId xmlns:a16="http://schemas.microsoft.com/office/drawing/2014/main" id="{37B9F869-0850-6E18-57C1-5636B507D9EE}"/>
              </a:ext>
            </a:extLst>
          </p:cNvPr>
          <p:cNvCxnSpPr>
            <a:cxnSpLocks/>
          </p:cNvCxnSpPr>
          <p:nvPr userDrawn="1"/>
        </p:nvCxnSpPr>
        <p:spPr>
          <a:xfrm>
            <a:off x="1338349" y="355106"/>
            <a:ext cx="9685822" cy="0"/>
          </a:xfrm>
          <a:prstGeom prst="line">
            <a:avLst/>
          </a:prstGeom>
          <a:ln w="6350" cap="flat" cmpd="sng" algn="ctr">
            <a:solidFill>
              <a:schemeClr val="bg1">
                <a:alpha val="5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A683AFD-93DC-981D-0A5A-420FAA0C844A}"/>
              </a:ext>
            </a:extLst>
          </p:cNvPr>
          <p:cNvCxnSpPr>
            <a:cxnSpLocks/>
          </p:cNvCxnSpPr>
          <p:nvPr userDrawn="1"/>
        </p:nvCxnSpPr>
        <p:spPr>
          <a:xfrm>
            <a:off x="609600" y="647700"/>
            <a:ext cx="417816" cy="0"/>
          </a:xfrm>
          <a:prstGeom prst="line">
            <a:avLst/>
          </a:prstGeom>
          <a:ln w="9525" cap="flat" cmpd="sng" algn="ctr">
            <a:solidFill>
              <a:srgbClr val="FFE60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FABE9F31-A32C-8FEC-C241-098D79D87265}"/>
              </a:ext>
            </a:extLst>
          </p:cNvPr>
          <p:cNvCxnSpPr>
            <a:cxnSpLocks/>
          </p:cNvCxnSpPr>
          <p:nvPr userDrawn="1"/>
        </p:nvCxnSpPr>
        <p:spPr>
          <a:xfrm>
            <a:off x="0" y="6741392"/>
            <a:ext cx="12191999" cy="0"/>
          </a:xfrm>
          <a:prstGeom prst="line">
            <a:avLst/>
          </a:prstGeom>
          <a:ln w="6350" cap="flat" cmpd="sng" algn="ctr">
            <a:solidFill>
              <a:schemeClr val="bg1">
                <a:alpha val="3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97448EA6-C786-CC8F-8071-0ABA9011094C}"/>
              </a:ext>
            </a:extLst>
          </p:cNvPr>
          <p:cNvCxnSpPr>
            <a:cxnSpLocks/>
          </p:cNvCxnSpPr>
          <p:nvPr userDrawn="1"/>
        </p:nvCxnSpPr>
        <p:spPr>
          <a:xfrm>
            <a:off x="5887092" y="6741392"/>
            <a:ext cx="417816" cy="0"/>
          </a:xfrm>
          <a:prstGeom prst="line">
            <a:avLst/>
          </a:prstGeom>
          <a:ln w="15875" cap="flat" cmpd="sng" algn="ctr">
            <a:solidFill>
              <a:srgbClr val="74748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17197711"/>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9" r:id="rId3"/>
    <p:sldLayoutId id="2147483768" r:id="rId4"/>
    <p:sldLayoutId id="2147483773" r:id="rId5"/>
    <p:sldLayoutId id="2147483795" r:id="rId6"/>
    <p:sldLayoutId id="2147483796" r:id="rId7"/>
    <p:sldLayoutId id="2147483798" r:id="rId8"/>
    <p:sldLayoutId id="2147483799" r:id="rId9"/>
    <p:sldLayoutId id="2147483800" r:id="rId10"/>
    <p:sldLayoutId id="2147483801" r:id="rId11"/>
    <p:sldLayoutId id="2147483802" r:id="rId12"/>
    <p:sldLayoutId id="2147483803" r:id="rId13"/>
    <p:sldLayoutId id="2147483804" r:id="rId14"/>
    <p:sldLayoutId id="2147483811" r:id="rId15"/>
    <p:sldLayoutId id="2147483812" r:id="rId16"/>
    <p:sldLayoutId id="2147483806" r:id="rId17"/>
    <p:sldLayoutId id="2147483807" r:id="rId18"/>
    <p:sldLayoutId id="2147483808" r:id="rId19"/>
    <p:sldLayoutId id="2147483809" r:id="rId20"/>
    <p:sldLayoutId id="2147483810" r:id="rId21"/>
    <p:sldLayoutId id="2147483797" r:id="rId22"/>
    <p:sldLayoutId id="2147483794" r:id="rId23"/>
    <p:sldLayoutId id="2147483766" r:id="rId24"/>
    <p:sldLayoutId id="2147483767" r:id="rId25"/>
    <p:sldLayoutId id="2147483770" r:id="rId26"/>
    <p:sldLayoutId id="2147483771" r:id="rId27"/>
    <p:sldLayoutId id="2147483772" r:id="rId28"/>
    <p:sldLayoutId id="2147483793" r:id="rId29"/>
    <p:sldLayoutId id="2147483774" r:id="rId30"/>
    <p:sldLayoutId id="2147483775" r:id="rId31"/>
    <p:sldLayoutId id="2147483776" r:id="rId32"/>
    <p:sldLayoutId id="2147483777" r:id="rId33"/>
    <p:sldLayoutId id="2147483778" r:id="rId34"/>
    <p:sldLayoutId id="2147483779" r:id="rId35"/>
    <p:sldLayoutId id="2147483780" r:id="rId36"/>
    <p:sldLayoutId id="2147483781" r:id="rId37"/>
    <p:sldLayoutId id="2147483782" r:id="rId38"/>
    <p:sldLayoutId id="2147483783" r:id="rId39"/>
    <p:sldLayoutId id="2147483784" r:id="rId40"/>
    <p:sldLayoutId id="2147483785" r:id="rId41"/>
    <p:sldLayoutId id="2147483786" r:id="rId42"/>
    <p:sldLayoutId id="2147483787" r:id="rId43"/>
    <p:sldLayoutId id="2147483788" r:id="rId44"/>
    <p:sldLayoutId id="2147483789" r:id="rId45"/>
    <p:sldLayoutId id="2147483790" r:id="rId46"/>
    <p:sldLayoutId id="2147483791" r:id="rId47"/>
    <p:sldLayoutId id="2147483792" r:id="rId48"/>
    <p:sldLayoutId id="2147483660" r:id="rId49"/>
    <p:sldLayoutId id="2147483662" r:id="rId50"/>
    <p:sldLayoutId id="2147483664" r:id="rId51"/>
    <p:sldLayoutId id="2147483666" r:id="rId52"/>
    <p:sldLayoutId id="2147483669" r:id="rId53"/>
    <p:sldLayoutId id="2147483670" r:id="rId54"/>
    <p:sldLayoutId id="2147483813" r:id="rId55"/>
  </p:sldLayoutIdLst>
  <p:hf hdr="0"/>
  <p:txStyles>
    <p:titleStyle>
      <a:lvl1pPr algn="l" defTabSz="913943" rtl="0" eaLnBrk="1" latinLnBrk="0" hangingPunct="1">
        <a:lnSpc>
          <a:spcPct val="85000"/>
        </a:lnSpc>
        <a:spcBef>
          <a:spcPct val="0"/>
        </a:spcBef>
        <a:buNone/>
        <a:defRPr sz="2399" b="0" kern="1200">
          <a:solidFill>
            <a:schemeClr val="bg1"/>
          </a:solidFill>
          <a:latin typeface="EYInterstate Light" panose="02000506000000020004" pitchFamily="2" charset="0"/>
          <a:ea typeface="+mj-ea"/>
          <a:cs typeface="Arial" pitchFamily="34" charset="0"/>
        </a:defRPr>
      </a:lvl1pPr>
    </p:titleStyle>
    <p:bodyStyle>
      <a:lvl1pPr marL="274320" indent="-274320" algn="l" defTabSz="913943" rtl="0" eaLnBrk="1" latinLnBrk="0" hangingPunct="1">
        <a:spcBef>
          <a:spcPct val="20000"/>
        </a:spcBef>
        <a:buClr>
          <a:schemeClr val="tx2"/>
        </a:buClr>
        <a:buSzPct val="100000"/>
        <a:buFont typeface="EYInterstate" panose="02000503020000020004" pitchFamily="2" charset="0"/>
        <a:buChar char="•"/>
        <a:defRPr sz="1999" kern="1200">
          <a:solidFill>
            <a:schemeClr val="bg1"/>
          </a:solidFill>
          <a:latin typeface="EYInterstate Light" panose="02000506000000020004" pitchFamily="2" charset="0"/>
          <a:ea typeface="+mn-ea"/>
          <a:cs typeface="+mn-cs"/>
        </a:defRPr>
      </a:lvl1pPr>
      <a:lvl2pPr marL="548640" indent="-274320" algn="l" defTabSz="913943" rtl="0" eaLnBrk="1" latinLnBrk="0" hangingPunct="1">
        <a:spcBef>
          <a:spcPct val="20000"/>
        </a:spcBef>
        <a:buClr>
          <a:schemeClr val="tx2"/>
        </a:buClr>
        <a:buSzPct val="100000"/>
        <a:buFont typeface="EYInterstate" panose="02000503020000020004" pitchFamily="2" charset="0"/>
        <a:buChar char="•"/>
        <a:defRPr sz="1799" kern="1200">
          <a:solidFill>
            <a:schemeClr val="bg1"/>
          </a:solidFill>
          <a:latin typeface="EYInterstate Light" panose="02000506000000020004" pitchFamily="2" charset="0"/>
          <a:ea typeface="+mn-ea"/>
          <a:cs typeface="+mn-cs"/>
        </a:defRPr>
      </a:lvl2pPr>
      <a:lvl3pPr marL="822960" indent="-274320" algn="l" defTabSz="913943" rtl="0" eaLnBrk="1" latinLnBrk="0" hangingPunct="1">
        <a:spcBef>
          <a:spcPct val="20000"/>
        </a:spcBef>
        <a:buClr>
          <a:schemeClr val="tx2"/>
        </a:buClr>
        <a:buSzPct val="100000"/>
        <a:buFont typeface="EYInterstate" panose="02000503020000020004" pitchFamily="2" charset="0"/>
        <a:buChar char="•"/>
        <a:defRPr sz="1599" kern="1200">
          <a:solidFill>
            <a:schemeClr val="bg1"/>
          </a:solidFill>
          <a:latin typeface="EYInterstate Light" panose="02000506000000020004" pitchFamily="2" charset="0"/>
          <a:ea typeface="+mn-ea"/>
          <a:cs typeface="+mn-cs"/>
        </a:defRPr>
      </a:lvl3pPr>
      <a:lvl4pPr marL="1097280" indent="-274320" algn="l" defTabSz="913943" rtl="0" eaLnBrk="1" latinLnBrk="0" hangingPunct="1">
        <a:spcBef>
          <a:spcPct val="20000"/>
        </a:spcBef>
        <a:buClr>
          <a:schemeClr val="tx2"/>
        </a:buClr>
        <a:buSzPct val="100000"/>
        <a:buFont typeface="EYInterstate" panose="02000503020000020004" pitchFamily="2" charset="0"/>
        <a:buChar char="•"/>
        <a:defRPr sz="1399" kern="1200">
          <a:solidFill>
            <a:schemeClr val="bg1"/>
          </a:solidFill>
          <a:latin typeface="EYInterstate Light" panose="02000506000000020004" pitchFamily="2" charset="0"/>
          <a:ea typeface="+mn-ea"/>
          <a:cs typeface="+mn-cs"/>
        </a:defRPr>
      </a:lvl4pPr>
      <a:lvl5pPr marL="1371600" indent="-274320" algn="l" defTabSz="913943" rtl="0" eaLnBrk="1" latinLnBrk="0" hangingPunct="1">
        <a:spcBef>
          <a:spcPct val="20000"/>
        </a:spcBef>
        <a:buClr>
          <a:schemeClr val="tx2"/>
        </a:buClr>
        <a:buSzPct val="100000"/>
        <a:buFont typeface="EYInterstate" panose="02000503020000020004" pitchFamily="2"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296" userDrawn="1">
          <p15:clr>
            <a:srgbClr val="F26B43"/>
          </p15:clr>
        </p15:guide>
        <p15:guide id="2" orient="horz" pos="1047" userDrawn="1">
          <p15:clr>
            <a:srgbClr val="F26B43"/>
          </p15:clr>
        </p15:guide>
        <p15:guide id="3" pos="384" userDrawn="1">
          <p15:clr>
            <a:srgbClr val="F26B43"/>
          </p15:clr>
        </p15:guide>
        <p15:guide id="4" orient="horz" pos="513" userDrawn="1">
          <p15:clr>
            <a:srgbClr val="F26B43"/>
          </p15:clr>
        </p15:guide>
        <p15:guide id="5" orient="horz" pos="408" userDrawn="1">
          <p15:clr>
            <a:srgbClr val="F26B43"/>
          </p15:clr>
        </p15:guide>
        <p15:guide id="6" orient="horz" pos="417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33.emf"/><Relationship Id="rId4" Type="http://schemas.openxmlformats.org/officeDocument/2006/relationships/oleObject" Target="../embeddings/oleObject1.bin"/></Relationships>
</file>

<file path=ppt/slides/_rels/slide10.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image" Target="../media/image39.png"/><Relationship Id="rId7" Type="http://schemas.openxmlformats.org/officeDocument/2006/relationships/image" Target="../media/image43.png"/><Relationship Id="rId2" Type="http://schemas.openxmlformats.org/officeDocument/2006/relationships/hyperlink" Target="../1712-2511637%20EY%20Severence%20Tax%20Services%20Video.pptx" TargetMode="External"/><Relationship Id="rId1" Type="http://schemas.openxmlformats.org/officeDocument/2006/relationships/slideLayout" Target="../slideLayouts/slideLayout3.xml"/><Relationship Id="rId6" Type="http://schemas.openxmlformats.org/officeDocument/2006/relationships/image" Target="../media/image42.svg"/><Relationship Id="rId5" Type="http://schemas.openxmlformats.org/officeDocument/2006/relationships/image" Target="../media/image41.png"/><Relationship Id="rId4" Type="http://schemas.openxmlformats.org/officeDocument/2006/relationships/image" Target="../media/image40.sv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5.xml"/></Relationships>
</file>

<file path=ppt/slides/_rels/slide3.xml.rels><?xml version="1.0" encoding="UTF-8" standalone="yes"?>
<Relationships xmlns="http://schemas.openxmlformats.org/package/2006/relationships"><Relationship Id="rId3" Type="http://schemas.openxmlformats.org/officeDocument/2006/relationships/image" Target="../media/image34.png"/><Relationship Id="rId7" Type="http://schemas.openxmlformats.org/officeDocument/2006/relationships/image" Target="../media/image37.jpeg"/><Relationship Id="rId2" Type="http://schemas.openxmlformats.org/officeDocument/2006/relationships/notesSlide" Target="../notesSlides/notesSlide3.xml"/><Relationship Id="rId1" Type="http://schemas.openxmlformats.org/officeDocument/2006/relationships/slideLayout" Target="../slideLayouts/slideLayout23.xml"/><Relationship Id="rId6" Type="http://schemas.microsoft.com/office/2007/relationships/hdphoto" Target="../media/hdphoto12.wdp"/><Relationship Id="rId5" Type="http://schemas.openxmlformats.org/officeDocument/2006/relationships/image" Target="../media/image36.png"/><Relationship Id="rId4" Type="http://schemas.openxmlformats.org/officeDocument/2006/relationships/image" Target="../media/image35.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microsoft.com/office/2018/10/relationships/comments" Target="../comments/modernComment_7FFFFFFF_DDE68B9B.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7EAC0A6-AB72-46B5-FE4F-EB058BD7869A}"/>
              </a:ext>
            </a:extLst>
          </p:cNvPr>
          <p:cNvGraphicFramePr>
            <a:graphicFrameLocks noChangeAspect="1"/>
          </p:cNvGraphicFramePr>
          <p:nvPr>
            <p:custDataLst>
              <p:tags r:id="rId1"/>
            </p:custData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3" name="Object 2" hidden="1">
                        <a:extLst>
                          <a:ext uri="{FF2B5EF4-FFF2-40B4-BE49-F238E27FC236}">
                            <a16:creationId xmlns:a16="http://schemas.microsoft.com/office/drawing/2014/main" id="{E7EAC0A6-AB72-46B5-FE4F-EB058BD7869A}"/>
                          </a:ext>
                        </a:extLst>
                      </p:cNvPr>
                      <p:cNvPicPr/>
                      <p:nvPr/>
                    </p:nvPicPr>
                    <p:blipFill>
                      <a:blip r:embed="rId5"/>
                      <a:stretch>
                        <a:fillRect/>
                      </a:stretch>
                    </p:blipFill>
                    <p:spPr>
                      <a:xfrm>
                        <a:off x="1587" y="3372"/>
                        <a:ext cx="1587" cy="1587"/>
                      </a:xfrm>
                      <a:prstGeom prst="rect">
                        <a:avLst/>
                      </a:prstGeom>
                    </p:spPr>
                  </p:pic>
                </p:oleObj>
              </mc:Fallback>
            </mc:AlternateContent>
          </a:graphicData>
        </a:graphic>
      </p:graphicFrame>
      <p:sp>
        <p:nvSpPr>
          <p:cNvPr id="16" name="Title 1"/>
          <p:cNvSpPr>
            <a:spLocks noGrp="1"/>
          </p:cNvSpPr>
          <p:nvPr>
            <p:ph type="ctrTitle"/>
          </p:nvPr>
        </p:nvSpPr>
        <p:spPr>
          <a:xfrm>
            <a:off x="774700" y="1954213"/>
            <a:ext cx="4327525" cy="598487"/>
          </a:xfrm>
        </p:spPr>
        <p:txBody>
          <a:bodyPr vert="horz"/>
          <a:lstStyle/>
          <a:p>
            <a:r>
              <a:rPr lang="en-US" dirty="0">
                <a:solidFill>
                  <a:srgbClr val="2E2E38"/>
                </a:solidFill>
              </a:rPr>
              <a:t>Severance tax</a:t>
            </a:r>
            <a:br>
              <a:rPr lang="en-US" dirty="0">
                <a:solidFill>
                  <a:srgbClr val="2E2E38"/>
                </a:solidFill>
              </a:rPr>
            </a:br>
            <a:r>
              <a:rPr lang="en-US" sz="1800" dirty="0">
                <a:solidFill>
                  <a:srgbClr val="2E2E38"/>
                </a:solidFill>
              </a:rPr>
              <a:t>Ernst &amp; Young LLP</a:t>
            </a:r>
            <a:br>
              <a:rPr lang="en-US" dirty="0">
                <a:solidFill>
                  <a:srgbClr val="2E2E38"/>
                </a:solidFill>
              </a:rPr>
            </a:br>
            <a:endParaRPr lang="en-US" dirty="0">
              <a:solidFill>
                <a:srgbClr val="2E2E38"/>
              </a:solidFill>
            </a:endParaRPr>
          </a:p>
        </p:txBody>
      </p:sp>
      <p:sp>
        <p:nvSpPr>
          <p:cNvPr id="17" name="Subtitle 2"/>
          <p:cNvSpPr>
            <a:spLocks noGrp="1"/>
          </p:cNvSpPr>
          <p:nvPr>
            <p:ph type="subTitle" idx="1"/>
          </p:nvPr>
        </p:nvSpPr>
        <p:spPr>
          <a:xfrm>
            <a:off x="774700" y="3013869"/>
            <a:ext cx="4327525" cy="830262"/>
          </a:xfrm>
        </p:spPr>
        <p:txBody>
          <a:bodyPr>
            <a:normAutofit/>
          </a:bodyPr>
          <a:lstStyle/>
          <a:p>
            <a:r>
              <a:rPr lang="en-CA" sz="1600" dirty="0">
                <a:solidFill>
                  <a:srgbClr val="2E2E38"/>
                </a:solidFill>
              </a:rPr>
              <a:t>COPAS San Antonio </a:t>
            </a:r>
          </a:p>
          <a:p>
            <a:r>
              <a:rPr lang="en-CA" sz="1600" b="1" dirty="0">
                <a:solidFill>
                  <a:srgbClr val="2E2E38"/>
                </a:solidFill>
              </a:rPr>
              <a:t>October 2024 meeting</a:t>
            </a:r>
          </a:p>
        </p:txBody>
      </p:sp>
      <p:sp>
        <p:nvSpPr>
          <p:cNvPr id="5" name="Title 1">
            <a:extLst>
              <a:ext uri="{FF2B5EF4-FFF2-40B4-BE49-F238E27FC236}">
                <a16:creationId xmlns:a16="http://schemas.microsoft.com/office/drawing/2014/main" id="{DE740270-1033-B300-3239-413F3C48D6EB}"/>
              </a:ext>
            </a:extLst>
          </p:cNvPr>
          <p:cNvSpPr txBox="1">
            <a:spLocks/>
          </p:cNvSpPr>
          <p:nvPr/>
        </p:nvSpPr>
        <p:spPr>
          <a:xfrm>
            <a:off x="774700" y="2790729"/>
            <a:ext cx="4327525" cy="303111"/>
          </a:xfrm>
          <a:prstGeom prst="rect">
            <a:avLst/>
          </a:prstGeom>
        </p:spPr>
        <p:txBody>
          <a:bodyPr vert="horz" lIns="0" tIns="0" rIns="0" bIns="0" rtlCol="0" anchor="t" anchorCtr="0">
            <a:noAutofit/>
          </a:bodyPr>
          <a:lstStyle>
            <a:lvl1pPr algn="l" defTabSz="913943" rtl="0" eaLnBrk="1" latinLnBrk="0" hangingPunct="1">
              <a:lnSpc>
                <a:spcPct val="85000"/>
              </a:lnSpc>
              <a:spcBef>
                <a:spcPct val="0"/>
              </a:spcBef>
              <a:buNone/>
              <a:defRPr sz="2999" b="0" kern="1200">
                <a:solidFill>
                  <a:schemeClr val="tx1"/>
                </a:solidFill>
                <a:latin typeface="EYInterstate Light" panose="02000506000000020004" pitchFamily="2" charset="0"/>
                <a:ea typeface="+mj-ea"/>
                <a:cs typeface="Arial" pitchFamily="34" charset="0"/>
              </a:defRPr>
            </a:lvl1pPr>
          </a:lstStyle>
          <a:p>
            <a:pPr>
              <a:spcBef>
                <a:spcPct val="20000"/>
              </a:spcBef>
              <a:spcAft>
                <a:spcPts val="1199"/>
              </a:spcAft>
              <a:buClr>
                <a:schemeClr val="tx2"/>
              </a:buClr>
              <a:buSzPct val="100000"/>
            </a:pPr>
            <a:r>
              <a:rPr lang="en-US" sz="1600" dirty="0">
                <a:solidFill>
                  <a:srgbClr val="2E2E38"/>
                </a:solidFill>
                <a:latin typeface="EYInterstate" panose="02000503020000020004" pitchFamily="2" charset="0"/>
                <a:ea typeface="+mn-ea"/>
              </a:rPr>
              <a:t>Texas and Oklahoma</a:t>
            </a:r>
          </a:p>
        </p:txBody>
      </p:sp>
    </p:spTree>
    <p:extLst>
      <p:ext uri="{BB962C8B-B14F-4D97-AF65-F5344CB8AC3E}">
        <p14:creationId xmlns:p14="http://schemas.microsoft.com/office/powerpoint/2010/main" val="100727090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2" name="Rectangle 281">
            <a:hlinkClick r:id="rId2" action="ppaction://hlinkpres?slideindex=1&amp;slidetitle="/>
            <a:extLst>
              <a:ext uri="{FF2B5EF4-FFF2-40B4-BE49-F238E27FC236}">
                <a16:creationId xmlns:a16="http://schemas.microsoft.com/office/drawing/2014/main" id="{D70CC31E-C057-906A-312F-0641C92F117B}"/>
              </a:ext>
            </a:extLst>
          </p:cNvPr>
          <p:cNvSpPr>
            <a:spLocks/>
          </p:cNvSpPr>
          <p:nvPr/>
        </p:nvSpPr>
        <p:spPr>
          <a:xfrm>
            <a:off x="10637736" y="3002011"/>
            <a:ext cx="944664" cy="201653"/>
          </a:xfrm>
          <a:prstGeom prst="rect">
            <a:avLst/>
          </a:prstGeom>
          <a:noFill/>
          <a:ln w="9525" cap="flat" cmpd="sng" algn="ctr">
            <a:solidFill>
              <a:srgbClr val="C4C4CD"/>
            </a:solidFill>
            <a:prstDash val="lgDash"/>
            <a:round/>
            <a:headEnd type="none" w="med" len="med"/>
            <a:tailEnd type="none" w="med" len="med"/>
          </a:ln>
          <a:effectLst/>
        </p:spPr>
        <p:txBody>
          <a:bodyPr rtlCol="0" anchor="ctr" anchorCtr="1"/>
          <a:lstStyle/>
          <a:p>
            <a:pPr algn="ctr">
              <a:defRPr/>
            </a:pPr>
            <a:r>
              <a:rPr lang="en-US" sz="700" b="1" dirty="0">
                <a:solidFill>
                  <a:schemeClr val="bg1"/>
                </a:solidFill>
              </a:rPr>
              <a:t>Field</a:t>
            </a:r>
            <a:r>
              <a:rPr lang="en-US" sz="700" dirty="0">
                <a:solidFill>
                  <a:schemeClr val="bg1"/>
                </a:solidFill>
              </a:rPr>
              <a:t> </a:t>
            </a:r>
            <a:r>
              <a:rPr lang="en-US" sz="700" b="1" dirty="0">
                <a:solidFill>
                  <a:schemeClr val="bg1"/>
                </a:solidFill>
              </a:rPr>
              <a:t>video</a:t>
            </a:r>
          </a:p>
        </p:txBody>
      </p:sp>
      <p:sp>
        <p:nvSpPr>
          <p:cNvPr id="2" name="Title 1">
            <a:extLst>
              <a:ext uri="{FF2B5EF4-FFF2-40B4-BE49-F238E27FC236}">
                <a16:creationId xmlns:a16="http://schemas.microsoft.com/office/drawing/2014/main" id="{746C0E2A-4574-1F62-174F-ADF7E06ACBBD}"/>
              </a:ext>
            </a:extLst>
          </p:cNvPr>
          <p:cNvSpPr>
            <a:spLocks noGrp="1"/>
          </p:cNvSpPr>
          <p:nvPr>
            <p:ph type="title"/>
          </p:nvPr>
        </p:nvSpPr>
        <p:spPr/>
        <p:txBody>
          <a:bodyPr/>
          <a:lstStyle/>
          <a:p>
            <a:r>
              <a:rPr lang="en-US" dirty="0"/>
              <a:t>Netback calculation: valuation point</a:t>
            </a:r>
          </a:p>
        </p:txBody>
      </p:sp>
      <p:sp>
        <p:nvSpPr>
          <p:cNvPr id="3" name="TextBox 2">
            <a:extLst>
              <a:ext uri="{FF2B5EF4-FFF2-40B4-BE49-F238E27FC236}">
                <a16:creationId xmlns:a16="http://schemas.microsoft.com/office/drawing/2014/main" id="{52F6E9A5-B5CB-6DD0-3629-A64F8EE43089}"/>
              </a:ext>
            </a:extLst>
          </p:cNvPr>
          <p:cNvSpPr txBox="1">
            <a:spLocks/>
          </p:cNvSpPr>
          <p:nvPr/>
        </p:nvSpPr>
        <p:spPr>
          <a:xfrm>
            <a:off x="10637736" y="1966362"/>
            <a:ext cx="944664" cy="201653"/>
          </a:xfrm>
          <a:prstGeom prst="rect">
            <a:avLst/>
          </a:prstGeom>
          <a:noFill/>
          <a:ln w="9525" cap="flat" cmpd="sng" algn="ctr">
            <a:solidFill>
              <a:srgbClr val="FFE600"/>
            </a:solidFill>
            <a:prstDash val="solid"/>
            <a:round/>
            <a:headEnd type="none" w="med" len="med"/>
            <a:tailEnd type="none" w="med" len="med"/>
          </a:ln>
          <a:extLst>
            <a:ext uri="{909E8E84-426E-40DD-AFC4-6F175D3DCCD1}">
              <a14:hiddenFill xmlns:a14="http://schemas.microsoft.com/office/drawing/2010/main">
                <a:solidFill>
                  <a:srgbClr val="333333"/>
                </a:solidFill>
              </a14:hiddenFill>
            </a:ext>
          </a:extLst>
        </p:spPr>
        <p:txBody>
          <a:bodyPr wrap="square" lIns="34290" tIns="34290" rIns="34290" bIns="34290" rtlCol="0" anchor="ctr" anchorCtr="0">
            <a:noAutofit/>
          </a:bodyPr>
          <a:lstStyle>
            <a:defPPr>
              <a:defRPr lang="en-US"/>
            </a:defPPr>
            <a:lvl1pPr>
              <a:lnSpc>
                <a:spcPct val="85000"/>
              </a:lnSpc>
              <a:spcAft>
                <a:spcPts val="600"/>
              </a:spcAft>
              <a:buClr>
                <a:schemeClr val="accent2"/>
              </a:buClr>
              <a:buSzPct val="70000"/>
              <a:defRPr sz="900" b="1">
                <a:latin typeface="+mj-lt"/>
              </a:defRPr>
            </a:lvl1pPr>
          </a:lstStyle>
          <a:p>
            <a:pPr marL="0" marR="0" lvl="0" indent="0" algn="ctr" defTabSz="914400" eaLnBrk="1" fontAlgn="auto" latinLnBrk="0" hangingPunct="1">
              <a:lnSpc>
                <a:spcPct val="100000"/>
              </a:lnSpc>
              <a:spcBef>
                <a:spcPts val="0"/>
              </a:spcBef>
              <a:spcAft>
                <a:spcPts val="0"/>
              </a:spcAft>
              <a:buClr>
                <a:srgbClr val="FFD200"/>
              </a:buClr>
              <a:buSzPct val="70000"/>
              <a:buFontTx/>
              <a:buNone/>
              <a:tabLst/>
              <a:defRPr/>
            </a:pPr>
            <a:r>
              <a:rPr kumimoji="0" lang="en-US" sz="700" b="1" i="0" u="none" strike="noStrike" kern="0" cap="none" spc="0" normalizeH="0" baseline="0" noProof="0" dirty="0">
                <a:ln>
                  <a:noFill/>
                </a:ln>
                <a:solidFill>
                  <a:srgbClr val="FFFFFF"/>
                </a:solidFill>
                <a:effectLst/>
                <a:uLnTx/>
                <a:uFillTx/>
                <a:latin typeface="+mn-lt"/>
              </a:rPr>
              <a:t>Gas</a:t>
            </a:r>
          </a:p>
        </p:txBody>
      </p:sp>
      <p:sp>
        <p:nvSpPr>
          <p:cNvPr id="4" name="TextBox 3">
            <a:extLst>
              <a:ext uri="{FF2B5EF4-FFF2-40B4-BE49-F238E27FC236}">
                <a16:creationId xmlns:a16="http://schemas.microsoft.com/office/drawing/2014/main" id="{C4FA9482-C5E0-B75F-7BFB-3FB71F427559}"/>
              </a:ext>
            </a:extLst>
          </p:cNvPr>
          <p:cNvSpPr txBox="1">
            <a:spLocks/>
          </p:cNvSpPr>
          <p:nvPr/>
        </p:nvSpPr>
        <p:spPr>
          <a:xfrm>
            <a:off x="10637736" y="2311578"/>
            <a:ext cx="944664" cy="201653"/>
          </a:xfrm>
          <a:prstGeom prst="rect">
            <a:avLst/>
          </a:prstGeom>
          <a:noFill/>
          <a:ln w="9525" cap="flat" cmpd="sng" algn="ctr">
            <a:solidFill>
              <a:srgbClr val="747480"/>
            </a:solidFill>
            <a:prstDash val="solid"/>
            <a:round/>
            <a:headEnd type="none" w="med" len="med"/>
            <a:tailEnd type="none" w="med" len="med"/>
          </a:ln>
          <a:extLst>
            <a:ext uri="{909E8E84-426E-40DD-AFC4-6F175D3DCCD1}">
              <a14:hiddenFill xmlns:a14="http://schemas.microsoft.com/office/drawing/2010/main">
                <a:solidFill>
                  <a:srgbClr val="333333"/>
                </a:solidFill>
              </a14:hiddenFill>
            </a:ext>
          </a:extLst>
        </p:spPr>
        <p:txBody>
          <a:bodyPr wrap="square" lIns="34290" tIns="34290" rIns="34290" bIns="34290" rtlCol="0" anchor="ctr" anchorCtr="0">
            <a:noAutofit/>
          </a:bodyPr>
          <a:lstStyle>
            <a:defPPr>
              <a:defRPr lang="en-US"/>
            </a:defPPr>
            <a:lvl1pPr>
              <a:lnSpc>
                <a:spcPct val="85000"/>
              </a:lnSpc>
              <a:spcAft>
                <a:spcPts val="600"/>
              </a:spcAft>
              <a:buClr>
                <a:schemeClr val="accent2"/>
              </a:buClr>
              <a:buSzPct val="70000"/>
              <a:defRPr sz="900" b="1">
                <a:latin typeface="+mj-lt"/>
              </a:defRPr>
            </a:lvl1pPr>
          </a:lstStyle>
          <a:p>
            <a:pPr marL="0" marR="0" lvl="0" indent="0" algn="ctr" defTabSz="914400" eaLnBrk="1" fontAlgn="auto" latinLnBrk="0" hangingPunct="1">
              <a:lnSpc>
                <a:spcPct val="100000"/>
              </a:lnSpc>
              <a:spcBef>
                <a:spcPts val="0"/>
              </a:spcBef>
              <a:spcAft>
                <a:spcPts val="0"/>
              </a:spcAft>
              <a:buClr>
                <a:srgbClr val="FFD200"/>
              </a:buClr>
              <a:buSzPct val="70000"/>
              <a:buFontTx/>
              <a:buNone/>
              <a:tabLst/>
              <a:defRPr/>
            </a:pPr>
            <a:r>
              <a:rPr kumimoji="0" lang="en-US" sz="700" b="1" i="0" u="none" strike="noStrike" kern="0" cap="none" spc="0" normalizeH="0" baseline="0" noProof="0" dirty="0">
                <a:ln>
                  <a:noFill/>
                </a:ln>
                <a:solidFill>
                  <a:srgbClr val="FFFFFF"/>
                </a:solidFill>
                <a:effectLst/>
                <a:uLnTx/>
                <a:uFillTx/>
                <a:latin typeface="+mn-lt"/>
              </a:rPr>
              <a:t>Oil</a:t>
            </a:r>
          </a:p>
        </p:txBody>
      </p:sp>
      <p:sp>
        <p:nvSpPr>
          <p:cNvPr id="5" name="TextBox 4">
            <a:extLst>
              <a:ext uri="{FF2B5EF4-FFF2-40B4-BE49-F238E27FC236}">
                <a16:creationId xmlns:a16="http://schemas.microsoft.com/office/drawing/2014/main" id="{B00D8236-D9DE-5083-6414-992E3D6614F9}"/>
              </a:ext>
            </a:extLst>
          </p:cNvPr>
          <p:cNvSpPr txBox="1">
            <a:spLocks/>
          </p:cNvSpPr>
          <p:nvPr/>
        </p:nvSpPr>
        <p:spPr>
          <a:xfrm>
            <a:off x="10637736" y="2656795"/>
            <a:ext cx="944664" cy="201653"/>
          </a:xfrm>
          <a:prstGeom prst="rect">
            <a:avLst/>
          </a:prstGeom>
          <a:noFill/>
          <a:ln w="9525" cap="flat" cmpd="sng" algn="ctr">
            <a:solidFill>
              <a:srgbClr val="C4C4CD"/>
            </a:solidFill>
            <a:prstDash val="solid"/>
            <a:round/>
            <a:headEnd type="none" w="med" len="med"/>
            <a:tailEnd type="none" w="med" len="med"/>
          </a:ln>
          <a:extLst>
            <a:ext uri="{909E8E84-426E-40DD-AFC4-6F175D3DCCD1}">
              <a14:hiddenFill xmlns:a14="http://schemas.microsoft.com/office/drawing/2010/main">
                <a:solidFill>
                  <a:srgbClr val="333333"/>
                </a:solidFill>
              </a14:hiddenFill>
            </a:ext>
          </a:extLst>
        </p:spPr>
        <p:txBody>
          <a:bodyPr wrap="square" lIns="34290" tIns="34290" rIns="34290" bIns="34290" rtlCol="0" anchor="ctr" anchorCtr="0">
            <a:noAutofit/>
          </a:bodyPr>
          <a:lstStyle>
            <a:defPPr>
              <a:defRPr lang="en-US"/>
            </a:defPPr>
            <a:lvl1pPr>
              <a:lnSpc>
                <a:spcPct val="85000"/>
              </a:lnSpc>
              <a:spcAft>
                <a:spcPts val="600"/>
              </a:spcAft>
              <a:buClr>
                <a:schemeClr val="accent2"/>
              </a:buClr>
              <a:buSzPct val="70000"/>
              <a:defRPr sz="900" b="1">
                <a:latin typeface="+mj-lt"/>
              </a:defRPr>
            </a:lvl1pPr>
          </a:lstStyle>
          <a:p>
            <a:pPr marL="0" marR="0" lvl="0" indent="0" algn="ctr" defTabSz="914400" eaLnBrk="1" fontAlgn="auto" latinLnBrk="0" hangingPunct="1">
              <a:lnSpc>
                <a:spcPct val="100000"/>
              </a:lnSpc>
              <a:spcBef>
                <a:spcPts val="0"/>
              </a:spcBef>
              <a:spcAft>
                <a:spcPts val="0"/>
              </a:spcAft>
              <a:buClr>
                <a:srgbClr val="FFD200"/>
              </a:buClr>
              <a:buSzPct val="70000"/>
              <a:buFontTx/>
              <a:buNone/>
              <a:tabLst/>
              <a:defRPr/>
            </a:pPr>
            <a:r>
              <a:rPr kumimoji="0" lang="en-US" sz="700" b="1" i="0" u="none" strike="noStrike" kern="0" cap="none" spc="0" normalizeH="0" baseline="0" noProof="0" dirty="0">
                <a:ln>
                  <a:noFill/>
                </a:ln>
                <a:solidFill>
                  <a:srgbClr val="FFFFFF"/>
                </a:solidFill>
                <a:effectLst/>
                <a:uLnTx/>
                <a:uFillTx/>
                <a:latin typeface="+mn-lt"/>
              </a:rPr>
              <a:t>Water</a:t>
            </a:r>
          </a:p>
        </p:txBody>
      </p:sp>
      <p:sp>
        <p:nvSpPr>
          <p:cNvPr id="6" name="TextBox 5">
            <a:extLst>
              <a:ext uri="{FF2B5EF4-FFF2-40B4-BE49-F238E27FC236}">
                <a16:creationId xmlns:a16="http://schemas.microsoft.com/office/drawing/2014/main" id="{32CD36E3-ED85-0057-6129-BDC344CC798A}"/>
              </a:ext>
            </a:extLst>
          </p:cNvPr>
          <p:cNvSpPr txBox="1">
            <a:spLocks/>
          </p:cNvSpPr>
          <p:nvPr/>
        </p:nvSpPr>
        <p:spPr>
          <a:xfrm>
            <a:off x="10865644" y="1646093"/>
            <a:ext cx="731488" cy="210827"/>
          </a:xfrm>
          <a:prstGeom prst="rect">
            <a:avLst/>
          </a:prstGeom>
          <a:noFill/>
        </p:spPr>
        <p:txBody>
          <a:bodyPr wrap="square" lIns="0" tIns="27432" rIns="0" bIns="0" rtlCol="0">
            <a:spAutoFit/>
          </a:bodyPr>
          <a:lstStyle/>
          <a:p>
            <a:pPr marL="0" marR="0" lvl="0" indent="0" defTabSz="914400" eaLnBrk="1" fontAlgn="auto" latinLnBrk="0" hangingPunct="1">
              <a:lnSpc>
                <a:spcPct val="85000"/>
              </a:lnSpc>
              <a:spcBef>
                <a:spcPts val="0"/>
              </a:spcBef>
              <a:spcAft>
                <a:spcPts val="450"/>
              </a:spcAft>
              <a:buClr>
                <a:srgbClr val="FFD200"/>
              </a:buClr>
              <a:buSzPct val="70000"/>
              <a:buFontTx/>
              <a:buNone/>
              <a:tabLst/>
              <a:defRPr/>
            </a:pPr>
            <a:r>
              <a:rPr kumimoji="0" lang="en-US" sz="700" b="0" i="0" u="none" strike="noStrike" kern="0" cap="none" spc="0" normalizeH="0" baseline="0" noProof="0" dirty="0">
                <a:ln>
                  <a:noFill/>
                </a:ln>
                <a:solidFill>
                  <a:srgbClr val="FFFFFF"/>
                </a:solidFill>
                <a:effectLst/>
                <a:uLnTx/>
                <a:uFillTx/>
              </a:rPr>
              <a:t>Flow measurement</a:t>
            </a:r>
          </a:p>
        </p:txBody>
      </p:sp>
      <p:sp>
        <p:nvSpPr>
          <p:cNvPr id="324" name="Freeform: Shape 323">
            <a:extLst>
              <a:ext uri="{FF2B5EF4-FFF2-40B4-BE49-F238E27FC236}">
                <a16:creationId xmlns:a16="http://schemas.microsoft.com/office/drawing/2014/main" id="{0F39BA3F-5F8E-8068-BF4A-2E15ACAE87E6}"/>
              </a:ext>
            </a:extLst>
          </p:cNvPr>
          <p:cNvSpPr>
            <a:spLocks/>
          </p:cNvSpPr>
          <p:nvPr/>
        </p:nvSpPr>
        <p:spPr bwMode="auto">
          <a:xfrm>
            <a:off x="10637736" y="1711053"/>
            <a:ext cx="126626" cy="80908"/>
          </a:xfrm>
          <a:custGeom>
            <a:avLst/>
            <a:gdLst>
              <a:gd name="connsiteX0" fmla="*/ 49558 w 126626"/>
              <a:gd name="connsiteY0" fmla="*/ 0 h 80908"/>
              <a:gd name="connsiteX1" fmla="*/ 77066 w 126626"/>
              <a:gd name="connsiteY1" fmla="*/ 0 h 80908"/>
              <a:gd name="connsiteX2" fmla="*/ 81234 w 126626"/>
              <a:gd name="connsiteY2" fmla="*/ 421 h 80908"/>
              <a:gd name="connsiteX3" fmla="*/ 84985 w 126626"/>
              <a:gd name="connsiteY3" fmla="*/ 843 h 80908"/>
              <a:gd name="connsiteX4" fmla="*/ 89153 w 126626"/>
              <a:gd name="connsiteY4" fmla="*/ 2107 h 80908"/>
              <a:gd name="connsiteX5" fmla="*/ 92487 w 126626"/>
              <a:gd name="connsiteY5" fmla="*/ 3371 h 80908"/>
              <a:gd name="connsiteX6" fmla="*/ 96239 w 126626"/>
              <a:gd name="connsiteY6" fmla="*/ 5057 h 80908"/>
              <a:gd name="connsiteX7" fmla="*/ 99573 w 126626"/>
              <a:gd name="connsiteY7" fmla="*/ 7164 h 80908"/>
              <a:gd name="connsiteX8" fmla="*/ 102490 w 126626"/>
              <a:gd name="connsiteY8" fmla="*/ 9271 h 80908"/>
              <a:gd name="connsiteX9" fmla="*/ 105408 w 126626"/>
              <a:gd name="connsiteY9" fmla="*/ 11799 h 80908"/>
              <a:gd name="connsiteX10" fmla="*/ 108326 w 126626"/>
              <a:gd name="connsiteY10" fmla="*/ 14749 h 80908"/>
              <a:gd name="connsiteX11" fmla="*/ 109576 w 126626"/>
              <a:gd name="connsiteY11" fmla="*/ 16435 h 80908"/>
              <a:gd name="connsiteX12" fmla="*/ 110410 w 126626"/>
              <a:gd name="connsiteY12" fmla="*/ 18120 h 80908"/>
              <a:gd name="connsiteX13" fmla="*/ 110676 w 126626"/>
              <a:gd name="connsiteY13" fmla="*/ 18479 h 80908"/>
              <a:gd name="connsiteX14" fmla="*/ 126626 w 126626"/>
              <a:gd name="connsiteY14" fmla="*/ 18479 h 80908"/>
              <a:gd name="connsiteX15" fmla="*/ 126626 w 126626"/>
              <a:gd name="connsiteY15" fmla="*/ 62395 h 80908"/>
              <a:gd name="connsiteX16" fmla="*/ 110913 w 126626"/>
              <a:gd name="connsiteY16" fmla="*/ 62395 h 80908"/>
              <a:gd name="connsiteX17" fmla="*/ 110410 w 126626"/>
              <a:gd name="connsiteY17" fmla="*/ 63209 h 80908"/>
              <a:gd name="connsiteX18" fmla="*/ 108326 w 126626"/>
              <a:gd name="connsiteY18" fmla="*/ 66159 h 80908"/>
              <a:gd name="connsiteX19" fmla="*/ 107075 w 126626"/>
              <a:gd name="connsiteY19" fmla="*/ 67845 h 80908"/>
              <a:gd name="connsiteX20" fmla="*/ 105408 w 126626"/>
              <a:gd name="connsiteY20" fmla="*/ 69109 h 80908"/>
              <a:gd name="connsiteX21" fmla="*/ 102490 w 126626"/>
              <a:gd name="connsiteY21" fmla="*/ 71637 h 80908"/>
              <a:gd name="connsiteX22" fmla="*/ 99573 w 126626"/>
              <a:gd name="connsiteY22" fmla="*/ 74166 h 80908"/>
              <a:gd name="connsiteX23" fmla="*/ 96239 w 126626"/>
              <a:gd name="connsiteY23" fmla="*/ 76273 h 80908"/>
              <a:gd name="connsiteX24" fmla="*/ 92487 w 126626"/>
              <a:gd name="connsiteY24" fmla="*/ 77958 h 80908"/>
              <a:gd name="connsiteX25" fmla="*/ 89153 w 126626"/>
              <a:gd name="connsiteY25" fmla="*/ 79222 h 80908"/>
              <a:gd name="connsiteX26" fmla="*/ 84985 w 126626"/>
              <a:gd name="connsiteY26" fmla="*/ 80065 h 80908"/>
              <a:gd name="connsiteX27" fmla="*/ 81234 w 126626"/>
              <a:gd name="connsiteY27" fmla="*/ 80908 h 80908"/>
              <a:gd name="connsiteX28" fmla="*/ 77066 w 126626"/>
              <a:gd name="connsiteY28" fmla="*/ 80908 h 80908"/>
              <a:gd name="connsiteX29" fmla="*/ 49558 w 126626"/>
              <a:gd name="connsiteY29" fmla="*/ 80908 h 80908"/>
              <a:gd name="connsiteX30" fmla="*/ 45390 w 126626"/>
              <a:gd name="connsiteY30" fmla="*/ 80908 h 80908"/>
              <a:gd name="connsiteX31" fmla="*/ 41639 w 126626"/>
              <a:gd name="connsiteY31" fmla="*/ 80065 h 80908"/>
              <a:gd name="connsiteX32" fmla="*/ 37471 w 126626"/>
              <a:gd name="connsiteY32" fmla="*/ 79222 h 80908"/>
              <a:gd name="connsiteX33" fmla="*/ 34137 w 126626"/>
              <a:gd name="connsiteY33" fmla="*/ 77958 h 80908"/>
              <a:gd name="connsiteX34" fmla="*/ 30385 w 126626"/>
              <a:gd name="connsiteY34" fmla="*/ 76273 h 80908"/>
              <a:gd name="connsiteX35" fmla="*/ 27051 w 126626"/>
              <a:gd name="connsiteY35" fmla="*/ 74166 h 80908"/>
              <a:gd name="connsiteX36" fmla="*/ 24134 w 126626"/>
              <a:gd name="connsiteY36" fmla="*/ 71637 h 80908"/>
              <a:gd name="connsiteX37" fmla="*/ 21216 w 126626"/>
              <a:gd name="connsiteY37" fmla="*/ 69109 h 80908"/>
              <a:gd name="connsiteX38" fmla="*/ 18298 w 126626"/>
              <a:gd name="connsiteY38" fmla="*/ 66159 h 80908"/>
              <a:gd name="connsiteX39" fmla="*/ 17048 w 126626"/>
              <a:gd name="connsiteY39" fmla="*/ 64895 h 80908"/>
              <a:gd name="connsiteX40" fmla="*/ 16214 w 126626"/>
              <a:gd name="connsiteY40" fmla="*/ 63209 h 80908"/>
              <a:gd name="connsiteX41" fmla="*/ 15610 w 126626"/>
              <a:gd name="connsiteY41" fmla="*/ 62395 h 80908"/>
              <a:gd name="connsiteX42" fmla="*/ 0 w 126626"/>
              <a:gd name="connsiteY42" fmla="*/ 62395 h 80908"/>
              <a:gd name="connsiteX43" fmla="*/ 0 w 126626"/>
              <a:gd name="connsiteY43" fmla="*/ 18479 h 80908"/>
              <a:gd name="connsiteX44" fmla="*/ 15992 w 126626"/>
              <a:gd name="connsiteY44" fmla="*/ 18479 h 80908"/>
              <a:gd name="connsiteX45" fmla="*/ 16214 w 126626"/>
              <a:gd name="connsiteY45" fmla="*/ 18120 h 80908"/>
              <a:gd name="connsiteX46" fmla="*/ 18298 w 126626"/>
              <a:gd name="connsiteY46" fmla="*/ 14749 h 80908"/>
              <a:gd name="connsiteX47" fmla="*/ 19549 w 126626"/>
              <a:gd name="connsiteY47" fmla="*/ 13485 h 80908"/>
              <a:gd name="connsiteX48" fmla="*/ 21216 w 126626"/>
              <a:gd name="connsiteY48" fmla="*/ 11799 h 80908"/>
              <a:gd name="connsiteX49" fmla="*/ 24134 w 126626"/>
              <a:gd name="connsiteY49" fmla="*/ 9271 h 80908"/>
              <a:gd name="connsiteX50" fmla="*/ 27051 w 126626"/>
              <a:gd name="connsiteY50" fmla="*/ 7164 h 80908"/>
              <a:gd name="connsiteX51" fmla="*/ 30385 w 126626"/>
              <a:gd name="connsiteY51" fmla="*/ 5057 h 80908"/>
              <a:gd name="connsiteX52" fmla="*/ 34137 w 126626"/>
              <a:gd name="connsiteY52" fmla="*/ 3371 h 80908"/>
              <a:gd name="connsiteX53" fmla="*/ 37471 w 126626"/>
              <a:gd name="connsiteY53" fmla="*/ 2107 h 80908"/>
              <a:gd name="connsiteX54" fmla="*/ 41639 w 126626"/>
              <a:gd name="connsiteY54" fmla="*/ 843 h 80908"/>
              <a:gd name="connsiteX55" fmla="*/ 45390 w 126626"/>
              <a:gd name="connsiteY55" fmla="*/ 421 h 80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26626" h="80908">
                <a:moveTo>
                  <a:pt x="49558" y="0"/>
                </a:moveTo>
                <a:lnTo>
                  <a:pt x="77066" y="0"/>
                </a:lnTo>
                <a:lnTo>
                  <a:pt x="81234" y="421"/>
                </a:lnTo>
                <a:lnTo>
                  <a:pt x="84985" y="843"/>
                </a:lnTo>
                <a:lnTo>
                  <a:pt x="89153" y="2107"/>
                </a:lnTo>
                <a:lnTo>
                  <a:pt x="92487" y="3371"/>
                </a:lnTo>
                <a:lnTo>
                  <a:pt x="96239" y="5057"/>
                </a:lnTo>
                <a:lnTo>
                  <a:pt x="99573" y="7164"/>
                </a:lnTo>
                <a:lnTo>
                  <a:pt x="102490" y="9271"/>
                </a:lnTo>
                <a:lnTo>
                  <a:pt x="105408" y="11799"/>
                </a:lnTo>
                <a:lnTo>
                  <a:pt x="108326" y="14749"/>
                </a:lnTo>
                <a:lnTo>
                  <a:pt x="109576" y="16435"/>
                </a:lnTo>
                <a:lnTo>
                  <a:pt x="110410" y="18120"/>
                </a:lnTo>
                <a:lnTo>
                  <a:pt x="110676" y="18479"/>
                </a:lnTo>
                <a:lnTo>
                  <a:pt x="126626" y="18479"/>
                </a:lnTo>
                <a:lnTo>
                  <a:pt x="126626" y="62395"/>
                </a:lnTo>
                <a:lnTo>
                  <a:pt x="110913" y="62395"/>
                </a:lnTo>
                <a:lnTo>
                  <a:pt x="110410" y="63209"/>
                </a:lnTo>
                <a:lnTo>
                  <a:pt x="108326" y="66159"/>
                </a:lnTo>
                <a:lnTo>
                  <a:pt x="107075" y="67845"/>
                </a:lnTo>
                <a:lnTo>
                  <a:pt x="105408" y="69109"/>
                </a:lnTo>
                <a:lnTo>
                  <a:pt x="102490" y="71637"/>
                </a:lnTo>
                <a:lnTo>
                  <a:pt x="99573" y="74166"/>
                </a:lnTo>
                <a:lnTo>
                  <a:pt x="96239" y="76273"/>
                </a:lnTo>
                <a:lnTo>
                  <a:pt x="92487" y="77958"/>
                </a:lnTo>
                <a:lnTo>
                  <a:pt x="89153" y="79222"/>
                </a:lnTo>
                <a:lnTo>
                  <a:pt x="84985" y="80065"/>
                </a:lnTo>
                <a:lnTo>
                  <a:pt x="81234" y="80908"/>
                </a:lnTo>
                <a:lnTo>
                  <a:pt x="77066" y="80908"/>
                </a:lnTo>
                <a:lnTo>
                  <a:pt x="49558" y="80908"/>
                </a:lnTo>
                <a:lnTo>
                  <a:pt x="45390" y="80908"/>
                </a:lnTo>
                <a:lnTo>
                  <a:pt x="41639" y="80065"/>
                </a:lnTo>
                <a:lnTo>
                  <a:pt x="37471" y="79222"/>
                </a:lnTo>
                <a:lnTo>
                  <a:pt x="34137" y="77958"/>
                </a:lnTo>
                <a:lnTo>
                  <a:pt x="30385" y="76273"/>
                </a:lnTo>
                <a:lnTo>
                  <a:pt x="27051" y="74166"/>
                </a:lnTo>
                <a:lnTo>
                  <a:pt x="24134" y="71637"/>
                </a:lnTo>
                <a:lnTo>
                  <a:pt x="21216" y="69109"/>
                </a:lnTo>
                <a:lnTo>
                  <a:pt x="18298" y="66159"/>
                </a:lnTo>
                <a:lnTo>
                  <a:pt x="17048" y="64895"/>
                </a:lnTo>
                <a:lnTo>
                  <a:pt x="16214" y="63209"/>
                </a:lnTo>
                <a:lnTo>
                  <a:pt x="15610" y="62395"/>
                </a:lnTo>
                <a:lnTo>
                  <a:pt x="0" y="62395"/>
                </a:lnTo>
                <a:lnTo>
                  <a:pt x="0" y="18479"/>
                </a:lnTo>
                <a:lnTo>
                  <a:pt x="15992" y="18479"/>
                </a:lnTo>
                <a:lnTo>
                  <a:pt x="16214" y="18120"/>
                </a:lnTo>
                <a:lnTo>
                  <a:pt x="18298" y="14749"/>
                </a:lnTo>
                <a:lnTo>
                  <a:pt x="19549" y="13485"/>
                </a:lnTo>
                <a:lnTo>
                  <a:pt x="21216" y="11799"/>
                </a:lnTo>
                <a:lnTo>
                  <a:pt x="24134" y="9271"/>
                </a:lnTo>
                <a:lnTo>
                  <a:pt x="27051" y="7164"/>
                </a:lnTo>
                <a:lnTo>
                  <a:pt x="30385" y="5057"/>
                </a:lnTo>
                <a:lnTo>
                  <a:pt x="34137" y="3371"/>
                </a:lnTo>
                <a:lnTo>
                  <a:pt x="37471" y="2107"/>
                </a:lnTo>
                <a:lnTo>
                  <a:pt x="41639" y="843"/>
                </a:lnTo>
                <a:lnTo>
                  <a:pt x="45390" y="421"/>
                </a:lnTo>
                <a:close/>
              </a:path>
            </a:pathLst>
          </a:custGeom>
          <a:solidFill>
            <a:schemeClr val="tx1"/>
          </a:solidFill>
          <a:ln>
            <a:solidFill>
              <a:schemeClr val="bg1"/>
            </a:solidFill>
          </a:ln>
        </p:spPr>
        <p:txBody>
          <a:bodyPr vert="horz" wrap="square" lIns="68580" tIns="34290" rIns="68580" bIns="3429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FFFFFF"/>
              </a:solidFill>
              <a:effectLst/>
              <a:uLnTx/>
              <a:uFillTx/>
            </a:endParaRPr>
          </a:p>
        </p:txBody>
      </p:sp>
      <p:cxnSp>
        <p:nvCxnSpPr>
          <p:cNvPr id="11" name="Straight Connector 10">
            <a:extLst>
              <a:ext uri="{FF2B5EF4-FFF2-40B4-BE49-F238E27FC236}">
                <a16:creationId xmlns:a16="http://schemas.microsoft.com/office/drawing/2014/main" id="{5DAB59D6-34A2-F2C9-305B-FA56979E646B}"/>
              </a:ext>
            </a:extLst>
          </p:cNvPr>
          <p:cNvCxnSpPr/>
          <p:nvPr/>
        </p:nvCxnSpPr>
        <p:spPr>
          <a:xfrm>
            <a:off x="4730463" y="3663383"/>
            <a:ext cx="0" cy="710126"/>
          </a:xfrm>
          <a:prstGeom prst="line">
            <a:avLst/>
          </a:prstGeom>
          <a:noFill/>
          <a:ln w="12700" cap="flat" cmpd="sng" algn="ctr">
            <a:solidFill>
              <a:schemeClr val="bg1"/>
            </a:solidFill>
            <a:prstDash val="solid"/>
            <a:tailEnd type="none"/>
          </a:ln>
          <a:effectLst/>
        </p:spPr>
      </p:cxnSp>
      <p:cxnSp>
        <p:nvCxnSpPr>
          <p:cNvPr id="12" name="Straight Connector 11">
            <a:extLst>
              <a:ext uri="{FF2B5EF4-FFF2-40B4-BE49-F238E27FC236}">
                <a16:creationId xmlns:a16="http://schemas.microsoft.com/office/drawing/2014/main" id="{B735BAA4-31D2-7B19-8566-CDAD74A1C5C9}"/>
              </a:ext>
            </a:extLst>
          </p:cNvPr>
          <p:cNvCxnSpPr/>
          <p:nvPr/>
        </p:nvCxnSpPr>
        <p:spPr>
          <a:xfrm flipH="1">
            <a:off x="8568248" y="6354484"/>
            <a:ext cx="78834" cy="0"/>
          </a:xfrm>
          <a:prstGeom prst="line">
            <a:avLst/>
          </a:prstGeom>
          <a:noFill/>
          <a:ln w="12700" cap="flat" cmpd="sng" algn="ctr">
            <a:solidFill>
              <a:srgbClr val="747480"/>
            </a:solidFill>
            <a:prstDash val="solid"/>
            <a:round/>
            <a:headEnd type="none" w="med" len="med"/>
            <a:tailEnd type="none" w="med" len="med"/>
          </a:ln>
          <a:effectLst/>
        </p:spPr>
      </p:cxnSp>
      <p:cxnSp>
        <p:nvCxnSpPr>
          <p:cNvPr id="13" name="Straight Connector 12">
            <a:extLst>
              <a:ext uri="{FF2B5EF4-FFF2-40B4-BE49-F238E27FC236}">
                <a16:creationId xmlns:a16="http://schemas.microsoft.com/office/drawing/2014/main" id="{EB0911CE-3471-8E86-A733-FC5383AE607B}"/>
              </a:ext>
            </a:extLst>
          </p:cNvPr>
          <p:cNvCxnSpPr/>
          <p:nvPr/>
        </p:nvCxnSpPr>
        <p:spPr>
          <a:xfrm>
            <a:off x="2302147" y="4710520"/>
            <a:ext cx="693588" cy="0"/>
          </a:xfrm>
          <a:prstGeom prst="line">
            <a:avLst/>
          </a:prstGeom>
          <a:noFill/>
          <a:ln w="12700" cap="flat" cmpd="sng" algn="ctr">
            <a:solidFill>
              <a:schemeClr val="bg1"/>
            </a:solidFill>
            <a:prstDash val="solid"/>
            <a:tailEnd type="none"/>
          </a:ln>
          <a:effectLst/>
        </p:spPr>
      </p:cxnSp>
      <p:cxnSp>
        <p:nvCxnSpPr>
          <p:cNvPr id="14" name="Straight Connector 13">
            <a:extLst>
              <a:ext uri="{FF2B5EF4-FFF2-40B4-BE49-F238E27FC236}">
                <a16:creationId xmlns:a16="http://schemas.microsoft.com/office/drawing/2014/main" id="{D274F4B7-C54C-E2D9-6CA3-9639AAE6AD17}"/>
              </a:ext>
            </a:extLst>
          </p:cNvPr>
          <p:cNvCxnSpPr/>
          <p:nvPr/>
        </p:nvCxnSpPr>
        <p:spPr>
          <a:xfrm flipH="1">
            <a:off x="2992718" y="4577197"/>
            <a:ext cx="135348" cy="136843"/>
          </a:xfrm>
          <a:prstGeom prst="line">
            <a:avLst/>
          </a:prstGeom>
          <a:noFill/>
          <a:ln w="12700" cap="flat" cmpd="sng" algn="ctr">
            <a:solidFill>
              <a:srgbClr val="FFFFFF"/>
            </a:solidFill>
            <a:prstDash val="solid"/>
            <a:tailEnd type="none"/>
          </a:ln>
          <a:effectLst/>
        </p:spPr>
      </p:cxnSp>
      <p:grpSp>
        <p:nvGrpSpPr>
          <p:cNvPr id="15" name="Group 14">
            <a:extLst>
              <a:ext uri="{FF2B5EF4-FFF2-40B4-BE49-F238E27FC236}">
                <a16:creationId xmlns:a16="http://schemas.microsoft.com/office/drawing/2014/main" id="{DF8748F7-A563-F149-47A7-D8CEE75F9581}"/>
              </a:ext>
            </a:extLst>
          </p:cNvPr>
          <p:cNvGrpSpPr/>
          <p:nvPr/>
        </p:nvGrpSpPr>
        <p:grpSpPr>
          <a:xfrm>
            <a:off x="2302147" y="4394934"/>
            <a:ext cx="825919" cy="136843"/>
            <a:chOff x="1841516" y="3843638"/>
            <a:chExt cx="651793" cy="106813"/>
          </a:xfrm>
        </p:grpSpPr>
        <p:cxnSp>
          <p:nvCxnSpPr>
            <p:cNvPr id="279" name="Straight Connector 278">
              <a:extLst>
                <a:ext uri="{FF2B5EF4-FFF2-40B4-BE49-F238E27FC236}">
                  <a16:creationId xmlns:a16="http://schemas.microsoft.com/office/drawing/2014/main" id="{6FAC27DB-5EBD-B8C3-A0C1-E924D33A5A69}"/>
                </a:ext>
              </a:extLst>
            </p:cNvPr>
            <p:cNvCxnSpPr/>
            <p:nvPr/>
          </p:nvCxnSpPr>
          <p:spPr>
            <a:xfrm>
              <a:off x="1841516" y="3947704"/>
              <a:ext cx="547361" cy="0"/>
            </a:xfrm>
            <a:prstGeom prst="line">
              <a:avLst/>
            </a:prstGeom>
            <a:noFill/>
            <a:ln w="12700" cap="flat" cmpd="sng" algn="ctr">
              <a:solidFill>
                <a:schemeClr val="bg1"/>
              </a:solidFill>
              <a:prstDash val="solid"/>
              <a:tailEnd type="none"/>
            </a:ln>
            <a:effectLst/>
          </p:spPr>
        </p:cxnSp>
        <p:cxnSp>
          <p:nvCxnSpPr>
            <p:cNvPr id="280" name="Straight Connector 279">
              <a:extLst>
                <a:ext uri="{FF2B5EF4-FFF2-40B4-BE49-F238E27FC236}">
                  <a16:creationId xmlns:a16="http://schemas.microsoft.com/office/drawing/2014/main" id="{8686B309-5277-3E5B-A398-2BEDD26249DA}"/>
                </a:ext>
              </a:extLst>
            </p:cNvPr>
            <p:cNvCxnSpPr/>
            <p:nvPr/>
          </p:nvCxnSpPr>
          <p:spPr>
            <a:xfrm flipH="1">
              <a:off x="2386496" y="3843638"/>
              <a:ext cx="106813" cy="106813"/>
            </a:xfrm>
            <a:prstGeom prst="line">
              <a:avLst/>
            </a:prstGeom>
            <a:noFill/>
            <a:ln w="12700" cap="flat" cmpd="sng" algn="ctr">
              <a:solidFill>
                <a:schemeClr val="bg1"/>
              </a:solidFill>
              <a:prstDash val="solid"/>
              <a:tailEnd type="none"/>
            </a:ln>
            <a:effectLst/>
          </p:spPr>
        </p:cxnSp>
      </p:grpSp>
      <p:cxnSp>
        <p:nvCxnSpPr>
          <p:cNvPr id="16" name="Straight Connector 15">
            <a:extLst>
              <a:ext uri="{FF2B5EF4-FFF2-40B4-BE49-F238E27FC236}">
                <a16:creationId xmlns:a16="http://schemas.microsoft.com/office/drawing/2014/main" id="{996C278B-44B7-D91F-A207-1DB0D97EAB6E}"/>
              </a:ext>
            </a:extLst>
          </p:cNvPr>
          <p:cNvCxnSpPr/>
          <p:nvPr/>
        </p:nvCxnSpPr>
        <p:spPr>
          <a:xfrm>
            <a:off x="2302147" y="4345996"/>
            <a:ext cx="693588" cy="0"/>
          </a:xfrm>
          <a:prstGeom prst="line">
            <a:avLst/>
          </a:prstGeom>
          <a:noFill/>
          <a:ln w="12700" cap="flat" cmpd="sng" algn="ctr">
            <a:solidFill>
              <a:srgbClr val="FFFFFF"/>
            </a:solidFill>
            <a:prstDash val="solid"/>
            <a:tailEnd type="none"/>
          </a:ln>
          <a:effectLst/>
        </p:spPr>
      </p:cxnSp>
      <p:cxnSp>
        <p:nvCxnSpPr>
          <p:cNvPr id="17" name="Straight Connector 16">
            <a:extLst>
              <a:ext uri="{FF2B5EF4-FFF2-40B4-BE49-F238E27FC236}">
                <a16:creationId xmlns:a16="http://schemas.microsoft.com/office/drawing/2014/main" id="{F9ABF46A-C6BE-8B77-CF1A-B3C77C4B5DC4}"/>
              </a:ext>
            </a:extLst>
          </p:cNvPr>
          <p:cNvCxnSpPr/>
          <p:nvPr/>
        </p:nvCxnSpPr>
        <p:spPr>
          <a:xfrm flipH="1">
            <a:off x="2992718" y="4209622"/>
            <a:ext cx="135348" cy="136843"/>
          </a:xfrm>
          <a:prstGeom prst="line">
            <a:avLst/>
          </a:prstGeom>
          <a:noFill/>
          <a:ln w="12700" cap="flat" cmpd="sng" algn="ctr">
            <a:solidFill>
              <a:schemeClr val="bg1"/>
            </a:solidFill>
            <a:prstDash val="solid"/>
            <a:tailEnd type="none"/>
          </a:ln>
          <a:effectLst/>
        </p:spPr>
      </p:cxnSp>
      <p:grpSp>
        <p:nvGrpSpPr>
          <p:cNvPr id="18" name="Group 17">
            <a:extLst>
              <a:ext uri="{FF2B5EF4-FFF2-40B4-BE49-F238E27FC236}">
                <a16:creationId xmlns:a16="http://schemas.microsoft.com/office/drawing/2014/main" id="{62CDE94D-C892-36E6-3F90-524C9EBDFDAE}"/>
              </a:ext>
            </a:extLst>
          </p:cNvPr>
          <p:cNvGrpSpPr/>
          <p:nvPr/>
        </p:nvGrpSpPr>
        <p:grpSpPr>
          <a:xfrm>
            <a:off x="2302147" y="4027359"/>
            <a:ext cx="825919" cy="136843"/>
            <a:chOff x="1841516" y="3843638"/>
            <a:chExt cx="651793" cy="106813"/>
          </a:xfrm>
        </p:grpSpPr>
        <p:cxnSp>
          <p:nvCxnSpPr>
            <p:cNvPr id="277" name="Straight Connector 276">
              <a:extLst>
                <a:ext uri="{FF2B5EF4-FFF2-40B4-BE49-F238E27FC236}">
                  <a16:creationId xmlns:a16="http://schemas.microsoft.com/office/drawing/2014/main" id="{A3F84E86-D856-FBAA-ECCB-FC55C916AA83}"/>
                </a:ext>
              </a:extLst>
            </p:cNvPr>
            <p:cNvCxnSpPr/>
            <p:nvPr/>
          </p:nvCxnSpPr>
          <p:spPr>
            <a:xfrm>
              <a:off x="1841516" y="3947704"/>
              <a:ext cx="547361" cy="0"/>
            </a:xfrm>
            <a:prstGeom prst="line">
              <a:avLst/>
            </a:prstGeom>
            <a:noFill/>
            <a:ln w="12700" cap="flat" cmpd="sng" algn="ctr">
              <a:solidFill>
                <a:schemeClr val="bg1"/>
              </a:solidFill>
              <a:prstDash val="solid"/>
              <a:tailEnd type="none"/>
            </a:ln>
            <a:effectLst/>
          </p:spPr>
        </p:cxnSp>
        <p:cxnSp>
          <p:nvCxnSpPr>
            <p:cNvPr id="278" name="Straight Connector 277">
              <a:extLst>
                <a:ext uri="{FF2B5EF4-FFF2-40B4-BE49-F238E27FC236}">
                  <a16:creationId xmlns:a16="http://schemas.microsoft.com/office/drawing/2014/main" id="{DD1DD08D-FB44-70A2-AA6F-410A0B91F8AC}"/>
                </a:ext>
              </a:extLst>
            </p:cNvPr>
            <p:cNvCxnSpPr/>
            <p:nvPr/>
          </p:nvCxnSpPr>
          <p:spPr>
            <a:xfrm flipH="1">
              <a:off x="2386496" y="3843638"/>
              <a:ext cx="106813" cy="106813"/>
            </a:xfrm>
            <a:prstGeom prst="line">
              <a:avLst/>
            </a:prstGeom>
            <a:noFill/>
            <a:ln w="12700" cap="flat" cmpd="sng" algn="ctr">
              <a:solidFill>
                <a:schemeClr val="bg1"/>
              </a:solidFill>
              <a:prstDash val="solid"/>
              <a:tailEnd type="none"/>
            </a:ln>
            <a:effectLst/>
          </p:spPr>
        </p:cxnSp>
      </p:grpSp>
      <p:cxnSp>
        <p:nvCxnSpPr>
          <p:cNvPr id="19" name="Straight Connector 18">
            <a:extLst>
              <a:ext uri="{FF2B5EF4-FFF2-40B4-BE49-F238E27FC236}">
                <a16:creationId xmlns:a16="http://schemas.microsoft.com/office/drawing/2014/main" id="{96A6D465-5AD1-AE7A-2A3C-0DF8A77A4006}"/>
              </a:ext>
            </a:extLst>
          </p:cNvPr>
          <p:cNvCxnSpPr/>
          <p:nvPr/>
        </p:nvCxnSpPr>
        <p:spPr>
          <a:xfrm>
            <a:off x="7730144" y="4595780"/>
            <a:ext cx="0" cy="370911"/>
          </a:xfrm>
          <a:prstGeom prst="line">
            <a:avLst/>
          </a:prstGeom>
          <a:noFill/>
          <a:ln w="12700" cap="flat" cmpd="sng" algn="ctr">
            <a:solidFill>
              <a:srgbClr val="FFE600"/>
            </a:solidFill>
            <a:prstDash val="solid"/>
            <a:round/>
            <a:headEnd type="none" w="med" len="med"/>
            <a:tailEnd type="none" w="med" len="med"/>
          </a:ln>
          <a:effectLst/>
        </p:spPr>
      </p:cxnSp>
      <p:cxnSp>
        <p:nvCxnSpPr>
          <p:cNvPr id="20" name="Straight Connector 19">
            <a:extLst>
              <a:ext uri="{FF2B5EF4-FFF2-40B4-BE49-F238E27FC236}">
                <a16:creationId xmlns:a16="http://schemas.microsoft.com/office/drawing/2014/main" id="{9C33EDC7-4D8A-D746-992F-CA123818240C}"/>
              </a:ext>
            </a:extLst>
          </p:cNvPr>
          <p:cNvCxnSpPr/>
          <p:nvPr/>
        </p:nvCxnSpPr>
        <p:spPr>
          <a:xfrm>
            <a:off x="3173600" y="3936344"/>
            <a:ext cx="135348" cy="136843"/>
          </a:xfrm>
          <a:prstGeom prst="line">
            <a:avLst/>
          </a:prstGeom>
          <a:noFill/>
          <a:ln w="12700" cap="flat" cmpd="sng" algn="ctr">
            <a:solidFill>
              <a:srgbClr val="FFFFFF"/>
            </a:solidFill>
            <a:prstDash val="solid"/>
            <a:tailEnd type="none"/>
          </a:ln>
          <a:effectLst/>
        </p:spPr>
      </p:cxnSp>
      <p:cxnSp>
        <p:nvCxnSpPr>
          <p:cNvPr id="21" name="Straight Connector 20">
            <a:extLst>
              <a:ext uri="{FF2B5EF4-FFF2-40B4-BE49-F238E27FC236}">
                <a16:creationId xmlns:a16="http://schemas.microsoft.com/office/drawing/2014/main" id="{82D37416-2C2C-34A5-08A6-7280BB53B89D}"/>
              </a:ext>
            </a:extLst>
          </p:cNvPr>
          <p:cNvCxnSpPr/>
          <p:nvPr/>
        </p:nvCxnSpPr>
        <p:spPr>
          <a:xfrm>
            <a:off x="3173600" y="4117606"/>
            <a:ext cx="135348" cy="136843"/>
          </a:xfrm>
          <a:prstGeom prst="line">
            <a:avLst/>
          </a:prstGeom>
          <a:noFill/>
          <a:ln w="12700" cap="flat" cmpd="sng" algn="ctr">
            <a:solidFill>
              <a:srgbClr val="FFFFFF"/>
            </a:solidFill>
            <a:prstDash val="solid"/>
            <a:tailEnd type="none"/>
          </a:ln>
          <a:effectLst/>
        </p:spPr>
      </p:cxnSp>
      <p:cxnSp>
        <p:nvCxnSpPr>
          <p:cNvPr id="22" name="Straight Connector 21">
            <a:extLst>
              <a:ext uri="{FF2B5EF4-FFF2-40B4-BE49-F238E27FC236}">
                <a16:creationId xmlns:a16="http://schemas.microsoft.com/office/drawing/2014/main" id="{A288C14D-0BB6-3FAD-2A53-E874FE96C6C8}"/>
              </a:ext>
            </a:extLst>
          </p:cNvPr>
          <p:cNvCxnSpPr/>
          <p:nvPr/>
        </p:nvCxnSpPr>
        <p:spPr>
          <a:xfrm>
            <a:off x="3173600" y="4298867"/>
            <a:ext cx="135348" cy="136843"/>
          </a:xfrm>
          <a:prstGeom prst="line">
            <a:avLst/>
          </a:prstGeom>
          <a:noFill/>
          <a:ln w="12700" cap="flat" cmpd="sng" algn="ctr">
            <a:solidFill>
              <a:srgbClr val="FFFFFF"/>
            </a:solidFill>
            <a:prstDash val="solid"/>
            <a:tailEnd type="none"/>
          </a:ln>
          <a:effectLst/>
        </p:spPr>
      </p:cxnSp>
      <p:cxnSp>
        <p:nvCxnSpPr>
          <p:cNvPr id="23" name="Straight Connector 22">
            <a:extLst>
              <a:ext uri="{FF2B5EF4-FFF2-40B4-BE49-F238E27FC236}">
                <a16:creationId xmlns:a16="http://schemas.microsoft.com/office/drawing/2014/main" id="{A599A482-F43E-8991-73C3-37DD82B599CD}"/>
              </a:ext>
            </a:extLst>
          </p:cNvPr>
          <p:cNvCxnSpPr/>
          <p:nvPr/>
        </p:nvCxnSpPr>
        <p:spPr>
          <a:xfrm>
            <a:off x="3173600" y="4480130"/>
            <a:ext cx="135348" cy="136843"/>
          </a:xfrm>
          <a:prstGeom prst="line">
            <a:avLst/>
          </a:prstGeom>
          <a:noFill/>
          <a:ln w="12700" cap="flat" cmpd="sng" algn="ctr">
            <a:solidFill>
              <a:srgbClr val="FFFFFF"/>
            </a:solidFill>
            <a:prstDash val="solid"/>
            <a:tailEnd type="none"/>
          </a:ln>
          <a:effectLst/>
        </p:spPr>
      </p:cxnSp>
      <p:cxnSp>
        <p:nvCxnSpPr>
          <p:cNvPr id="24" name="Straight Connector 23">
            <a:extLst>
              <a:ext uri="{FF2B5EF4-FFF2-40B4-BE49-F238E27FC236}">
                <a16:creationId xmlns:a16="http://schemas.microsoft.com/office/drawing/2014/main" id="{36CECB4F-7A0C-ADC2-D8EA-24AA5DEBAEF7}"/>
              </a:ext>
            </a:extLst>
          </p:cNvPr>
          <p:cNvCxnSpPr/>
          <p:nvPr/>
        </p:nvCxnSpPr>
        <p:spPr>
          <a:xfrm>
            <a:off x="7001982" y="5231638"/>
            <a:ext cx="2467787" cy="0"/>
          </a:xfrm>
          <a:prstGeom prst="line">
            <a:avLst/>
          </a:prstGeom>
          <a:noFill/>
          <a:ln w="12700" cap="flat" cmpd="sng" algn="ctr">
            <a:solidFill>
              <a:srgbClr val="747480"/>
            </a:solidFill>
            <a:prstDash val="solid"/>
            <a:round/>
            <a:headEnd type="none" w="med" len="med"/>
            <a:tailEnd type="none" w="med" len="med"/>
          </a:ln>
          <a:effectLst/>
        </p:spPr>
      </p:cxnSp>
      <p:cxnSp>
        <p:nvCxnSpPr>
          <p:cNvPr id="25" name="Straight Connector 24">
            <a:extLst>
              <a:ext uri="{FF2B5EF4-FFF2-40B4-BE49-F238E27FC236}">
                <a16:creationId xmlns:a16="http://schemas.microsoft.com/office/drawing/2014/main" id="{CDA56D9F-9DAF-F587-924A-0EB85C7A8878}"/>
              </a:ext>
            </a:extLst>
          </p:cNvPr>
          <p:cNvCxnSpPr/>
          <p:nvPr/>
        </p:nvCxnSpPr>
        <p:spPr>
          <a:xfrm>
            <a:off x="8854904" y="5231638"/>
            <a:ext cx="614865" cy="0"/>
          </a:xfrm>
          <a:prstGeom prst="line">
            <a:avLst/>
          </a:prstGeom>
          <a:noFill/>
          <a:ln w="12700" cap="flat" cmpd="sng" algn="ctr">
            <a:solidFill>
              <a:srgbClr val="747480"/>
            </a:solidFill>
            <a:prstDash val="solid"/>
            <a:round/>
            <a:headEnd type="none" w="med" len="med"/>
            <a:tailEnd type="none" w="med" len="med"/>
          </a:ln>
          <a:effectLst/>
        </p:spPr>
      </p:cxnSp>
      <p:cxnSp>
        <p:nvCxnSpPr>
          <p:cNvPr id="26" name="Straight Connector 25">
            <a:extLst>
              <a:ext uri="{FF2B5EF4-FFF2-40B4-BE49-F238E27FC236}">
                <a16:creationId xmlns:a16="http://schemas.microsoft.com/office/drawing/2014/main" id="{0DCD76B7-7DE7-E31E-E5DE-EC28915BF622}"/>
              </a:ext>
            </a:extLst>
          </p:cNvPr>
          <p:cNvCxnSpPr/>
          <p:nvPr/>
        </p:nvCxnSpPr>
        <p:spPr>
          <a:xfrm>
            <a:off x="3154844" y="3660762"/>
            <a:ext cx="2138016" cy="0"/>
          </a:xfrm>
          <a:prstGeom prst="line">
            <a:avLst/>
          </a:prstGeom>
          <a:noFill/>
          <a:ln w="12700" cap="flat" cmpd="sng" algn="ctr">
            <a:solidFill>
              <a:schemeClr val="bg1"/>
            </a:solidFill>
            <a:prstDash val="solid"/>
            <a:tailEnd type="none"/>
          </a:ln>
          <a:effectLst/>
        </p:spPr>
      </p:cxnSp>
      <p:cxnSp>
        <p:nvCxnSpPr>
          <p:cNvPr id="27" name="Straight Connector 26">
            <a:extLst>
              <a:ext uri="{FF2B5EF4-FFF2-40B4-BE49-F238E27FC236}">
                <a16:creationId xmlns:a16="http://schemas.microsoft.com/office/drawing/2014/main" id="{2FE527DE-785E-7135-6B70-CB3C4D8ADBFE}"/>
              </a:ext>
            </a:extLst>
          </p:cNvPr>
          <p:cNvCxnSpPr/>
          <p:nvPr/>
        </p:nvCxnSpPr>
        <p:spPr>
          <a:xfrm>
            <a:off x="5374808" y="3660762"/>
            <a:ext cx="869378" cy="0"/>
          </a:xfrm>
          <a:prstGeom prst="line">
            <a:avLst/>
          </a:prstGeom>
          <a:noFill/>
          <a:ln w="12700" cap="flat" cmpd="sng" algn="ctr">
            <a:solidFill>
              <a:srgbClr val="747480"/>
            </a:solidFill>
            <a:prstDash val="solid"/>
            <a:round/>
            <a:headEnd type="none" w="med" len="med"/>
            <a:tailEnd type="none" w="med" len="med"/>
          </a:ln>
          <a:effectLst/>
        </p:spPr>
      </p:cxnSp>
      <p:cxnSp>
        <p:nvCxnSpPr>
          <p:cNvPr id="28" name="Straight Connector 27">
            <a:extLst>
              <a:ext uri="{FF2B5EF4-FFF2-40B4-BE49-F238E27FC236}">
                <a16:creationId xmlns:a16="http://schemas.microsoft.com/office/drawing/2014/main" id="{D41265D8-DA90-846C-9C78-40A775B9702B}"/>
              </a:ext>
            </a:extLst>
          </p:cNvPr>
          <p:cNvCxnSpPr/>
          <p:nvPr/>
        </p:nvCxnSpPr>
        <p:spPr>
          <a:xfrm>
            <a:off x="8796945" y="3865028"/>
            <a:ext cx="320271" cy="0"/>
          </a:xfrm>
          <a:prstGeom prst="line">
            <a:avLst/>
          </a:prstGeom>
          <a:noFill/>
          <a:ln w="12700" cap="flat" cmpd="sng" algn="ctr">
            <a:solidFill>
              <a:srgbClr val="FFE600"/>
            </a:solidFill>
            <a:prstDash val="solid"/>
            <a:round/>
            <a:headEnd type="none" w="med" len="med"/>
            <a:tailEnd type="none" w="med" len="med"/>
          </a:ln>
          <a:effectLst/>
        </p:spPr>
      </p:cxnSp>
      <p:cxnSp>
        <p:nvCxnSpPr>
          <p:cNvPr id="29" name="Straight Connector 28">
            <a:extLst>
              <a:ext uri="{FF2B5EF4-FFF2-40B4-BE49-F238E27FC236}">
                <a16:creationId xmlns:a16="http://schemas.microsoft.com/office/drawing/2014/main" id="{131A2606-B4A6-1648-6592-C8C93E3DC1AE}"/>
              </a:ext>
            </a:extLst>
          </p:cNvPr>
          <p:cNvCxnSpPr/>
          <p:nvPr/>
        </p:nvCxnSpPr>
        <p:spPr>
          <a:xfrm>
            <a:off x="3657062" y="2489956"/>
            <a:ext cx="3384391" cy="0"/>
          </a:xfrm>
          <a:prstGeom prst="line">
            <a:avLst/>
          </a:prstGeom>
          <a:noFill/>
          <a:ln w="12700" cap="flat" cmpd="sng" algn="ctr">
            <a:solidFill>
              <a:srgbClr val="FFE600"/>
            </a:solidFill>
            <a:prstDash val="solid"/>
            <a:round/>
            <a:headEnd type="none" w="med" len="med"/>
            <a:tailEnd type="none" w="med" len="med"/>
          </a:ln>
          <a:effectLst/>
        </p:spPr>
      </p:cxnSp>
      <p:sp>
        <p:nvSpPr>
          <p:cNvPr id="31" name="Freeform 20">
            <a:extLst>
              <a:ext uri="{FF2B5EF4-FFF2-40B4-BE49-F238E27FC236}">
                <a16:creationId xmlns:a16="http://schemas.microsoft.com/office/drawing/2014/main" id="{DC34907A-5079-46F8-309C-704DE862768C}"/>
              </a:ext>
            </a:extLst>
          </p:cNvPr>
          <p:cNvSpPr>
            <a:spLocks noEditPoints="1"/>
          </p:cNvSpPr>
          <p:nvPr/>
        </p:nvSpPr>
        <p:spPr bwMode="auto">
          <a:xfrm>
            <a:off x="1631902" y="3151179"/>
            <a:ext cx="475242" cy="598487"/>
          </a:xfrm>
          <a:custGeom>
            <a:avLst/>
            <a:gdLst>
              <a:gd name="T0" fmla="*/ 326 w 1413"/>
              <a:gd name="T1" fmla="*/ 660 h 1760"/>
              <a:gd name="T2" fmla="*/ 448 w 1413"/>
              <a:gd name="T3" fmla="*/ 672 h 1760"/>
              <a:gd name="T4" fmla="*/ 383 w 1413"/>
              <a:gd name="T5" fmla="*/ 398 h 1760"/>
              <a:gd name="T6" fmla="*/ 686 w 1413"/>
              <a:gd name="T7" fmla="*/ 793 h 1760"/>
              <a:gd name="T8" fmla="*/ 485 w 1413"/>
              <a:gd name="T9" fmla="*/ 431 h 1760"/>
              <a:gd name="T10" fmla="*/ 482 w 1413"/>
              <a:gd name="T11" fmla="*/ 477 h 1760"/>
              <a:gd name="T12" fmla="*/ 833 w 1413"/>
              <a:gd name="T13" fmla="*/ 318 h 1760"/>
              <a:gd name="T14" fmla="*/ 896 w 1413"/>
              <a:gd name="T15" fmla="*/ 216 h 1760"/>
              <a:gd name="T16" fmla="*/ 856 w 1413"/>
              <a:gd name="T17" fmla="*/ 104 h 1760"/>
              <a:gd name="T18" fmla="*/ 628 w 1413"/>
              <a:gd name="T19" fmla="*/ 162 h 1760"/>
              <a:gd name="T20" fmla="*/ 643 w 1413"/>
              <a:gd name="T21" fmla="*/ 275 h 1760"/>
              <a:gd name="T22" fmla="*/ 1117 w 1413"/>
              <a:gd name="T23" fmla="*/ 625 h 1760"/>
              <a:gd name="T24" fmla="*/ 994 w 1413"/>
              <a:gd name="T25" fmla="*/ 651 h 1760"/>
              <a:gd name="T26" fmla="*/ 1112 w 1413"/>
              <a:gd name="T27" fmla="*/ 682 h 1760"/>
              <a:gd name="T28" fmla="*/ 1147 w 1413"/>
              <a:gd name="T29" fmla="*/ 466 h 1760"/>
              <a:gd name="T30" fmla="*/ 1121 w 1413"/>
              <a:gd name="T31" fmla="*/ 400 h 1760"/>
              <a:gd name="T32" fmla="*/ 1035 w 1413"/>
              <a:gd name="T33" fmla="*/ 408 h 1760"/>
              <a:gd name="T34" fmla="*/ 381 w 1413"/>
              <a:gd name="T35" fmla="*/ 1470 h 1760"/>
              <a:gd name="T36" fmla="*/ 254 w 1413"/>
              <a:gd name="T37" fmla="*/ 1627 h 1760"/>
              <a:gd name="T38" fmla="*/ 355 w 1413"/>
              <a:gd name="T39" fmla="*/ 1578 h 1760"/>
              <a:gd name="T40" fmla="*/ 1186 w 1413"/>
              <a:gd name="T41" fmla="*/ 1510 h 1760"/>
              <a:gd name="T42" fmla="*/ 1125 w 1413"/>
              <a:gd name="T43" fmla="*/ 1503 h 1760"/>
              <a:gd name="T44" fmla="*/ 1241 w 1413"/>
              <a:gd name="T45" fmla="*/ 1530 h 1760"/>
              <a:gd name="T46" fmla="*/ 1264 w 1413"/>
              <a:gd name="T47" fmla="*/ 1609 h 1760"/>
              <a:gd name="T48" fmla="*/ 1356 w 1413"/>
              <a:gd name="T49" fmla="*/ 1556 h 1760"/>
              <a:gd name="T50" fmla="*/ 119 w 1413"/>
              <a:gd name="T51" fmla="*/ 1551 h 1760"/>
              <a:gd name="T52" fmla="*/ 215 w 1413"/>
              <a:gd name="T53" fmla="*/ 1535 h 1760"/>
              <a:gd name="T54" fmla="*/ 560 w 1413"/>
              <a:gd name="T55" fmla="*/ 1698 h 1760"/>
              <a:gd name="T56" fmla="*/ 419 w 1413"/>
              <a:gd name="T57" fmla="*/ 1510 h 1760"/>
              <a:gd name="T58" fmla="*/ 131 w 1413"/>
              <a:gd name="T59" fmla="*/ 1623 h 1760"/>
              <a:gd name="T60" fmla="*/ 87 w 1413"/>
              <a:gd name="T61" fmla="*/ 1321 h 1760"/>
              <a:gd name="T62" fmla="*/ 292 w 1413"/>
              <a:gd name="T63" fmla="*/ 1302 h 1760"/>
              <a:gd name="T64" fmla="*/ 494 w 1413"/>
              <a:gd name="T65" fmla="*/ 1329 h 1760"/>
              <a:gd name="T66" fmla="*/ 571 w 1413"/>
              <a:gd name="T67" fmla="*/ 1076 h 1760"/>
              <a:gd name="T68" fmla="*/ 588 w 1413"/>
              <a:gd name="T69" fmla="*/ 919 h 1760"/>
              <a:gd name="T70" fmla="*/ 642 w 1413"/>
              <a:gd name="T71" fmla="*/ 607 h 1760"/>
              <a:gd name="T72" fmla="*/ 294 w 1413"/>
              <a:gd name="T73" fmla="*/ 678 h 1760"/>
              <a:gd name="T74" fmla="*/ 3 w 1413"/>
              <a:gd name="T75" fmla="*/ 589 h 1760"/>
              <a:gd name="T76" fmla="*/ 234 w 1413"/>
              <a:gd name="T77" fmla="*/ 463 h 1760"/>
              <a:gd name="T78" fmla="*/ 527 w 1413"/>
              <a:gd name="T79" fmla="*/ 423 h 1760"/>
              <a:gd name="T80" fmla="*/ 593 w 1413"/>
              <a:gd name="T81" fmla="*/ 251 h 1760"/>
              <a:gd name="T82" fmla="*/ 701 w 1413"/>
              <a:gd name="T83" fmla="*/ 3 h 1760"/>
              <a:gd name="T84" fmla="*/ 933 w 1413"/>
              <a:gd name="T85" fmla="*/ 201 h 1760"/>
              <a:gd name="T86" fmla="*/ 854 w 1413"/>
              <a:gd name="T87" fmla="*/ 461 h 1760"/>
              <a:gd name="T88" fmla="*/ 1225 w 1413"/>
              <a:gd name="T89" fmla="*/ 434 h 1760"/>
              <a:gd name="T90" fmla="*/ 1196 w 1413"/>
              <a:gd name="T91" fmla="*/ 676 h 1760"/>
              <a:gd name="T92" fmla="*/ 847 w 1413"/>
              <a:gd name="T93" fmla="*/ 626 h 1760"/>
              <a:gd name="T94" fmla="*/ 933 w 1413"/>
              <a:gd name="T95" fmla="*/ 904 h 1760"/>
              <a:gd name="T96" fmla="*/ 884 w 1413"/>
              <a:gd name="T97" fmla="*/ 1063 h 1760"/>
              <a:gd name="T98" fmla="*/ 963 w 1413"/>
              <a:gd name="T99" fmla="*/ 1277 h 1760"/>
              <a:gd name="T100" fmla="*/ 1076 w 1413"/>
              <a:gd name="T101" fmla="*/ 1299 h 1760"/>
              <a:gd name="T102" fmla="*/ 1272 w 1413"/>
              <a:gd name="T103" fmla="*/ 1262 h 1760"/>
              <a:gd name="T104" fmla="*/ 1401 w 1413"/>
              <a:gd name="T105" fmla="*/ 1544 h 1760"/>
              <a:gd name="T106" fmla="*/ 1147 w 1413"/>
              <a:gd name="T107" fmla="*/ 1606 h 1760"/>
              <a:gd name="T108" fmla="*/ 1007 w 1413"/>
              <a:gd name="T109" fmla="*/ 1485 h 1760"/>
              <a:gd name="T110" fmla="*/ 868 w 1413"/>
              <a:gd name="T111" fmla="*/ 1727 h 1760"/>
              <a:gd name="T112" fmla="*/ 683 w 1413"/>
              <a:gd name="T113" fmla="*/ 1758 h 1760"/>
              <a:gd name="T114" fmla="*/ 863 w 1413"/>
              <a:gd name="T115" fmla="*/ 986 h 1760"/>
              <a:gd name="T116" fmla="*/ 902 w 1413"/>
              <a:gd name="T117" fmla="*/ 881 h 1760"/>
              <a:gd name="T118" fmla="*/ 859 w 1413"/>
              <a:gd name="T119" fmla="*/ 799 h 1760"/>
              <a:gd name="T120" fmla="*/ 647 w 1413"/>
              <a:gd name="T121" fmla="*/ 806 h 1760"/>
              <a:gd name="T122" fmla="*/ 619 w 1413"/>
              <a:gd name="T123" fmla="*/ 922 h 1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13" h="1760">
                <a:moveTo>
                  <a:pt x="486" y="606"/>
                </a:moveTo>
                <a:lnTo>
                  <a:pt x="480" y="613"/>
                </a:lnTo>
                <a:lnTo>
                  <a:pt x="472" y="619"/>
                </a:lnTo>
                <a:lnTo>
                  <a:pt x="464" y="625"/>
                </a:lnTo>
                <a:lnTo>
                  <a:pt x="455" y="630"/>
                </a:lnTo>
                <a:lnTo>
                  <a:pt x="446" y="634"/>
                </a:lnTo>
                <a:lnTo>
                  <a:pt x="436" y="637"/>
                </a:lnTo>
                <a:lnTo>
                  <a:pt x="426" y="638"/>
                </a:lnTo>
                <a:lnTo>
                  <a:pt x="420" y="639"/>
                </a:lnTo>
                <a:lnTo>
                  <a:pt x="415" y="639"/>
                </a:lnTo>
                <a:lnTo>
                  <a:pt x="403" y="638"/>
                </a:lnTo>
                <a:lnTo>
                  <a:pt x="392" y="636"/>
                </a:lnTo>
                <a:lnTo>
                  <a:pt x="387" y="635"/>
                </a:lnTo>
                <a:lnTo>
                  <a:pt x="382" y="633"/>
                </a:lnTo>
                <a:lnTo>
                  <a:pt x="376" y="631"/>
                </a:lnTo>
                <a:lnTo>
                  <a:pt x="372" y="628"/>
                </a:lnTo>
                <a:lnTo>
                  <a:pt x="367" y="625"/>
                </a:lnTo>
                <a:lnTo>
                  <a:pt x="362" y="622"/>
                </a:lnTo>
                <a:lnTo>
                  <a:pt x="358" y="619"/>
                </a:lnTo>
                <a:lnTo>
                  <a:pt x="353" y="616"/>
                </a:lnTo>
                <a:lnTo>
                  <a:pt x="346" y="608"/>
                </a:lnTo>
                <a:lnTo>
                  <a:pt x="339" y="599"/>
                </a:lnTo>
                <a:lnTo>
                  <a:pt x="336" y="608"/>
                </a:lnTo>
                <a:lnTo>
                  <a:pt x="333" y="617"/>
                </a:lnTo>
                <a:lnTo>
                  <a:pt x="328" y="630"/>
                </a:lnTo>
                <a:lnTo>
                  <a:pt x="323" y="643"/>
                </a:lnTo>
                <a:lnTo>
                  <a:pt x="308" y="643"/>
                </a:lnTo>
                <a:lnTo>
                  <a:pt x="311" y="646"/>
                </a:lnTo>
                <a:lnTo>
                  <a:pt x="313" y="649"/>
                </a:lnTo>
                <a:lnTo>
                  <a:pt x="314" y="652"/>
                </a:lnTo>
                <a:lnTo>
                  <a:pt x="315" y="654"/>
                </a:lnTo>
                <a:lnTo>
                  <a:pt x="316" y="657"/>
                </a:lnTo>
                <a:lnTo>
                  <a:pt x="317" y="660"/>
                </a:lnTo>
                <a:lnTo>
                  <a:pt x="320" y="660"/>
                </a:lnTo>
                <a:lnTo>
                  <a:pt x="323" y="660"/>
                </a:lnTo>
                <a:lnTo>
                  <a:pt x="326" y="660"/>
                </a:lnTo>
                <a:lnTo>
                  <a:pt x="330" y="660"/>
                </a:lnTo>
                <a:lnTo>
                  <a:pt x="335" y="661"/>
                </a:lnTo>
                <a:lnTo>
                  <a:pt x="340" y="663"/>
                </a:lnTo>
                <a:lnTo>
                  <a:pt x="344" y="666"/>
                </a:lnTo>
                <a:lnTo>
                  <a:pt x="348" y="668"/>
                </a:lnTo>
                <a:lnTo>
                  <a:pt x="350" y="671"/>
                </a:lnTo>
                <a:lnTo>
                  <a:pt x="352" y="674"/>
                </a:lnTo>
                <a:lnTo>
                  <a:pt x="354" y="676"/>
                </a:lnTo>
                <a:lnTo>
                  <a:pt x="356" y="678"/>
                </a:lnTo>
                <a:lnTo>
                  <a:pt x="360" y="678"/>
                </a:lnTo>
                <a:lnTo>
                  <a:pt x="362" y="678"/>
                </a:lnTo>
                <a:lnTo>
                  <a:pt x="365" y="676"/>
                </a:lnTo>
                <a:lnTo>
                  <a:pt x="369" y="675"/>
                </a:lnTo>
                <a:lnTo>
                  <a:pt x="374" y="675"/>
                </a:lnTo>
                <a:lnTo>
                  <a:pt x="379" y="675"/>
                </a:lnTo>
                <a:lnTo>
                  <a:pt x="384" y="676"/>
                </a:lnTo>
                <a:lnTo>
                  <a:pt x="388" y="678"/>
                </a:lnTo>
                <a:lnTo>
                  <a:pt x="391" y="680"/>
                </a:lnTo>
                <a:lnTo>
                  <a:pt x="394" y="682"/>
                </a:lnTo>
                <a:lnTo>
                  <a:pt x="396" y="684"/>
                </a:lnTo>
                <a:lnTo>
                  <a:pt x="399" y="685"/>
                </a:lnTo>
                <a:lnTo>
                  <a:pt x="402" y="684"/>
                </a:lnTo>
                <a:lnTo>
                  <a:pt x="404" y="682"/>
                </a:lnTo>
                <a:lnTo>
                  <a:pt x="407" y="680"/>
                </a:lnTo>
                <a:lnTo>
                  <a:pt x="410" y="678"/>
                </a:lnTo>
                <a:lnTo>
                  <a:pt x="415" y="676"/>
                </a:lnTo>
                <a:lnTo>
                  <a:pt x="420" y="675"/>
                </a:lnTo>
                <a:lnTo>
                  <a:pt x="424" y="675"/>
                </a:lnTo>
                <a:lnTo>
                  <a:pt x="429" y="675"/>
                </a:lnTo>
                <a:lnTo>
                  <a:pt x="433" y="676"/>
                </a:lnTo>
                <a:lnTo>
                  <a:pt x="436" y="677"/>
                </a:lnTo>
                <a:lnTo>
                  <a:pt x="439" y="678"/>
                </a:lnTo>
                <a:lnTo>
                  <a:pt x="442" y="678"/>
                </a:lnTo>
                <a:lnTo>
                  <a:pt x="444" y="677"/>
                </a:lnTo>
                <a:lnTo>
                  <a:pt x="446" y="675"/>
                </a:lnTo>
                <a:lnTo>
                  <a:pt x="448" y="672"/>
                </a:lnTo>
                <a:lnTo>
                  <a:pt x="450" y="669"/>
                </a:lnTo>
                <a:lnTo>
                  <a:pt x="454" y="666"/>
                </a:lnTo>
                <a:lnTo>
                  <a:pt x="459" y="663"/>
                </a:lnTo>
                <a:lnTo>
                  <a:pt x="463" y="662"/>
                </a:lnTo>
                <a:lnTo>
                  <a:pt x="468" y="660"/>
                </a:lnTo>
                <a:lnTo>
                  <a:pt x="471" y="660"/>
                </a:lnTo>
                <a:lnTo>
                  <a:pt x="475" y="660"/>
                </a:lnTo>
                <a:lnTo>
                  <a:pt x="478" y="660"/>
                </a:lnTo>
                <a:lnTo>
                  <a:pt x="481" y="660"/>
                </a:lnTo>
                <a:lnTo>
                  <a:pt x="483" y="657"/>
                </a:lnTo>
                <a:lnTo>
                  <a:pt x="484" y="655"/>
                </a:lnTo>
                <a:lnTo>
                  <a:pt x="484" y="651"/>
                </a:lnTo>
                <a:lnTo>
                  <a:pt x="486" y="648"/>
                </a:lnTo>
                <a:lnTo>
                  <a:pt x="489" y="644"/>
                </a:lnTo>
                <a:lnTo>
                  <a:pt x="492" y="640"/>
                </a:lnTo>
                <a:lnTo>
                  <a:pt x="496" y="637"/>
                </a:lnTo>
                <a:lnTo>
                  <a:pt x="500" y="635"/>
                </a:lnTo>
                <a:lnTo>
                  <a:pt x="504" y="633"/>
                </a:lnTo>
                <a:lnTo>
                  <a:pt x="507" y="633"/>
                </a:lnTo>
                <a:lnTo>
                  <a:pt x="510" y="632"/>
                </a:lnTo>
                <a:lnTo>
                  <a:pt x="513" y="630"/>
                </a:lnTo>
                <a:lnTo>
                  <a:pt x="514" y="627"/>
                </a:lnTo>
                <a:lnTo>
                  <a:pt x="514" y="625"/>
                </a:lnTo>
                <a:lnTo>
                  <a:pt x="513" y="621"/>
                </a:lnTo>
                <a:lnTo>
                  <a:pt x="486" y="606"/>
                </a:lnTo>
                <a:close/>
                <a:moveTo>
                  <a:pt x="336" y="492"/>
                </a:moveTo>
                <a:lnTo>
                  <a:pt x="341" y="485"/>
                </a:lnTo>
                <a:lnTo>
                  <a:pt x="346" y="479"/>
                </a:lnTo>
                <a:lnTo>
                  <a:pt x="352" y="473"/>
                </a:lnTo>
                <a:lnTo>
                  <a:pt x="358" y="468"/>
                </a:lnTo>
                <a:lnTo>
                  <a:pt x="364" y="464"/>
                </a:lnTo>
                <a:lnTo>
                  <a:pt x="371" y="460"/>
                </a:lnTo>
                <a:lnTo>
                  <a:pt x="378" y="456"/>
                </a:lnTo>
                <a:lnTo>
                  <a:pt x="386" y="453"/>
                </a:lnTo>
                <a:lnTo>
                  <a:pt x="386" y="400"/>
                </a:lnTo>
                <a:lnTo>
                  <a:pt x="383" y="398"/>
                </a:lnTo>
                <a:lnTo>
                  <a:pt x="381" y="397"/>
                </a:lnTo>
                <a:lnTo>
                  <a:pt x="378" y="396"/>
                </a:lnTo>
                <a:lnTo>
                  <a:pt x="375" y="398"/>
                </a:lnTo>
                <a:lnTo>
                  <a:pt x="373" y="400"/>
                </a:lnTo>
                <a:lnTo>
                  <a:pt x="371" y="402"/>
                </a:lnTo>
                <a:lnTo>
                  <a:pt x="368" y="405"/>
                </a:lnTo>
                <a:lnTo>
                  <a:pt x="363" y="407"/>
                </a:lnTo>
                <a:lnTo>
                  <a:pt x="359" y="409"/>
                </a:lnTo>
                <a:lnTo>
                  <a:pt x="354" y="410"/>
                </a:lnTo>
                <a:lnTo>
                  <a:pt x="349" y="410"/>
                </a:lnTo>
                <a:lnTo>
                  <a:pt x="345" y="410"/>
                </a:lnTo>
                <a:lnTo>
                  <a:pt x="342" y="409"/>
                </a:lnTo>
                <a:lnTo>
                  <a:pt x="339" y="409"/>
                </a:lnTo>
                <a:lnTo>
                  <a:pt x="336" y="409"/>
                </a:lnTo>
                <a:lnTo>
                  <a:pt x="334" y="411"/>
                </a:lnTo>
                <a:lnTo>
                  <a:pt x="333" y="414"/>
                </a:lnTo>
                <a:lnTo>
                  <a:pt x="331" y="417"/>
                </a:lnTo>
                <a:lnTo>
                  <a:pt x="329" y="420"/>
                </a:lnTo>
                <a:lnTo>
                  <a:pt x="326" y="423"/>
                </a:lnTo>
                <a:lnTo>
                  <a:pt x="322" y="427"/>
                </a:lnTo>
                <a:lnTo>
                  <a:pt x="318" y="429"/>
                </a:lnTo>
                <a:lnTo>
                  <a:pt x="314" y="431"/>
                </a:lnTo>
                <a:lnTo>
                  <a:pt x="310" y="432"/>
                </a:lnTo>
                <a:lnTo>
                  <a:pt x="306" y="432"/>
                </a:lnTo>
                <a:lnTo>
                  <a:pt x="303" y="432"/>
                </a:lnTo>
                <a:lnTo>
                  <a:pt x="300" y="434"/>
                </a:lnTo>
                <a:lnTo>
                  <a:pt x="299" y="436"/>
                </a:lnTo>
                <a:lnTo>
                  <a:pt x="298" y="439"/>
                </a:lnTo>
                <a:lnTo>
                  <a:pt x="298" y="441"/>
                </a:lnTo>
                <a:lnTo>
                  <a:pt x="298" y="443"/>
                </a:lnTo>
                <a:lnTo>
                  <a:pt x="296" y="449"/>
                </a:lnTo>
                <a:lnTo>
                  <a:pt x="318" y="449"/>
                </a:lnTo>
                <a:lnTo>
                  <a:pt x="324" y="461"/>
                </a:lnTo>
                <a:lnTo>
                  <a:pt x="330" y="475"/>
                </a:lnTo>
                <a:lnTo>
                  <a:pt x="336" y="492"/>
                </a:lnTo>
                <a:close/>
                <a:moveTo>
                  <a:pt x="686" y="793"/>
                </a:moveTo>
                <a:lnTo>
                  <a:pt x="686" y="773"/>
                </a:lnTo>
                <a:lnTo>
                  <a:pt x="683" y="773"/>
                </a:lnTo>
                <a:lnTo>
                  <a:pt x="680" y="774"/>
                </a:lnTo>
                <a:lnTo>
                  <a:pt x="678" y="776"/>
                </a:lnTo>
                <a:lnTo>
                  <a:pt x="677" y="779"/>
                </a:lnTo>
                <a:lnTo>
                  <a:pt x="676" y="782"/>
                </a:lnTo>
                <a:lnTo>
                  <a:pt x="686" y="793"/>
                </a:lnTo>
                <a:close/>
                <a:moveTo>
                  <a:pt x="493" y="491"/>
                </a:moveTo>
                <a:lnTo>
                  <a:pt x="527" y="491"/>
                </a:lnTo>
                <a:lnTo>
                  <a:pt x="527" y="490"/>
                </a:lnTo>
                <a:lnTo>
                  <a:pt x="525" y="485"/>
                </a:lnTo>
                <a:lnTo>
                  <a:pt x="524" y="481"/>
                </a:lnTo>
                <a:lnTo>
                  <a:pt x="524" y="477"/>
                </a:lnTo>
                <a:lnTo>
                  <a:pt x="525" y="473"/>
                </a:lnTo>
                <a:lnTo>
                  <a:pt x="525" y="472"/>
                </a:lnTo>
                <a:lnTo>
                  <a:pt x="525" y="471"/>
                </a:lnTo>
                <a:lnTo>
                  <a:pt x="525" y="467"/>
                </a:lnTo>
                <a:lnTo>
                  <a:pt x="522" y="465"/>
                </a:lnTo>
                <a:lnTo>
                  <a:pt x="521" y="465"/>
                </a:lnTo>
                <a:lnTo>
                  <a:pt x="520" y="464"/>
                </a:lnTo>
                <a:lnTo>
                  <a:pt x="517" y="463"/>
                </a:lnTo>
                <a:lnTo>
                  <a:pt x="513" y="461"/>
                </a:lnTo>
                <a:lnTo>
                  <a:pt x="512" y="460"/>
                </a:lnTo>
                <a:lnTo>
                  <a:pt x="510" y="458"/>
                </a:lnTo>
                <a:lnTo>
                  <a:pt x="506" y="454"/>
                </a:lnTo>
                <a:lnTo>
                  <a:pt x="503" y="450"/>
                </a:lnTo>
                <a:lnTo>
                  <a:pt x="501" y="446"/>
                </a:lnTo>
                <a:lnTo>
                  <a:pt x="500" y="443"/>
                </a:lnTo>
                <a:lnTo>
                  <a:pt x="500" y="439"/>
                </a:lnTo>
                <a:lnTo>
                  <a:pt x="499" y="436"/>
                </a:lnTo>
                <a:lnTo>
                  <a:pt x="498" y="434"/>
                </a:lnTo>
                <a:lnTo>
                  <a:pt x="495" y="432"/>
                </a:lnTo>
                <a:lnTo>
                  <a:pt x="494" y="432"/>
                </a:lnTo>
                <a:lnTo>
                  <a:pt x="492" y="432"/>
                </a:lnTo>
                <a:lnTo>
                  <a:pt x="489" y="432"/>
                </a:lnTo>
                <a:lnTo>
                  <a:pt x="485" y="431"/>
                </a:lnTo>
                <a:lnTo>
                  <a:pt x="481" y="429"/>
                </a:lnTo>
                <a:lnTo>
                  <a:pt x="476" y="427"/>
                </a:lnTo>
                <a:lnTo>
                  <a:pt x="472" y="424"/>
                </a:lnTo>
                <a:lnTo>
                  <a:pt x="469" y="420"/>
                </a:lnTo>
                <a:lnTo>
                  <a:pt x="467" y="417"/>
                </a:lnTo>
                <a:lnTo>
                  <a:pt x="466" y="414"/>
                </a:lnTo>
                <a:lnTo>
                  <a:pt x="464" y="412"/>
                </a:lnTo>
                <a:lnTo>
                  <a:pt x="462" y="409"/>
                </a:lnTo>
                <a:lnTo>
                  <a:pt x="459" y="409"/>
                </a:lnTo>
                <a:lnTo>
                  <a:pt x="456" y="409"/>
                </a:lnTo>
                <a:lnTo>
                  <a:pt x="453" y="410"/>
                </a:lnTo>
                <a:lnTo>
                  <a:pt x="449" y="410"/>
                </a:lnTo>
                <a:lnTo>
                  <a:pt x="444" y="410"/>
                </a:lnTo>
                <a:lnTo>
                  <a:pt x="440" y="409"/>
                </a:lnTo>
                <a:lnTo>
                  <a:pt x="435" y="407"/>
                </a:lnTo>
                <a:lnTo>
                  <a:pt x="431" y="405"/>
                </a:lnTo>
                <a:lnTo>
                  <a:pt x="428" y="403"/>
                </a:lnTo>
                <a:lnTo>
                  <a:pt x="426" y="400"/>
                </a:lnTo>
                <a:lnTo>
                  <a:pt x="424" y="398"/>
                </a:lnTo>
                <a:lnTo>
                  <a:pt x="421" y="396"/>
                </a:lnTo>
                <a:lnTo>
                  <a:pt x="419" y="397"/>
                </a:lnTo>
                <a:lnTo>
                  <a:pt x="418" y="397"/>
                </a:lnTo>
                <a:lnTo>
                  <a:pt x="415" y="398"/>
                </a:lnTo>
                <a:lnTo>
                  <a:pt x="412" y="400"/>
                </a:lnTo>
                <a:lnTo>
                  <a:pt x="412" y="449"/>
                </a:lnTo>
                <a:lnTo>
                  <a:pt x="415" y="449"/>
                </a:lnTo>
                <a:lnTo>
                  <a:pt x="427" y="449"/>
                </a:lnTo>
                <a:lnTo>
                  <a:pt x="433" y="450"/>
                </a:lnTo>
                <a:lnTo>
                  <a:pt x="439" y="452"/>
                </a:lnTo>
                <a:lnTo>
                  <a:pt x="450" y="455"/>
                </a:lnTo>
                <a:lnTo>
                  <a:pt x="455" y="458"/>
                </a:lnTo>
                <a:lnTo>
                  <a:pt x="460" y="460"/>
                </a:lnTo>
                <a:lnTo>
                  <a:pt x="470" y="466"/>
                </a:lnTo>
                <a:lnTo>
                  <a:pt x="474" y="470"/>
                </a:lnTo>
                <a:lnTo>
                  <a:pt x="478" y="473"/>
                </a:lnTo>
                <a:lnTo>
                  <a:pt x="482" y="477"/>
                </a:lnTo>
                <a:lnTo>
                  <a:pt x="486" y="482"/>
                </a:lnTo>
                <a:lnTo>
                  <a:pt x="493" y="491"/>
                </a:lnTo>
                <a:close/>
                <a:moveTo>
                  <a:pt x="836" y="179"/>
                </a:moveTo>
                <a:lnTo>
                  <a:pt x="840" y="188"/>
                </a:lnTo>
                <a:lnTo>
                  <a:pt x="843" y="198"/>
                </a:lnTo>
                <a:lnTo>
                  <a:pt x="844" y="203"/>
                </a:lnTo>
                <a:lnTo>
                  <a:pt x="844" y="209"/>
                </a:lnTo>
                <a:lnTo>
                  <a:pt x="845" y="214"/>
                </a:lnTo>
                <a:lnTo>
                  <a:pt x="845" y="219"/>
                </a:lnTo>
                <a:lnTo>
                  <a:pt x="845" y="225"/>
                </a:lnTo>
                <a:lnTo>
                  <a:pt x="844" y="231"/>
                </a:lnTo>
                <a:lnTo>
                  <a:pt x="843" y="237"/>
                </a:lnTo>
                <a:lnTo>
                  <a:pt x="843" y="240"/>
                </a:lnTo>
                <a:lnTo>
                  <a:pt x="842" y="243"/>
                </a:lnTo>
                <a:lnTo>
                  <a:pt x="840" y="249"/>
                </a:lnTo>
                <a:lnTo>
                  <a:pt x="838" y="254"/>
                </a:lnTo>
                <a:lnTo>
                  <a:pt x="833" y="265"/>
                </a:lnTo>
                <a:lnTo>
                  <a:pt x="826" y="274"/>
                </a:lnTo>
                <a:lnTo>
                  <a:pt x="822" y="279"/>
                </a:lnTo>
                <a:lnTo>
                  <a:pt x="819" y="283"/>
                </a:lnTo>
                <a:lnTo>
                  <a:pt x="814" y="287"/>
                </a:lnTo>
                <a:lnTo>
                  <a:pt x="810" y="291"/>
                </a:lnTo>
                <a:lnTo>
                  <a:pt x="805" y="295"/>
                </a:lnTo>
                <a:lnTo>
                  <a:pt x="800" y="298"/>
                </a:lnTo>
                <a:lnTo>
                  <a:pt x="800" y="334"/>
                </a:lnTo>
                <a:lnTo>
                  <a:pt x="804" y="334"/>
                </a:lnTo>
                <a:lnTo>
                  <a:pt x="807" y="335"/>
                </a:lnTo>
                <a:lnTo>
                  <a:pt x="810" y="336"/>
                </a:lnTo>
                <a:lnTo>
                  <a:pt x="813" y="336"/>
                </a:lnTo>
                <a:lnTo>
                  <a:pt x="816" y="334"/>
                </a:lnTo>
                <a:lnTo>
                  <a:pt x="817" y="332"/>
                </a:lnTo>
                <a:lnTo>
                  <a:pt x="818" y="329"/>
                </a:lnTo>
                <a:lnTo>
                  <a:pt x="821" y="326"/>
                </a:lnTo>
                <a:lnTo>
                  <a:pt x="824" y="323"/>
                </a:lnTo>
                <a:lnTo>
                  <a:pt x="829" y="320"/>
                </a:lnTo>
                <a:lnTo>
                  <a:pt x="833" y="318"/>
                </a:lnTo>
                <a:lnTo>
                  <a:pt x="837" y="316"/>
                </a:lnTo>
                <a:lnTo>
                  <a:pt x="841" y="315"/>
                </a:lnTo>
                <a:lnTo>
                  <a:pt x="845" y="316"/>
                </a:lnTo>
                <a:lnTo>
                  <a:pt x="847" y="315"/>
                </a:lnTo>
                <a:lnTo>
                  <a:pt x="850" y="314"/>
                </a:lnTo>
                <a:lnTo>
                  <a:pt x="852" y="312"/>
                </a:lnTo>
                <a:lnTo>
                  <a:pt x="853" y="309"/>
                </a:lnTo>
                <a:lnTo>
                  <a:pt x="853" y="306"/>
                </a:lnTo>
                <a:lnTo>
                  <a:pt x="855" y="302"/>
                </a:lnTo>
                <a:lnTo>
                  <a:pt x="857" y="298"/>
                </a:lnTo>
                <a:lnTo>
                  <a:pt x="860" y="294"/>
                </a:lnTo>
                <a:lnTo>
                  <a:pt x="864" y="291"/>
                </a:lnTo>
                <a:lnTo>
                  <a:pt x="868" y="288"/>
                </a:lnTo>
                <a:lnTo>
                  <a:pt x="871" y="286"/>
                </a:lnTo>
                <a:lnTo>
                  <a:pt x="874" y="285"/>
                </a:lnTo>
                <a:lnTo>
                  <a:pt x="877" y="284"/>
                </a:lnTo>
                <a:lnTo>
                  <a:pt x="880" y="283"/>
                </a:lnTo>
                <a:lnTo>
                  <a:pt x="880" y="279"/>
                </a:lnTo>
                <a:lnTo>
                  <a:pt x="880" y="277"/>
                </a:lnTo>
                <a:lnTo>
                  <a:pt x="880" y="274"/>
                </a:lnTo>
                <a:lnTo>
                  <a:pt x="880" y="270"/>
                </a:lnTo>
                <a:lnTo>
                  <a:pt x="881" y="265"/>
                </a:lnTo>
                <a:lnTo>
                  <a:pt x="883" y="260"/>
                </a:lnTo>
                <a:lnTo>
                  <a:pt x="886" y="256"/>
                </a:lnTo>
                <a:lnTo>
                  <a:pt x="888" y="252"/>
                </a:lnTo>
                <a:lnTo>
                  <a:pt x="891" y="250"/>
                </a:lnTo>
                <a:lnTo>
                  <a:pt x="894" y="248"/>
                </a:lnTo>
                <a:lnTo>
                  <a:pt x="896" y="246"/>
                </a:lnTo>
                <a:lnTo>
                  <a:pt x="898" y="243"/>
                </a:lnTo>
                <a:lnTo>
                  <a:pt x="898" y="240"/>
                </a:lnTo>
                <a:lnTo>
                  <a:pt x="897" y="238"/>
                </a:lnTo>
                <a:lnTo>
                  <a:pt x="896" y="235"/>
                </a:lnTo>
                <a:lnTo>
                  <a:pt x="895" y="231"/>
                </a:lnTo>
                <a:lnTo>
                  <a:pt x="895" y="226"/>
                </a:lnTo>
                <a:lnTo>
                  <a:pt x="895" y="221"/>
                </a:lnTo>
                <a:lnTo>
                  <a:pt x="896" y="216"/>
                </a:lnTo>
                <a:lnTo>
                  <a:pt x="898" y="212"/>
                </a:lnTo>
                <a:lnTo>
                  <a:pt x="900" y="209"/>
                </a:lnTo>
                <a:lnTo>
                  <a:pt x="902" y="206"/>
                </a:lnTo>
                <a:lnTo>
                  <a:pt x="903" y="204"/>
                </a:lnTo>
                <a:lnTo>
                  <a:pt x="905" y="201"/>
                </a:lnTo>
                <a:lnTo>
                  <a:pt x="903" y="198"/>
                </a:lnTo>
                <a:lnTo>
                  <a:pt x="902" y="196"/>
                </a:lnTo>
                <a:lnTo>
                  <a:pt x="900" y="193"/>
                </a:lnTo>
                <a:lnTo>
                  <a:pt x="898" y="190"/>
                </a:lnTo>
                <a:lnTo>
                  <a:pt x="896" y="185"/>
                </a:lnTo>
                <a:lnTo>
                  <a:pt x="895" y="180"/>
                </a:lnTo>
                <a:lnTo>
                  <a:pt x="894" y="175"/>
                </a:lnTo>
                <a:lnTo>
                  <a:pt x="895" y="171"/>
                </a:lnTo>
                <a:lnTo>
                  <a:pt x="895" y="167"/>
                </a:lnTo>
                <a:lnTo>
                  <a:pt x="897" y="164"/>
                </a:lnTo>
                <a:lnTo>
                  <a:pt x="898" y="161"/>
                </a:lnTo>
                <a:lnTo>
                  <a:pt x="898" y="158"/>
                </a:lnTo>
                <a:lnTo>
                  <a:pt x="896" y="155"/>
                </a:lnTo>
                <a:lnTo>
                  <a:pt x="894" y="154"/>
                </a:lnTo>
                <a:lnTo>
                  <a:pt x="891" y="152"/>
                </a:lnTo>
                <a:lnTo>
                  <a:pt x="836" y="179"/>
                </a:lnTo>
                <a:close/>
                <a:moveTo>
                  <a:pt x="806" y="145"/>
                </a:moveTo>
                <a:lnTo>
                  <a:pt x="813" y="150"/>
                </a:lnTo>
                <a:lnTo>
                  <a:pt x="817" y="154"/>
                </a:lnTo>
                <a:lnTo>
                  <a:pt x="820" y="157"/>
                </a:lnTo>
                <a:lnTo>
                  <a:pt x="879" y="128"/>
                </a:lnTo>
                <a:lnTo>
                  <a:pt x="880" y="125"/>
                </a:lnTo>
                <a:lnTo>
                  <a:pt x="880" y="122"/>
                </a:lnTo>
                <a:lnTo>
                  <a:pt x="879" y="119"/>
                </a:lnTo>
                <a:lnTo>
                  <a:pt x="876" y="117"/>
                </a:lnTo>
                <a:lnTo>
                  <a:pt x="874" y="116"/>
                </a:lnTo>
                <a:lnTo>
                  <a:pt x="871" y="116"/>
                </a:lnTo>
                <a:lnTo>
                  <a:pt x="867" y="114"/>
                </a:lnTo>
                <a:lnTo>
                  <a:pt x="863" y="111"/>
                </a:lnTo>
                <a:lnTo>
                  <a:pt x="860" y="108"/>
                </a:lnTo>
                <a:lnTo>
                  <a:pt x="856" y="104"/>
                </a:lnTo>
                <a:lnTo>
                  <a:pt x="854" y="100"/>
                </a:lnTo>
                <a:lnTo>
                  <a:pt x="852" y="96"/>
                </a:lnTo>
                <a:lnTo>
                  <a:pt x="852" y="93"/>
                </a:lnTo>
                <a:lnTo>
                  <a:pt x="851" y="90"/>
                </a:lnTo>
                <a:lnTo>
                  <a:pt x="849" y="88"/>
                </a:lnTo>
                <a:lnTo>
                  <a:pt x="846" y="87"/>
                </a:lnTo>
                <a:lnTo>
                  <a:pt x="844" y="86"/>
                </a:lnTo>
                <a:lnTo>
                  <a:pt x="841" y="87"/>
                </a:lnTo>
                <a:lnTo>
                  <a:pt x="837" y="86"/>
                </a:lnTo>
                <a:lnTo>
                  <a:pt x="837" y="128"/>
                </a:lnTo>
                <a:lnTo>
                  <a:pt x="837" y="129"/>
                </a:lnTo>
                <a:lnTo>
                  <a:pt x="836" y="130"/>
                </a:lnTo>
                <a:lnTo>
                  <a:pt x="834" y="133"/>
                </a:lnTo>
                <a:lnTo>
                  <a:pt x="830" y="135"/>
                </a:lnTo>
                <a:lnTo>
                  <a:pt x="825" y="138"/>
                </a:lnTo>
                <a:lnTo>
                  <a:pt x="815" y="142"/>
                </a:lnTo>
                <a:lnTo>
                  <a:pt x="806" y="145"/>
                </a:lnTo>
                <a:close/>
                <a:moveTo>
                  <a:pt x="653" y="219"/>
                </a:moveTo>
                <a:lnTo>
                  <a:pt x="654" y="211"/>
                </a:lnTo>
                <a:lnTo>
                  <a:pt x="655" y="203"/>
                </a:lnTo>
                <a:lnTo>
                  <a:pt x="657" y="195"/>
                </a:lnTo>
                <a:lnTo>
                  <a:pt x="659" y="188"/>
                </a:lnTo>
                <a:lnTo>
                  <a:pt x="662" y="180"/>
                </a:lnTo>
                <a:lnTo>
                  <a:pt x="666" y="173"/>
                </a:lnTo>
                <a:lnTo>
                  <a:pt x="670" y="167"/>
                </a:lnTo>
                <a:lnTo>
                  <a:pt x="675" y="161"/>
                </a:lnTo>
                <a:lnTo>
                  <a:pt x="636" y="134"/>
                </a:lnTo>
                <a:lnTo>
                  <a:pt x="633" y="136"/>
                </a:lnTo>
                <a:lnTo>
                  <a:pt x="631" y="137"/>
                </a:lnTo>
                <a:lnTo>
                  <a:pt x="629" y="139"/>
                </a:lnTo>
                <a:lnTo>
                  <a:pt x="628" y="142"/>
                </a:lnTo>
                <a:lnTo>
                  <a:pt x="629" y="145"/>
                </a:lnTo>
                <a:lnTo>
                  <a:pt x="630" y="148"/>
                </a:lnTo>
                <a:lnTo>
                  <a:pt x="630" y="152"/>
                </a:lnTo>
                <a:lnTo>
                  <a:pt x="629" y="157"/>
                </a:lnTo>
                <a:lnTo>
                  <a:pt x="628" y="162"/>
                </a:lnTo>
                <a:lnTo>
                  <a:pt x="627" y="166"/>
                </a:lnTo>
                <a:lnTo>
                  <a:pt x="624" y="170"/>
                </a:lnTo>
                <a:lnTo>
                  <a:pt x="622" y="173"/>
                </a:lnTo>
                <a:lnTo>
                  <a:pt x="620" y="176"/>
                </a:lnTo>
                <a:lnTo>
                  <a:pt x="618" y="178"/>
                </a:lnTo>
                <a:lnTo>
                  <a:pt x="616" y="181"/>
                </a:lnTo>
                <a:lnTo>
                  <a:pt x="616" y="182"/>
                </a:lnTo>
                <a:lnTo>
                  <a:pt x="617" y="184"/>
                </a:lnTo>
                <a:lnTo>
                  <a:pt x="618" y="186"/>
                </a:lnTo>
                <a:lnTo>
                  <a:pt x="620" y="189"/>
                </a:lnTo>
                <a:lnTo>
                  <a:pt x="621" y="192"/>
                </a:lnTo>
                <a:lnTo>
                  <a:pt x="622" y="197"/>
                </a:lnTo>
                <a:lnTo>
                  <a:pt x="622" y="202"/>
                </a:lnTo>
                <a:lnTo>
                  <a:pt x="622" y="207"/>
                </a:lnTo>
                <a:lnTo>
                  <a:pt x="621" y="211"/>
                </a:lnTo>
                <a:lnTo>
                  <a:pt x="620" y="215"/>
                </a:lnTo>
                <a:lnTo>
                  <a:pt x="618" y="218"/>
                </a:lnTo>
                <a:lnTo>
                  <a:pt x="617" y="221"/>
                </a:lnTo>
                <a:lnTo>
                  <a:pt x="616" y="224"/>
                </a:lnTo>
                <a:lnTo>
                  <a:pt x="618" y="227"/>
                </a:lnTo>
                <a:lnTo>
                  <a:pt x="619" y="228"/>
                </a:lnTo>
                <a:lnTo>
                  <a:pt x="622" y="230"/>
                </a:lnTo>
                <a:lnTo>
                  <a:pt x="625" y="234"/>
                </a:lnTo>
                <a:lnTo>
                  <a:pt x="627" y="238"/>
                </a:lnTo>
                <a:lnTo>
                  <a:pt x="629" y="242"/>
                </a:lnTo>
                <a:lnTo>
                  <a:pt x="630" y="247"/>
                </a:lnTo>
                <a:lnTo>
                  <a:pt x="630" y="252"/>
                </a:lnTo>
                <a:lnTo>
                  <a:pt x="630" y="256"/>
                </a:lnTo>
                <a:lnTo>
                  <a:pt x="629" y="259"/>
                </a:lnTo>
                <a:lnTo>
                  <a:pt x="629" y="262"/>
                </a:lnTo>
                <a:lnTo>
                  <a:pt x="629" y="265"/>
                </a:lnTo>
                <a:lnTo>
                  <a:pt x="631" y="267"/>
                </a:lnTo>
                <a:lnTo>
                  <a:pt x="634" y="268"/>
                </a:lnTo>
                <a:lnTo>
                  <a:pt x="637" y="270"/>
                </a:lnTo>
                <a:lnTo>
                  <a:pt x="640" y="272"/>
                </a:lnTo>
                <a:lnTo>
                  <a:pt x="643" y="275"/>
                </a:lnTo>
                <a:lnTo>
                  <a:pt x="647" y="279"/>
                </a:lnTo>
                <a:lnTo>
                  <a:pt x="649" y="283"/>
                </a:lnTo>
                <a:lnTo>
                  <a:pt x="651" y="288"/>
                </a:lnTo>
                <a:lnTo>
                  <a:pt x="652" y="291"/>
                </a:lnTo>
                <a:lnTo>
                  <a:pt x="652" y="295"/>
                </a:lnTo>
                <a:lnTo>
                  <a:pt x="652" y="298"/>
                </a:lnTo>
                <a:lnTo>
                  <a:pt x="654" y="301"/>
                </a:lnTo>
                <a:lnTo>
                  <a:pt x="656" y="302"/>
                </a:lnTo>
                <a:lnTo>
                  <a:pt x="659" y="303"/>
                </a:lnTo>
                <a:lnTo>
                  <a:pt x="662" y="303"/>
                </a:lnTo>
                <a:lnTo>
                  <a:pt x="666" y="304"/>
                </a:lnTo>
                <a:lnTo>
                  <a:pt x="670" y="306"/>
                </a:lnTo>
                <a:lnTo>
                  <a:pt x="675" y="309"/>
                </a:lnTo>
                <a:lnTo>
                  <a:pt x="679" y="313"/>
                </a:lnTo>
                <a:lnTo>
                  <a:pt x="679" y="299"/>
                </a:lnTo>
                <a:lnTo>
                  <a:pt x="692" y="309"/>
                </a:lnTo>
                <a:lnTo>
                  <a:pt x="692" y="304"/>
                </a:lnTo>
                <a:lnTo>
                  <a:pt x="699" y="304"/>
                </a:lnTo>
                <a:lnTo>
                  <a:pt x="699" y="298"/>
                </a:lnTo>
                <a:lnTo>
                  <a:pt x="694" y="295"/>
                </a:lnTo>
                <a:lnTo>
                  <a:pt x="689" y="291"/>
                </a:lnTo>
                <a:lnTo>
                  <a:pt x="680" y="284"/>
                </a:lnTo>
                <a:lnTo>
                  <a:pt x="672" y="275"/>
                </a:lnTo>
                <a:lnTo>
                  <a:pt x="669" y="270"/>
                </a:lnTo>
                <a:lnTo>
                  <a:pt x="666" y="265"/>
                </a:lnTo>
                <a:lnTo>
                  <a:pt x="663" y="260"/>
                </a:lnTo>
                <a:lnTo>
                  <a:pt x="660" y="255"/>
                </a:lnTo>
                <a:lnTo>
                  <a:pt x="656" y="243"/>
                </a:lnTo>
                <a:lnTo>
                  <a:pt x="655" y="238"/>
                </a:lnTo>
                <a:lnTo>
                  <a:pt x="654" y="232"/>
                </a:lnTo>
                <a:lnTo>
                  <a:pt x="653" y="225"/>
                </a:lnTo>
                <a:lnTo>
                  <a:pt x="653" y="219"/>
                </a:lnTo>
                <a:close/>
                <a:moveTo>
                  <a:pt x="1140" y="608"/>
                </a:moveTo>
                <a:lnTo>
                  <a:pt x="1133" y="615"/>
                </a:lnTo>
                <a:lnTo>
                  <a:pt x="1125" y="620"/>
                </a:lnTo>
                <a:lnTo>
                  <a:pt x="1117" y="625"/>
                </a:lnTo>
                <a:lnTo>
                  <a:pt x="1108" y="629"/>
                </a:lnTo>
                <a:lnTo>
                  <a:pt x="1099" y="633"/>
                </a:lnTo>
                <a:lnTo>
                  <a:pt x="1089" y="635"/>
                </a:lnTo>
                <a:lnTo>
                  <a:pt x="1084" y="636"/>
                </a:lnTo>
                <a:lnTo>
                  <a:pt x="1079" y="636"/>
                </a:lnTo>
                <a:lnTo>
                  <a:pt x="1069" y="637"/>
                </a:lnTo>
                <a:lnTo>
                  <a:pt x="1063" y="637"/>
                </a:lnTo>
                <a:lnTo>
                  <a:pt x="1057" y="636"/>
                </a:lnTo>
                <a:lnTo>
                  <a:pt x="1045" y="634"/>
                </a:lnTo>
                <a:lnTo>
                  <a:pt x="1034" y="631"/>
                </a:lnTo>
                <a:lnTo>
                  <a:pt x="1024" y="626"/>
                </a:lnTo>
                <a:lnTo>
                  <a:pt x="1014" y="621"/>
                </a:lnTo>
                <a:lnTo>
                  <a:pt x="1009" y="618"/>
                </a:lnTo>
                <a:lnTo>
                  <a:pt x="1005" y="614"/>
                </a:lnTo>
                <a:lnTo>
                  <a:pt x="997" y="607"/>
                </a:lnTo>
                <a:lnTo>
                  <a:pt x="989" y="598"/>
                </a:lnTo>
                <a:lnTo>
                  <a:pt x="965" y="609"/>
                </a:lnTo>
                <a:lnTo>
                  <a:pt x="965" y="612"/>
                </a:lnTo>
                <a:lnTo>
                  <a:pt x="965" y="615"/>
                </a:lnTo>
                <a:lnTo>
                  <a:pt x="965" y="618"/>
                </a:lnTo>
                <a:lnTo>
                  <a:pt x="968" y="620"/>
                </a:lnTo>
                <a:lnTo>
                  <a:pt x="970" y="621"/>
                </a:lnTo>
                <a:lnTo>
                  <a:pt x="972" y="621"/>
                </a:lnTo>
                <a:lnTo>
                  <a:pt x="973" y="622"/>
                </a:lnTo>
                <a:lnTo>
                  <a:pt x="977" y="624"/>
                </a:lnTo>
                <a:lnTo>
                  <a:pt x="981" y="627"/>
                </a:lnTo>
                <a:lnTo>
                  <a:pt x="983" y="628"/>
                </a:lnTo>
                <a:lnTo>
                  <a:pt x="984" y="630"/>
                </a:lnTo>
                <a:lnTo>
                  <a:pt x="986" y="632"/>
                </a:lnTo>
                <a:lnTo>
                  <a:pt x="987" y="634"/>
                </a:lnTo>
                <a:lnTo>
                  <a:pt x="989" y="636"/>
                </a:lnTo>
                <a:lnTo>
                  <a:pt x="990" y="638"/>
                </a:lnTo>
                <a:lnTo>
                  <a:pt x="991" y="642"/>
                </a:lnTo>
                <a:lnTo>
                  <a:pt x="992" y="645"/>
                </a:lnTo>
                <a:lnTo>
                  <a:pt x="992" y="648"/>
                </a:lnTo>
                <a:lnTo>
                  <a:pt x="994" y="651"/>
                </a:lnTo>
                <a:lnTo>
                  <a:pt x="997" y="652"/>
                </a:lnTo>
                <a:lnTo>
                  <a:pt x="999" y="652"/>
                </a:lnTo>
                <a:lnTo>
                  <a:pt x="1003" y="652"/>
                </a:lnTo>
                <a:lnTo>
                  <a:pt x="1007" y="653"/>
                </a:lnTo>
                <a:lnTo>
                  <a:pt x="1011" y="654"/>
                </a:lnTo>
                <a:lnTo>
                  <a:pt x="1016" y="657"/>
                </a:lnTo>
                <a:lnTo>
                  <a:pt x="1020" y="660"/>
                </a:lnTo>
                <a:lnTo>
                  <a:pt x="1023" y="663"/>
                </a:lnTo>
                <a:lnTo>
                  <a:pt x="1025" y="666"/>
                </a:lnTo>
                <a:lnTo>
                  <a:pt x="1027" y="669"/>
                </a:lnTo>
                <a:lnTo>
                  <a:pt x="1028" y="671"/>
                </a:lnTo>
                <a:lnTo>
                  <a:pt x="1031" y="673"/>
                </a:lnTo>
                <a:lnTo>
                  <a:pt x="1034" y="674"/>
                </a:lnTo>
                <a:lnTo>
                  <a:pt x="1036" y="673"/>
                </a:lnTo>
                <a:lnTo>
                  <a:pt x="1039" y="672"/>
                </a:lnTo>
                <a:lnTo>
                  <a:pt x="1043" y="672"/>
                </a:lnTo>
                <a:lnTo>
                  <a:pt x="1048" y="672"/>
                </a:lnTo>
                <a:lnTo>
                  <a:pt x="1053" y="673"/>
                </a:lnTo>
                <a:lnTo>
                  <a:pt x="1058" y="674"/>
                </a:lnTo>
                <a:lnTo>
                  <a:pt x="1062" y="676"/>
                </a:lnTo>
                <a:lnTo>
                  <a:pt x="1065" y="679"/>
                </a:lnTo>
                <a:lnTo>
                  <a:pt x="1066" y="680"/>
                </a:lnTo>
                <a:lnTo>
                  <a:pt x="1067" y="681"/>
                </a:lnTo>
                <a:lnTo>
                  <a:pt x="1069" y="683"/>
                </a:lnTo>
                <a:lnTo>
                  <a:pt x="1072" y="684"/>
                </a:lnTo>
                <a:lnTo>
                  <a:pt x="1076" y="684"/>
                </a:lnTo>
                <a:lnTo>
                  <a:pt x="1078" y="682"/>
                </a:lnTo>
                <a:lnTo>
                  <a:pt x="1080" y="680"/>
                </a:lnTo>
                <a:lnTo>
                  <a:pt x="1084" y="679"/>
                </a:lnTo>
                <a:lnTo>
                  <a:pt x="1089" y="678"/>
                </a:lnTo>
                <a:lnTo>
                  <a:pt x="1094" y="677"/>
                </a:lnTo>
                <a:lnTo>
                  <a:pt x="1099" y="677"/>
                </a:lnTo>
                <a:lnTo>
                  <a:pt x="1103" y="678"/>
                </a:lnTo>
                <a:lnTo>
                  <a:pt x="1107" y="679"/>
                </a:lnTo>
                <a:lnTo>
                  <a:pt x="1110" y="681"/>
                </a:lnTo>
                <a:lnTo>
                  <a:pt x="1112" y="682"/>
                </a:lnTo>
                <a:lnTo>
                  <a:pt x="1116" y="682"/>
                </a:lnTo>
                <a:lnTo>
                  <a:pt x="1118" y="681"/>
                </a:lnTo>
                <a:lnTo>
                  <a:pt x="1120" y="679"/>
                </a:lnTo>
                <a:lnTo>
                  <a:pt x="1122" y="676"/>
                </a:lnTo>
                <a:lnTo>
                  <a:pt x="1125" y="674"/>
                </a:lnTo>
                <a:lnTo>
                  <a:pt x="1129" y="671"/>
                </a:lnTo>
                <a:lnTo>
                  <a:pt x="1134" y="669"/>
                </a:lnTo>
                <a:lnTo>
                  <a:pt x="1139" y="668"/>
                </a:lnTo>
                <a:lnTo>
                  <a:pt x="1143" y="667"/>
                </a:lnTo>
                <a:lnTo>
                  <a:pt x="1147" y="667"/>
                </a:lnTo>
                <a:lnTo>
                  <a:pt x="1150" y="668"/>
                </a:lnTo>
                <a:lnTo>
                  <a:pt x="1153" y="668"/>
                </a:lnTo>
                <a:lnTo>
                  <a:pt x="1156" y="668"/>
                </a:lnTo>
                <a:lnTo>
                  <a:pt x="1158" y="665"/>
                </a:lnTo>
                <a:lnTo>
                  <a:pt x="1160" y="663"/>
                </a:lnTo>
                <a:lnTo>
                  <a:pt x="1161" y="660"/>
                </a:lnTo>
                <a:lnTo>
                  <a:pt x="1163" y="657"/>
                </a:lnTo>
                <a:lnTo>
                  <a:pt x="1166" y="653"/>
                </a:lnTo>
                <a:lnTo>
                  <a:pt x="1170" y="650"/>
                </a:lnTo>
                <a:lnTo>
                  <a:pt x="1175" y="646"/>
                </a:lnTo>
                <a:lnTo>
                  <a:pt x="1152" y="647"/>
                </a:lnTo>
                <a:lnTo>
                  <a:pt x="1150" y="644"/>
                </a:lnTo>
                <a:lnTo>
                  <a:pt x="1146" y="636"/>
                </a:lnTo>
                <a:lnTo>
                  <a:pt x="1143" y="631"/>
                </a:lnTo>
                <a:lnTo>
                  <a:pt x="1141" y="624"/>
                </a:lnTo>
                <a:lnTo>
                  <a:pt x="1140" y="617"/>
                </a:lnTo>
                <a:lnTo>
                  <a:pt x="1140" y="608"/>
                </a:lnTo>
                <a:close/>
                <a:moveTo>
                  <a:pt x="1109" y="459"/>
                </a:moveTo>
                <a:lnTo>
                  <a:pt x="1118" y="463"/>
                </a:lnTo>
                <a:lnTo>
                  <a:pt x="1126" y="468"/>
                </a:lnTo>
                <a:lnTo>
                  <a:pt x="1133" y="474"/>
                </a:lnTo>
                <a:lnTo>
                  <a:pt x="1137" y="477"/>
                </a:lnTo>
                <a:lnTo>
                  <a:pt x="1140" y="480"/>
                </a:lnTo>
                <a:lnTo>
                  <a:pt x="1143" y="473"/>
                </a:lnTo>
                <a:lnTo>
                  <a:pt x="1145" y="469"/>
                </a:lnTo>
                <a:lnTo>
                  <a:pt x="1147" y="466"/>
                </a:lnTo>
                <a:lnTo>
                  <a:pt x="1149" y="463"/>
                </a:lnTo>
                <a:lnTo>
                  <a:pt x="1151" y="460"/>
                </a:lnTo>
                <a:lnTo>
                  <a:pt x="1153" y="459"/>
                </a:lnTo>
                <a:lnTo>
                  <a:pt x="1155" y="458"/>
                </a:lnTo>
                <a:lnTo>
                  <a:pt x="1199" y="458"/>
                </a:lnTo>
                <a:lnTo>
                  <a:pt x="1198" y="454"/>
                </a:lnTo>
                <a:lnTo>
                  <a:pt x="1198" y="451"/>
                </a:lnTo>
                <a:lnTo>
                  <a:pt x="1198" y="448"/>
                </a:lnTo>
                <a:lnTo>
                  <a:pt x="1197" y="446"/>
                </a:lnTo>
                <a:lnTo>
                  <a:pt x="1197" y="445"/>
                </a:lnTo>
                <a:lnTo>
                  <a:pt x="1194" y="443"/>
                </a:lnTo>
                <a:lnTo>
                  <a:pt x="1192" y="443"/>
                </a:lnTo>
                <a:lnTo>
                  <a:pt x="1190" y="442"/>
                </a:lnTo>
                <a:lnTo>
                  <a:pt x="1188" y="442"/>
                </a:lnTo>
                <a:lnTo>
                  <a:pt x="1184" y="441"/>
                </a:lnTo>
                <a:lnTo>
                  <a:pt x="1180" y="439"/>
                </a:lnTo>
                <a:lnTo>
                  <a:pt x="1176" y="436"/>
                </a:lnTo>
                <a:lnTo>
                  <a:pt x="1173" y="432"/>
                </a:lnTo>
                <a:lnTo>
                  <a:pt x="1170" y="429"/>
                </a:lnTo>
                <a:lnTo>
                  <a:pt x="1168" y="425"/>
                </a:lnTo>
                <a:lnTo>
                  <a:pt x="1167" y="422"/>
                </a:lnTo>
                <a:lnTo>
                  <a:pt x="1166" y="419"/>
                </a:lnTo>
                <a:lnTo>
                  <a:pt x="1164" y="417"/>
                </a:lnTo>
                <a:lnTo>
                  <a:pt x="1161" y="416"/>
                </a:lnTo>
                <a:lnTo>
                  <a:pt x="1158" y="416"/>
                </a:lnTo>
                <a:lnTo>
                  <a:pt x="1155" y="417"/>
                </a:lnTo>
                <a:lnTo>
                  <a:pt x="1151" y="417"/>
                </a:lnTo>
                <a:lnTo>
                  <a:pt x="1146" y="416"/>
                </a:lnTo>
                <a:lnTo>
                  <a:pt x="1141" y="414"/>
                </a:lnTo>
                <a:lnTo>
                  <a:pt x="1137" y="412"/>
                </a:lnTo>
                <a:lnTo>
                  <a:pt x="1133" y="409"/>
                </a:lnTo>
                <a:lnTo>
                  <a:pt x="1130" y="407"/>
                </a:lnTo>
                <a:lnTo>
                  <a:pt x="1129" y="404"/>
                </a:lnTo>
                <a:lnTo>
                  <a:pt x="1127" y="402"/>
                </a:lnTo>
                <a:lnTo>
                  <a:pt x="1124" y="400"/>
                </a:lnTo>
                <a:lnTo>
                  <a:pt x="1121" y="400"/>
                </a:lnTo>
                <a:lnTo>
                  <a:pt x="1119" y="401"/>
                </a:lnTo>
                <a:lnTo>
                  <a:pt x="1115" y="403"/>
                </a:lnTo>
                <a:lnTo>
                  <a:pt x="1109" y="459"/>
                </a:lnTo>
                <a:close/>
                <a:moveTo>
                  <a:pt x="989" y="490"/>
                </a:moveTo>
                <a:lnTo>
                  <a:pt x="992" y="486"/>
                </a:lnTo>
                <a:lnTo>
                  <a:pt x="996" y="482"/>
                </a:lnTo>
                <a:lnTo>
                  <a:pt x="1000" y="478"/>
                </a:lnTo>
                <a:lnTo>
                  <a:pt x="1004" y="474"/>
                </a:lnTo>
                <a:lnTo>
                  <a:pt x="1013" y="467"/>
                </a:lnTo>
                <a:lnTo>
                  <a:pt x="1023" y="462"/>
                </a:lnTo>
                <a:lnTo>
                  <a:pt x="1028" y="459"/>
                </a:lnTo>
                <a:lnTo>
                  <a:pt x="1034" y="457"/>
                </a:lnTo>
                <a:lnTo>
                  <a:pt x="1045" y="454"/>
                </a:lnTo>
                <a:lnTo>
                  <a:pt x="1051" y="452"/>
                </a:lnTo>
                <a:lnTo>
                  <a:pt x="1057" y="452"/>
                </a:lnTo>
                <a:lnTo>
                  <a:pt x="1069" y="451"/>
                </a:lnTo>
                <a:lnTo>
                  <a:pt x="1076" y="451"/>
                </a:lnTo>
                <a:lnTo>
                  <a:pt x="1083" y="452"/>
                </a:lnTo>
                <a:lnTo>
                  <a:pt x="1089" y="400"/>
                </a:lnTo>
                <a:lnTo>
                  <a:pt x="1087" y="398"/>
                </a:lnTo>
                <a:lnTo>
                  <a:pt x="1084" y="396"/>
                </a:lnTo>
                <a:lnTo>
                  <a:pt x="1081" y="395"/>
                </a:lnTo>
                <a:lnTo>
                  <a:pt x="1078" y="396"/>
                </a:lnTo>
                <a:lnTo>
                  <a:pt x="1076" y="398"/>
                </a:lnTo>
                <a:lnTo>
                  <a:pt x="1074" y="400"/>
                </a:lnTo>
                <a:lnTo>
                  <a:pt x="1070" y="402"/>
                </a:lnTo>
                <a:lnTo>
                  <a:pt x="1066" y="404"/>
                </a:lnTo>
                <a:lnTo>
                  <a:pt x="1061" y="406"/>
                </a:lnTo>
                <a:lnTo>
                  <a:pt x="1056" y="406"/>
                </a:lnTo>
                <a:lnTo>
                  <a:pt x="1052" y="406"/>
                </a:lnTo>
                <a:lnTo>
                  <a:pt x="1048" y="406"/>
                </a:lnTo>
                <a:lnTo>
                  <a:pt x="1045" y="404"/>
                </a:lnTo>
                <a:lnTo>
                  <a:pt x="1042" y="404"/>
                </a:lnTo>
                <a:lnTo>
                  <a:pt x="1039" y="404"/>
                </a:lnTo>
                <a:lnTo>
                  <a:pt x="1036" y="406"/>
                </a:lnTo>
                <a:lnTo>
                  <a:pt x="1035" y="408"/>
                </a:lnTo>
                <a:lnTo>
                  <a:pt x="1033" y="411"/>
                </a:lnTo>
                <a:lnTo>
                  <a:pt x="1031" y="414"/>
                </a:lnTo>
                <a:lnTo>
                  <a:pt x="1027" y="417"/>
                </a:lnTo>
                <a:lnTo>
                  <a:pt x="1023" y="419"/>
                </a:lnTo>
                <a:lnTo>
                  <a:pt x="1018" y="421"/>
                </a:lnTo>
                <a:lnTo>
                  <a:pt x="1014" y="423"/>
                </a:lnTo>
                <a:lnTo>
                  <a:pt x="1010" y="423"/>
                </a:lnTo>
                <a:lnTo>
                  <a:pt x="1007" y="423"/>
                </a:lnTo>
                <a:lnTo>
                  <a:pt x="1004" y="423"/>
                </a:lnTo>
                <a:lnTo>
                  <a:pt x="1001" y="424"/>
                </a:lnTo>
                <a:lnTo>
                  <a:pt x="999" y="427"/>
                </a:lnTo>
                <a:lnTo>
                  <a:pt x="998" y="429"/>
                </a:lnTo>
                <a:lnTo>
                  <a:pt x="997" y="432"/>
                </a:lnTo>
                <a:lnTo>
                  <a:pt x="996" y="436"/>
                </a:lnTo>
                <a:lnTo>
                  <a:pt x="993" y="440"/>
                </a:lnTo>
                <a:lnTo>
                  <a:pt x="990" y="444"/>
                </a:lnTo>
                <a:lnTo>
                  <a:pt x="986" y="447"/>
                </a:lnTo>
                <a:lnTo>
                  <a:pt x="983" y="450"/>
                </a:lnTo>
                <a:lnTo>
                  <a:pt x="979" y="451"/>
                </a:lnTo>
                <a:lnTo>
                  <a:pt x="976" y="452"/>
                </a:lnTo>
                <a:lnTo>
                  <a:pt x="973" y="453"/>
                </a:lnTo>
                <a:lnTo>
                  <a:pt x="970" y="455"/>
                </a:lnTo>
                <a:lnTo>
                  <a:pt x="969" y="458"/>
                </a:lnTo>
                <a:lnTo>
                  <a:pt x="969" y="460"/>
                </a:lnTo>
                <a:lnTo>
                  <a:pt x="970" y="462"/>
                </a:lnTo>
                <a:lnTo>
                  <a:pt x="970" y="464"/>
                </a:lnTo>
                <a:lnTo>
                  <a:pt x="969" y="468"/>
                </a:lnTo>
                <a:lnTo>
                  <a:pt x="968" y="472"/>
                </a:lnTo>
                <a:lnTo>
                  <a:pt x="966" y="477"/>
                </a:lnTo>
                <a:lnTo>
                  <a:pt x="963" y="481"/>
                </a:lnTo>
                <a:lnTo>
                  <a:pt x="961" y="485"/>
                </a:lnTo>
                <a:lnTo>
                  <a:pt x="958" y="487"/>
                </a:lnTo>
                <a:lnTo>
                  <a:pt x="955" y="489"/>
                </a:lnTo>
                <a:lnTo>
                  <a:pt x="953" y="490"/>
                </a:lnTo>
                <a:lnTo>
                  <a:pt x="989" y="490"/>
                </a:lnTo>
                <a:close/>
                <a:moveTo>
                  <a:pt x="381" y="1470"/>
                </a:moveTo>
                <a:lnTo>
                  <a:pt x="381" y="1464"/>
                </a:lnTo>
                <a:lnTo>
                  <a:pt x="358" y="1464"/>
                </a:lnTo>
                <a:lnTo>
                  <a:pt x="355" y="1470"/>
                </a:lnTo>
                <a:lnTo>
                  <a:pt x="348" y="1483"/>
                </a:lnTo>
                <a:lnTo>
                  <a:pt x="343" y="1491"/>
                </a:lnTo>
                <a:lnTo>
                  <a:pt x="338" y="1498"/>
                </a:lnTo>
                <a:lnTo>
                  <a:pt x="333" y="1504"/>
                </a:lnTo>
                <a:lnTo>
                  <a:pt x="331" y="1506"/>
                </a:lnTo>
                <a:lnTo>
                  <a:pt x="328" y="1508"/>
                </a:lnTo>
                <a:lnTo>
                  <a:pt x="323" y="1510"/>
                </a:lnTo>
                <a:lnTo>
                  <a:pt x="318" y="1512"/>
                </a:lnTo>
                <a:lnTo>
                  <a:pt x="313" y="1513"/>
                </a:lnTo>
                <a:lnTo>
                  <a:pt x="308" y="1515"/>
                </a:lnTo>
                <a:lnTo>
                  <a:pt x="297" y="1516"/>
                </a:lnTo>
                <a:lnTo>
                  <a:pt x="294" y="1519"/>
                </a:lnTo>
                <a:lnTo>
                  <a:pt x="290" y="1521"/>
                </a:lnTo>
                <a:lnTo>
                  <a:pt x="285" y="1522"/>
                </a:lnTo>
                <a:lnTo>
                  <a:pt x="282" y="1526"/>
                </a:lnTo>
                <a:lnTo>
                  <a:pt x="279" y="1530"/>
                </a:lnTo>
                <a:lnTo>
                  <a:pt x="277" y="1532"/>
                </a:lnTo>
                <a:lnTo>
                  <a:pt x="274" y="1534"/>
                </a:lnTo>
                <a:lnTo>
                  <a:pt x="268" y="1538"/>
                </a:lnTo>
                <a:lnTo>
                  <a:pt x="265" y="1540"/>
                </a:lnTo>
                <a:lnTo>
                  <a:pt x="262" y="1542"/>
                </a:lnTo>
                <a:lnTo>
                  <a:pt x="254" y="1545"/>
                </a:lnTo>
                <a:lnTo>
                  <a:pt x="250" y="1546"/>
                </a:lnTo>
                <a:lnTo>
                  <a:pt x="246" y="1546"/>
                </a:lnTo>
                <a:lnTo>
                  <a:pt x="231" y="1630"/>
                </a:lnTo>
                <a:lnTo>
                  <a:pt x="233" y="1632"/>
                </a:lnTo>
                <a:lnTo>
                  <a:pt x="236" y="1634"/>
                </a:lnTo>
                <a:lnTo>
                  <a:pt x="239" y="1635"/>
                </a:lnTo>
                <a:lnTo>
                  <a:pt x="242" y="1634"/>
                </a:lnTo>
                <a:lnTo>
                  <a:pt x="244" y="1633"/>
                </a:lnTo>
                <a:lnTo>
                  <a:pt x="246" y="1631"/>
                </a:lnTo>
                <a:lnTo>
                  <a:pt x="250" y="1629"/>
                </a:lnTo>
                <a:lnTo>
                  <a:pt x="254" y="1627"/>
                </a:lnTo>
                <a:lnTo>
                  <a:pt x="259" y="1626"/>
                </a:lnTo>
                <a:lnTo>
                  <a:pt x="264" y="1626"/>
                </a:lnTo>
                <a:lnTo>
                  <a:pt x="269" y="1626"/>
                </a:lnTo>
                <a:lnTo>
                  <a:pt x="273" y="1627"/>
                </a:lnTo>
                <a:lnTo>
                  <a:pt x="274" y="1628"/>
                </a:lnTo>
                <a:lnTo>
                  <a:pt x="276" y="1628"/>
                </a:lnTo>
                <a:lnTo>
                  <a:pt x="278" y="1629"/>
                </a:lnTo>
                <a:lnTo>
                  <a:pt x="282" y="1630"/>
                </a:lnTo>
                <a:lnTo>
                  <a:pt x="284" y="1628"/>
                </a:lnTo>
                <a:lnTo>
                  <a:pt x="286" y="1626"/>
                </a:lnTo>
                <a:lnTo>
                  <a:pt x="288" y="1623"/>
                </a:lnTo>
                <a:lnTo>
                  <a:pt x="290" y="1620"/>
                </a:lnTo>
                <a:lnTo>
                  <a:pt x="294" y="1617"/>
                </a:lnTo>
                <a:lnTo>
                  <a:pt x="299" y="1615"/>
                </a:lnTo>
                <a:lnTo>
                  <a:pt x="303" y="1613"/>
                </a:lnTo>
                <a:lnTo>
                  <a:pt x="308" y="1612"/>
                </a:lnTo>
                <a:lnTo>
                  <a:pt x="312" y="1612"/>
                </a:lnTo>
                <a:lnTo>
                  <a:pt x="315" y="1612"/>
                </a:lnTo>
                <a:lnTo>
                  <a:pt x="318" y="1613"/>
                </a:lnTo>
                <a:lnTo>
                  <a:pt x="321" y="1612"/>
                </a:lnTo>
                <a:lnTo>
                  <a:pt x="323" y="1609"/>
                </a:lnTo>
                <a:lnTo>
                  <a:pt x="324" y="1607"/>
                </a:lnTo>
                <a:lnTo>
                  <a:pt x="325" y="1604"/>
                </a:lnTo>
                <a:lnTo>
                  <a:pt x="327" y="1600"/>
                </a:lnTo>
                <a:lnTo>
                  <a:pt x="329" y="1597"/>
                </a:lnTo>
                <a:lnTo>
                  <a:pt x="333" y="1593"/>
                </a:lnTo>
                <a:lnTo>
                  <a:pt x="335" y="1591"/>
                </a:lnTo>
                <a:lnTo>
                  <a:pt x="337" y="1590"/>
                </a:lnTo>
                <a:lnTo>
                  <a:pt x="339" y="1589"/>
                </a:lnTo>
                <a:lnTo>
                  <a:pt x="341" y="1588"/>
                </a:lnTo>
                <a:lnTo>
                  <a:pt x="344" y="1586"/>
                </a:lnTo>
                <a:lnTo>
                  <a:pt x="348" y="1586"/>
                </a:lnTo>
                <a:lnTo>
                  <a:pt x="351" y="1585"/>
                </a:lnTo>
                <a:lnTo>
                  <a:pt x="353" y="1583"/>
                </a:lnTo>
                <a:lnTo>
                  <a:pt x="354" y="1580"/>
                </a:lnTo>
                <a:lnTo>
                  <a:pt x="355" y="1578"/>
                </a:lnTo>
                <a:lnTo>
                  <a:pt x="355" y="1574"/>
                </a:lnTo>
                <a:lnTo>
                  <a:pt x="355" y="1571"/>
                </a:lnTo>
                <a:lnTo>
                  <a:pt x="357" y="1566"/>
                </a:lnTo>
                <a:lnTo>
                  <a:pt x="359" y="1562"/>
                </a:lnTo>
                <a:lnTo>
                  <a:pt x="362" y="1558"/>
                </a:lnTo>
                <a:lnTo>
                  <a:pt x="365" y="1554"/>
                </a:lnTo>
                <a:lnTo>
                  <a:pt x="368" y="1552"/>
                </a:lnTo>
                <a:lnTo>
                  <a:pt x="371" y="1550"/>
                </a:lnTo>
                <a:lnTo>
                  <a:pt x="374" y="1549"/>
                </a:lnTo>
                <a:lnTo>
                  <a:pt x="376" y="1546"/>
                </a:lnTo>
                <a:lnTo>
                  <a:pt x="376" y="1543"/>
                </a:lnTo>
                <a:lnTo>
                  <a:pt x="376" y="1541"/>
                </a:lnTo>
                <a:lnTo>
                  <a:pt x="374" y="1538"/>
                </a:lnTo>
                <a:lnTo>
                  <a:pt x="374" y="1534"/>
                </a:lnTo>
                <a:lnTo>
                  <a:pt x="374" y="1529"/>
                </a:lnTo>
                <a:lnTo>
                  <a:pt x="375" y="1524"/>
                </a:lnTo>
                <a:lnTo>
                  <a:pt x="377" y="1519"/>
                </a:lnTo>
                <a:lnTo>
                  <a:pt x="379" y="1515"/>
                </a:lnTo>
                <a:lnTo>
                  <a:pt x="381" y="1512"/>
                </a:lnTo>
                <a:lnTo>
                  <a:pt x="382" y="1511"/>
                </a:lnTo>
                <a:lnTo>
                  <a:pt x="383" y="1510"/>
                </a:lnTo>
                <a:lnTo>
                  <a:pt x="385" y="1507"/>
                </a:lnTo>
                <a:lnTo>
                  <a:pt x="387" y="1505"/>
                </a:lnTo>
                <a:lnTo>
                  <a:pt x="386" y="1501"/>
                </a:lnTo>
                <a:lnTo>
                  <a:pt x="385" y="1499"/>
                </a:lnTo>
                <a:lnTo>
                  <a:pt x="383" y="1497"/>
                </a:lnTo>
                <a:lnTo>
                  <a:pt x="381" y="1493"/>
                </a:lnTo>
                <a:lnTo>
                  <a:pt x="380" y="1488"/>
                </a:lnTo>
                <a:lnTo>
                  <a:pt x="379" y="1483"/>
                </a:lnTo>
                <a:lnTo>
                  <a:pt x="379" y="1479"/>
                </a:lnTo>
                <a:lnTo>
                  <a:pt x="380" y="1476"/>
                </a:lnTo>
                <a:lnTo>
                  <a:pt x="380" y="1473"/>
                </a:lnTo>
                <a:lnTo>
                  <a:pt x="381" y="1470"/>
                </a:lnTo>
                <a:close/>
                <a:moveTo>
                  <a:pt x="1201" y="1513"/>
                </a:moveTo>
                <a:lnTo>
                  <a:pt x="1192" y="1512"/>
                </a:lnTo>
                <a:lnTo>
                  <a:pt x="1186" y="1510"/>
                </a:lnTo>
                <a:lnTo>
                  <a:pt x="1179" y="1508"/>
                </a:lnTo>
                <a:lnTo>
                  <a:pt x="1172" y="1506"/>
                </a:lnTo>
                <a:lnTo>
                  <a:pt x="1165" y="1502"/>
                </a:lnTo>
                <a:lnTo>
                  <a:pt x="1159" y="1497"/>
                </a:lnTo>
                <a:lnTo>
                  <a:pt x="1156" y="1494"/>
                </a:lnTo>
                <a:lnTo>
                  <a:pt x="1152" y="1491"/>
                </a:lnTo>
                <a:lnTo>
                  <a:pt x="1147" y="1485"/>
                </a:lnTo>
                <a:lnTo>
                  <a:pt x="1143" y="1478"/>
                </a:lnTo>
                <a:lnTo>
                  <a:pt x="1138" y="1471"/>
                </a:lnTo>
                <a:lnTo>
                  <a:pt x="1135" y="1464"/>
                </a:lnTo>
                <a:lnTo>
                  <a:pt x="1132" y="1457"/>
                </a:lnTo>
                <a:lnTo>
                  <a:pt x="1130" y="1451"/>
                </a:lnTo>
                <a:lnTo>
                  <a:pt x="1126" y="1440"/>
                </a:lnTo>
                <a:lnTo>
                  <a:pt x="1125" y="1440"/>
                </a:lnTo>
                <a:lnTo>
                  <a:pt x="1123" y="1442"/>
                </a:lnTo>
                <a:lnTo>
                  <a:pt x="1121" y="1444"/>
                </a:lnTo>
                <a:lnTo>
                  <a:pt x="1122" y="1447"/>
                </a:lnTo>
                <a:lnTo>
                  <a:pt x="1122" y="1450"/>
                </a:lnTo>
                <a:lnTo>
                  <a:pt x="1124" y="1452"/>
                </a:lnTo>
                <a:lnTo>
                  <a:pt x="1125" y="1456"/>
                </a:lnTo>
                <a:lnTo>
                  <a:pt x="1125" y="1460"/>
                </a:lnTo>
                <a:lnTo>
                  <a:pt x="1125" y="1465"/>
                </a:lnTo>
                <a:lnTo>
                  <a:pt x="1124" y="1470"/>
                </a:lnTo>
                <a:lnTo>
                  <a:pt x="1122" y="1474"/>
                </a:lnTo>
                <a:lnTo>
                  <a:pt x="1121" y="1477"/>
                </a:lnTo>
                <a:lnTo>
                  <a:pt x="1119" y="1479"/>
                </a:lnTo>
                <a:lnTo>
                  <a:pt x="1118" y="1480"/>
                </a:lnTo>
                <a:lnTo>
                  <a:pt x="1117" y="1482"/>
                </a:lnTo>
                <a:lnTo>
                  <a:pt x="1116" y="1484"/>
                </a:lnTo>
                <a:lnTo>
                  <a:pt x="1117" y="1487"/>
                </a:lnTo>
                <a:lnTo>
                  <a:pt x="1119" y="1489"/>
                </a:lnTo>
                <a:lnTo>
                  <a:pt x="1121" y="1491"/>
                </a:lnTo>
                <a:lnTo>
                  <a:pt x="1123" y="1495"/>
                </a:lnTo>
                <a:lnTo>
                  <a:pt x="1124" y="1497"/>
                </a:lnTo>
                <a:lnTo>
                  <a:pt x="1124" y="1499"/>
                </a:lnTo>
                <a:lnTo>
                  <a:pt x="1125" y="1503"/>
                </a:lnTo>
                <a:lnTo>
                  <a:pt x="1126" y="1508"/>
                </a:lnTo>
                <a:lnTo>
                  <a:pt x="1126" y="1512"/>
                </a:lnTo>
                <a:lnTo>
                  <a:pt x="1125" y="1516"/>
                </a:lnTo>
                <a:lnTo>
                  <a:pt x="1124" y="1519"/>
                </a:lnTo>
                <a:lnTo>
                  <a:pt x="1123" y="1520"/>
                </a:lnTo>
                <a:lnTo>
                  <a:pt x="1123" y="1521"/>
                </a:lnTo>
                <a:lnTo>
                  <a:pt x="1123" y="1524"/>
                </a:lnTo>
                <a:lnTo>
                  <a:pt x="1125" y="1526"/>
                </a:lnTo>
                <a:lnTo>
                  <a:pt x="1127" y="1528"/>
                </a:lnTo>
                <a:lnTo>
                  <a:pt x="1129" y="1529"/>
                </a:lnTo>
                <a:lnTo>
                  <a:pt x="1132" y="1532"/>
                </a:lnTo>
                <a:lnTo>
                  <a:pt x="1135" y="1535"/>
                </a:lnTo>
                <a:lnTo>
                  <a:pt x="1137" y="1539"/>
                </a:lnTo>
                <a:lnTo>
                  <a:pt x="1139" y="1544"/>
                </a:lnTo>
                <a:lnTo>
                  <a:pt x="1140" y="1548"/>
                </a:lnTo>
                <a:lnTo>
                  <a:pt x="1141" y="1551"/>
                </a:lnTo>
                <a:lnTo>
                  <a:pt x="1140" y="1554"/>
                </a:lnTo>
                <a:lnTo>
                  <a:pt x="1140" y="1557"/>
                </a:lnTo>
                <a:lnTo>
                  <a:pt x="1141" y="1560"/>
                </a:lnTo>
                <a:lnTo>
                  <a:pt x="1144" y="1562"/>
                </a:lnTo>
                <a:lnTo>
                  <a:pt x="1146" y="1563"/>
                </a:lnTo>
                <a:lnTo>
                  <a:pt x="1149" y="1563"/>
                </a:lnTo>
                <a:lnTo>
                  <a:pt x="1201" y="1513"/>
                </a:lnTo>
                <a:close/>
                <a:moveTo>
                  <a:pt x="1304" y="1510"/>
                </a:moveTo>
                <a:lnTo>
                  <a:pt x="1301" y="1514"/>
                </a:lnTo>
                <a:lnTo>
                  <a:pt x="1298" y="1518"/>
                </a:lnTo>
                <a:lnTo>
                  <a:pt x="1294" y="1522"/>
                </a:lnTo>
                <a:lnTo>
                  <a:pt x="1289" y="1526"/>
                </a:lnTo>
                <a:lnTo>
                  <a:pt x="1285" y="1530"/>
                </a:lnTo>
                <a:lnTo>
                  <a:pt x="1280" y="1532"/>
                </a:lnTo>
                <a:lnTo>
                  <a:pt x="1274" y="1534"/>
                </a:lnTo>
                <a:lnTo>
                  <a:pt x="1269" y="1535"/>
                </a:lnTo>
                <a:lnTo>
                  <a:pt x="1256" y="1535"/>
                </a:lnTo>
                <a:lnTo>
                  <a:pt x="1251" y="1534"/>
                </a:lnTo>
                <a:lnTo>
                  <a:pt x="1246" y="1532"/>
                </a:lnTo>
                <a:lnTo>
                  <a:pt x="1241" y="1530"/>
                </a:lnTo>
                <a:lnTo>
                  <a:pt x="1237" y="1528"/>
                </a:lnTo>
                <a:lnTo>
                  <a:pt x="1233" y="1525"/>
                </a:lnTo>
                <a:lnTo>
                  <a:pt x="1229" y="1521"/>
                </a:lnTo>
                <a:lnTo>
                  <a:pt x="1166" y="1581"/>
                </a:lnTo>
                <a:lnTo>
                  <a:pt x="1167" y="1584"/>
                </a:lnTo>
                <a:lnTo>
                  <a:pt x="1168" y="1587"/>
                </a:lnTo>
                <a:lnTo>
                  <a:pt x="1169" y="1589"/>
                </a:lnTo>
                <a:lnTo>
                  <a:pt x="1172" y="1590"/>
                </a:lnTo>
                <a:lnTo>
                  <a:pt x="1174" y="1590"/>
                </a:lnTo>
                <a:lnTo>
                  <a:pt x="1178" y="1590"/>
                </a:lnTo>
                <a:lnTo>
                  <a:pt x="1181" y="1590"/>
                </a:lnTo>
                <a:lnTo>
                  <a:pt x="1185" y="1592"/>
                </a:lnTo>
                <a:lnTo>
                  <a:pt x="1190" y="1594"/>
                </a:lnTo>
                <a:lnTo>
                  <a:pt x="1194" y="1596"/>
                </a:lnTo>
                <a:lnTo>
                  <a:pt x="1197" y="1599"/>
                </a:lnTo>
                <a:lnTo>
                  <a:pt x="1199" y="1602"/>
                </a:lnTo>
                <a:lnTo>
                  <a:pt x="1201" y="1604"/>
                </a:lnTo>
                <a:lnTo>
                  <a:pt x="1202" y="1607"/>
                </a:lnTo>
                <a:lnTo>
                  <a:pt x="1205" y="1609"/>
                </a:lnTo>
                <a:lnTo>
                  <a:pt x="1207" y="1609"/>
                </a:lnTo>
                <a:lnTo>
                  <a:pt x="1210" y="1608"/>
                </a:lnTo>
                <a:lnTo>
                  <a:pt x="1213" y="1607"/>
                </a:lnTo>
                <a:lnTo>
                  <a:pt x="1216" y="1606"/>
                </a:lnTo>
                <a:lnTo>
                  <a:pt x="1221" y="1606"/>
                </a:lnTo>
                <a:lnTo>
                  <a:pt x="1225" y="1607"/>
                </a:lnTo>
                <a:lnTo>
                  <a:pt x="1234" y="1610"/>
                </a:lnTo>
                <a:lnTo>
                  <a:pt x="1237" y="1612"/>
                </a:lnTo>
                <a:lnTo>
                  <a:pt x="1239" y="1614"/>
                </a:lnTo>
                <a:lnTo>
                  <a:pt x="1241" y="1616"/>
                </a:lnTo>
                <a:lnTo>
                  <a:pt x="1244" y="1617"/>
                </a:lnTo>
                <a:lnTo>
                  <a:pt x="1247" y="1616"/>
                </a:lnTo>
                <a:lnTo>
                  <a:pt x="1249" y="1615"/>
                </a:lnTo>
                <a:lnTo>
                  <a:pt x="1251" y="1613"/>
                </a:lnTo>
                <a:lnTo>
                  <a:pt x="1255" y="1611"/>
                </a:lnTo>
                <a:lnTo>
                  <a:pt x="1259" y="1610"/>
                </a:lnTo>
                <a:lnTo>
                  <a:pt x="1264" y="1609"/>
                </a:lnTo>
                <a:lnTo>
                  <a:pt x="1268" y="1609"/>
                </a:lnTo>
                <a:lnTo>
                  <a:pt x="1272" y="1609"/>
                </a:lnTo>
                <a:lnTo>
                  <a:pt x="1276" y="1610"/>
                </a:lnTo>
                <a:lnTo>
                  <a:pt x="1277" y="1611"/>
                </a:lnTo>
                <a:lnTo>
                  <a:pt x="1279" y="1612"/>
                </a:lnTo>
                <a:lnTo>
                  <a:pt x="1281" y="1613"/>
                </a:lnTo>
                <a:lnTo>
                  <a:pt x="1284" y="1613"/>
                </a:lnTo>
                <a:lnTo>
                  <a:pt x="1287" y="1611"/>
                </a:lnTo>
                <a:lnTo>
                  <a:pt x="1288" y="1610"/>
                </a:lnTo>
                <a:lnTo>
                  <a:pt x="1290" y="1607"/>
                </a:lnTo>
                <a:lnTo>
                  <a:pt x="1293" y="1604"/>
                </a:lnTo>
                <a:lnTo>
                  <a:pt x="1296" y="1602"/>
                </a:lnTo>
                <a:lnTo>
                  <a:pt x="1300" y="1600"/>
                </a:lnTo>
                <a:lnTo>
                  <a:pt x="1305" y="1598"/>
                </a:lnTo>
                <a:lnTo>
                  <a:pt x="1309" y="1597"/>
                </a:lnTo>
                <a:lnTo>
                  <a:pt x="1313" y="1597"/>
                </a:lnTo>
                <a:lnTo>
                  <a:pt x="1316" y="1598"/>
                </a:lnTo>
                <a:lnTo>
                  <a:pt x="1318" y="1598"/>
                </a:lnTo>
                <a:lnTo>
                  <a:pt x="1321" y="1597"/>
                </a:lnTo>
                <a:lnTo>
                  <a:pt x="1323" y="1595"/>
                </a:lnTo>
                <a:lnTo>
                  <a:pt x="1324" y="1593"/>
                </a:lnTo>
                <a:lnTo>
                  <a:pt x="1325" y="1590"/>
                </a:lnTo>
                <a:lnTo>
                  <a:pt x="1327" y="1587"/>
                </a:lnTo>
                <a:lnTo>
                  <a:pt x="1330" y="1583"/>
                </a:lnTo>
                <a:lnTo>
                  <a:pt x="1333" y="1580"/>
                </a:lnTo>
                <a:lnTo>
                  <a:pt x="1337" y="1577"/>
                </a:lnTo>
                <a:lnTo>
                  <a:pt x="1340" y="1575"/>
                </a:lnTo>
                <a:lnTo>
                  <a:pt x="1344" y="1574"/>
                </a:lnTo>
                <a:lnTo>
                  <a:pt x="1347" y="1574"/>
                </a:lnTo>
                <a:lnTo>
                  <a:pt x="1350" y="1573"/>
                </a:lnTo>
                <a:lnTo>
                  <a:pt x="1352" y="1572"/>
                </a:lnTo>
                <a:lnTo>
                  <a:pt x="1353" y="1569"/>
                </a:lnTo>
                <a:lnTo>
                  <a:pt x="1354" y="1567"/>
                </a:lnTo>
                <a:lnTo>
                  <a:pt x="1354" y="1563"/>
                </a:lnTo>
                <a:lnTo>
                  <a:pt x="1355" y="1560"/>
                </a:lnTo>
                <a:lnTo>
                  <a:pt x="1356" y="1556"/>
                </a:lnTo>
                <a:lnTo>
                  <a:pt x="1358" y="1552"/>
                </a:lnTo>
                <a:lnTo>
                  <a:pt x="1361" y="1548"/>
                </a:lnTo>
                <a:lnTo>
                  <a:pt x="1364" y="1545"/>
                </a:lnTo>
                <a:lnTo>
                  <a:pt x="1367" y="1543"/>
                </a:lnTo>
                <a:lnTo>
                  <a:pt x="1370" y="1541"/>
                </a:lnTo>
                <a:lnTo>
                  <a:pt x="1372" y="1540"/>
                </a:lnTo>
                <a:lnTo>
                  <a:pt x="1374" y="1538"/>
                </a:lnTo>
                <a:lnTo>
                  <a:pt x="1375" y="1535"/>
                </a:lnTo>
                <a:lnTo>
                  <a:pt x="1374" y="1533"/>
                </a:lnTo>
                <a:lnTo>
                  <a:pt x="1373" y="1530"/>
                </a:lnTo>
                <a:lnTo>
                  <a:pt x="1304" y="1510"/>
                </a:lnTo>
                <a:close/>
                <a:moveTo>
                  <a:pt x="156" y="1491"/>
                </a:moveTo>
                <a:lnTo>
                  <a:pt x="154" y="1494"/>
                </a:lnTo>
                <a:lnTo>
                  <a:pt x="152" y="1497"/>
                </a:lnTo>
                <a:lnTo>
                  <a:pt x="149" y="1499"/>
                </a:lnTo>
                <a:lnTo>
                  <a:pt x="146" y="1501"/>
                </a:lnTo>
                <a:lnTo>
                  <a:pt x="142" y="1503"/>
                </a:lnTo>
                <a:lnTo>
                  <a:pt x="139" y="1504"/>
                </a:lnTo>
                <a:lnTo>
                  <a:pt x="131" y="1506"/>
                </a:lnTo>
                <a:lnTo>
                  <a:pt x="124" y="1508"/>
                </a:lnTo>
                <a:lnTo>
                  <a:pt x="117" y="1508"/>
                </a:lnTo>
                <a:lnTo>
                  <a:pt x="111" y="1509"/>
                </a:lnTo>
                <a:lnTo>
                  <a:pt x="107" y="1515"/>
                </a:lnTo>
                <a:lnTo>
                  <a:pt x="108" y="1517"/>
                </a:lnTo>
                <a:lnTo>
                  <a:pt x="109" y="1522"/>
                </a:lnTo>
                <a:lnTo>
                  <a:pt x="109" y="1527"/>
                </a:lnTo>
                <a:lnTo>
                  <a:pt x="108" y="1531"/>
                </a:lnTo>
                <a:lnTo>
                  <a:pt x="107" y="1534"/>
                </a:lnTo>
                <a:lnTo>
                  <a:pt x="106" y="1535"/>
                </a:lnTo>
                <a:lnTo>
                  <a:pt x="106" y="1536"/>
                </a:lnTo>
                <a:lnTo>
                  <a:pt x="106" y="1540"/>
                </a:lnTo>
                <a:lnTo>
                  <a:pt x="108" y="1542"/>
                </a:lnTo>
                <a:lnTo>
                  <a:pt x="110" y="1544"/>
                </a:lnTo>
                <a:lnTo>
                  <a:pt x="113" y="1545"/>
                </a:lnTo>
                <a:lnTo>
                  <a:pt x="116" y="1548"/>
                </a:lnTo>
                <a:lnTo>
                  <a:pt x="119" y="1551"/>
                </a:lnTo>
                <a:lnTo>
                  <a:pt x="122" y="1556"/>
                </a:lnTo>
                <a:lnTo>
                  <a:pt x="124" y="1560"/>
                </a:lnTo>
                <a:lnTo>
                  <a:pt x="125" y="1564"/>
                </a:lnTo>
                <a:lnTo>
                  <a:pt x="126" y="1568"/>
                </a:lnTo>
                <a:lnTo>
                  <a:pt x="126" y="1572"/>
                </a:lnTo>
                <a:lnTo>
                  <a:pt x="126" y="1575"/>
                </a:lnTo>
                <a:lnTo>
                  <a:pt x="127" y="1578"/>
                </a:lnTo>
                <a:lnTo>
                  <a:pt x="129" y="1579"/>
                </a:lnTo>
                <a:lnTo>
                  <a:pt x="132" y="1580"/>
                </a:lnTo>
                <a:lnTo>
                  <a:pt x="135" y="1581"/>
                </a:lnTo>
                <a:lnTo>
                  <a:pt x="139" y="1582"/>
                </a:lnTo>
                <a:lnTo>
                  <a:pt x="143" y="1585"/>
                </a:lnTo>
                <a:lnTo>
                  <a:pt x="147" y="1588"/>
                </a:lnTo>
                <a:lnTo>
                  <a:pt x="150" y="1592"/>
                </a:lnTo>
                <a:lnTo>
                  <a:pt x="152" y="1596"/>
                </a:lnTo>
                <a:lnTo>
                  <a:pt x="154" y="1599"/>
                </a:lnTo>
                <a:lnTo>
                  <a:pt x="155" y="1602"/>
                </a:lnTo>
                <a:lnTo>
                  <a:pt x="156" y="1605"/>
                </a:lnTo>
                <a:lnTo>
                  <a:pt x="158" y="1608"/>
                </a:lnTo>
                <a:lnTo>
                  <a:pt x="161" y="1609"/>
                </a:lnTo>
                <a:lnTo>
                  <a:pt x="163" y="1609"/>
                </a:lnTo>
                <a:lnTo>
                  <a:pt x="167" y="1608"/>
                </a:lnTo>
                <a:lnTo>
                  <a:pt x="171" y="1609"/>
                </a:lnTo>
                <a:lnTo>
                  <a:pt x="175" y="1610"/>
                </a:lnTo>
                <a:lnTo>
                  <a:pt x="180" y="1612"/>
                </a:lnTo>
                <a:lnTo>
                  <a:pt x="184" y="1615"/>
                </a:lnTo>
                <a:lnTo>
                  <a:pt x="187" y="1617"/>
                </a:lnTo>
                <a:lnTo>
                  <a:pt x="190" y="1620"/>
                </a:lnTo>
                <a:lnTo>
                  <a:pt x="192" y="1623"/>
                </a:lnTo>
                <a:lnTo>
                  <a:pt x="194" y="1626"/>
                </a:lnTo>
                <a:lnTo>
                  <a:pt x="196" y="1628"/>
                </a:lnTo>
                <a:lnTo>
                  <a:pt x="199" y="1628"/>
                </a:lnTo>
                <a:lnTo>
                  <a:pt x="202" y="1627"/>
                </a:lnTo>
                <a:lnTo>
                  <a:pt x="205" y="1625"/>
                </a:lnTo>
                <a:lnTo>
                  <a:pt x="220" y="1538"/>
                </a:lnTo>
                <a:lnTo>
                  <a:pt x="215" y="1535"/>
                </a:lnTo>
                <a:lnTo>
                  <a:pt x="211" y="1531"/>
                </a:lnTo>
                <a:lnTo>
                  <a:pt x="207" y="1527"/>
                </a:lnTo>
                <a:lnTo>
                  <a:pt x="203" y="1522"/>
                </a:lnTo>
                <a:lnTo>
                  <a:pt x="201" y="1517"/>
                </a:lnTo>
                <a:lnTo>
                  <a:pt x="199" y="1511"/>
                </a:lnTo>
                <a:lnTo>
                  <a:pt x="198" y="1505"/>
                </a:lnTo>
                <a:lnTo>
                  <a:pt x="198" y="1499"/>
                </a:lnTo>
                <a:lnTo>
                  <a:pt x="194" y="1495"/>
                </a:lnTo>
                <a:lnTo>
                  <a:pt x="191" y="1491"/>
                </a:lnTo>
                <a:lnTo>
                  <a:pt x="187" y="1485"/>
                </a:lnTo>
                <a:lnTo>
                  <a:pt x="183" y="1478"/>
                </a:lnTo>
                <a:lnTo>
                  <a:pt x="181" y="1474"/>
                </a:lnTo>
                <a:lnTo>
                  <a:pt x="179" y="1470"/>
                </a:lnTo>
                <a:lnTo>
                  <a:pt x="175" y="1460"/>
                </a:lnTo>
                <a:lnTo>
                  <a:pt x="174" y="1455"/>
                </a:lnTo>
                <a:lnTo>
                  <a:pt x="173" y="1449"/>
                </a:lnTo>
                <a:lnTo>
                  <a:pt x="158" y="1437"/>
                </a:lnTo>
                <a:lnTo>
                  <a:pt x="156" y="1491"/>
                </a:lnTo>
                <a:close/>
                <a:moveTo>
                  <a:pt x="638" y="1724"/>
                </a:moveTo>
                <a:lnTo>
                  <a:pt x="637" y="1726"/>
                </a:lnTo>
                <a:lnTo>
                  <a:pt x="636" y="1728"/>
                </a:lnTo>
                <a:lnTo>
                  <a:pt x="634" y="1731"/>
                </a:lnTo>
                <a:lnTo>
                  <a:pt x="631" y="1733"/>
                </a:lnTo>
                <a:lnTo>
                  <a:pt x="627" y="1736"/>
                </a:lnTo>
                <a:lnTo>
                  <a:pt x="622" y="1738"/>
                </a:lnTo>
                <a:lnTo>
                  <a:pt x="615" y="1739"/>
                </a:lnTo>
                <a:lnTo>
                  <a:pt x="607" y="1740"/>
                </a:lnTo>
                <a:lnTo>
                  <a:pt x="598" y="1739"/>
                </a:lnTo>
                <a:lnTo>
                  <a:pt x="590" y="1738"/>
                </a:lnTo>
                <a:lnTo>
                  <a:pt x="585" y="1736"/>
                </a:lnTo>
                <a:lnTo>
                  <a:pt x="581" y="1734"/>
                </a:lnTo>
                <a:lnTo>
                  <a:pt x="579" y="1732"/>
                </a:lnTo>
                <a:lnTo>
                  <a:pt x="577" y="1731"/>
                </a:lnTo>
                <a:lnTo>
                  <a:pt x="577" y="1729"/>
                </a:lnTo>
                <a:lnTo>
                  <a:pt x="577" y="1706"/>
                </a:lnTo>
                <a:lnTo>
                  <a:pt x="560" y="1698"/>
                </a:lnTo>
                <a:lnTo>
                  <a:pt x="552" y="1694"/>
                </a:lnTo>
                <a:lnTo>
                  <a:pt x="545" y="1690"/>
                </a:lnTo>
                <a:lnTo>
                  <a:pt x="534" y="1682"/>
                </a:lnTo>
                <a:lnTo>
                  <a:pt x="525" y="1675"/>
                </a:lnTo>
                <a:lnTo>
                  <a:pt x="518" y="1669"/>
                </a:lnTo>
                <a:lnTo>
                  <a:pt x="514" y="1664"/>
                </a:lnTo>
                <a:lnTo>
                  <a:pt x="510" y="1660"/>
                </a:lnTo>
                <a:lnTo>
                  <a:pt x="510" y="1504"/>
                </a:lnTo>
                <a:lnTo>
                  <a:pt x="511" y="1502"/>
                </a:lnTo>
                <a:lnTo>
                  <a:pt x="513" y="1499"/>
                </a:lnTo>
                <a:lnTo>
                  <a:pt x="517" y="1494"/>
                </a:lnTo>
                <a:lnTo>
                  <a:pt x="523" y="1488"/>
                </a:lnTo>
                <a:lnTo>
                  <a:pt x="523" y="1452"/>
                </a:lnTo>
                <a:lnTo>
                  <a:pt x="517" y="1451"/>
                </a:lnTo>
                <a:lnTo>
                  <a:pt x="505" y="1447"/>
                </a:lnTo>
                <a:lnTo>
                  <a:pt x="497" y="1443"/>
                </a:lnTo>
                <a:lnTo>
                  <a:pt x="489" y="1440"/>
                </a:lnTo>
                <a:lnTo>
                  <a:pt x="485" y="1437"/>
                </a:lnTo>
                <a:lnTo>
                  <a:pt x="481" y="1435"/>
                </a:lnTo>
                <a:lnTo>
                  <a:pt x="474" y="1430"/>
                </a:lnTo>
                <a:lnTo>
                  <a:pt x="474" y="1492"/>
                </a:lnTo>
                <a:lnTo>
                  <a:pt x="473" y="1495"/>
                </a:lnTo>
                <a:lnTo>
                  <a:pt x="472" y="1498"/>
                </a:lnTo>
                <a:lnTo>
                  <a:pt x="470" y="1500"/>
                </a:lnTo>
                <a:lnTo>
                  <a:pt x="468" y="1502"/>
                </a:lnTo>
                <a:lnTo>
                  <a:pt x="466" y="1504"/>
                </a:lnTo>
                <a:lnTo>
                  <a:pt x="463" y="1505"/>
                </a:lnTo>
                <a:lnTo>
                  <a:pt x="460" y="1507"/>
                </a:lnTo>
                <a:lnTo>
                  <a:pt x="456" y="1509"/>
                </a:lnTo>
                <a:lnTo>
                  <a:pt x="452" y="1510"/>
                </a:lnTo>
                <a:lnTo>
                  <a:pt x="446" y="1511"/>
                </a:lnTo>
                <a:lnTo>
                  <a:pt x="440" y="1511"/>
                </a:lnTo>
                <a:lnTo>
                  <a:pt x="433" y="1512"/>
                </a:lnTo>
                <a:lnTo>
                  <a:pt x="428" y="1511"/>
                </a:lnTo>
                <a:lnTo>
                  <a:pt x="424" y="1511"/>
                </a:lnTo>
                <a:lnTo>
                  <a:pt x="419" y="1510"/>
                </a:lnTo>
                <a:lnTo>
                  <a:pt x="415" y="1508"/>
                </a:lnTo>
                <a:lnTo>
                  <a:pt x="413" y="1521"/>
                </a:lnTo>
                <a:lnTo>
                  <a:pt x="411" y="1533"/>
                </a:lnTo>
                <a:lnTo>
                  <a:pt x="407" y="1545"/>
                </a:lnTo>
                <a:lnTo>
                  <a:pt x="402" y="1557"/>
                </a:lnTo>
                <a:lnTo>
                  <a:pt x="397" y="1569"/>
                </a:lnTo>
                <a:lnTo>
                  <a:pt x="391" y="1580"/>
                </a:lnTo>
                <a:lnTo>
                  <a:pt x="383" y="1591"/>
                </a:lnTo>
                <a:lnTo>
                  <a:pt x="375" y="1602"/>
                </a:lnTo>
                <a:lnTo>
                  <a:pt x="369" y="1608"/>
                </a:lnTo>
                <a:lnTo>
                  <a:pt x="363" y="1615"/>
                </a:lnTo>
                <a:lnTo>
                  <a:pt x="357" y="1621"/>
                </a:lnTo>
                <a:lnTo>
                  <a:pt x="350" y="1626"/>
                </a:lnTo>
                <a:lnTo>
                  <a:pt x="343" y="1631"/>
                </a:lnTo>
                <a:lnTo>
                  <a:pt x="336" y="1636"/>
                </a:lnTo>
                <a:lnTo>
                  <a:pt x="329" y="1641"/>
                </a:lnTo>
                <a:lnTo>
                  <a:pt x="321" y="1645"/>
                </a:lnTo>
                <a:lnTo>
                  <a:pt x="306" y="1652"/>
                </a:lnTo>
                <a:lnTo>
                  <a:pt x="290" y="1657"/>
                </a:lnTo>
                <a:lnTo>
                  <a:pt x="282" y="1659"/>
                </a:lnTo>
                <a:lnTo>
                  <a:pt x="274" y="1661"/>
                </a:lnTo>
                <a:lnTo>
                  <a:pt x="257" y="1663"/>
                </a:lnTo>
                <a:lnTo>
                  <a:pt x="241" y="1664"/>
                </a:lnTo>
                <a:lnTo>
                  <a:pt x="232" y="1664"/>
                </a:lnTo>
                <a:lnTo>
                  <a:pt x="224" y="1663"/>
                </a:lnTo>
                <a:lnTo>
                  <a:pt x="216" y="1662"/>
                </a:lnTo>
                <a:lnTo>
                  <a:pt x="208" y="1660"/>
                </a:lnTo>
                <a:lnTo>
                  <a:pt x="199" y="1658"/>
                </a:lnTo>
                <a:lnTo>
                  <a:pt x="191" y="1656"/>
                </a:lnTo>
                <a:lnTo>
                  <a:pt x="183" y="1653"/>
                </a:lnTo>
                <a:lnTo>
                  <a:pt x="175" y="1650"/>
                </a:lnTo>
                <a:lnTo>
                  <a:pt x="167" y="1647"/>
                </a:lnTo>
                <a:lnTo>
                  <a:pt x="160" y="1643"/>
                </a:lnTo>
                <a:lnTo>
                  <a:pt x="145" y="1634"/>
                </a:lnTo>
                <a:lnTo>
                  <a:pt x="138" y="1629"/>
                </a:lnTo>
                <a:lnTo>
                  <a:pt x="131" y="1623"/>
                </a:lnTo>
                <a:lnTo>
                  <a:pt x="121" y="1615"/>
                </a:lnTo>
                <a:lnTo>
                  <a:pt x="113" y="1606"/>
                </a:lnTo>
                <a:lnTo>
                  <a:pt x="105" y="1596"/>
                </a:lnTo>
                <a:lnTo>
                  <a:pt x="98" y="1586"/>
                </a:lnTo>
                <a:lnTo>
                  <a:pt x="91" y="1576"/>
                </a:lnTo>
                <a:lnTo>
                  <a:pt x="86" y="1565"/>
                </a:lnTo>
                <a:lnTo>
                  <a:pt x="81" y="1555"/>
                </a:lnTo>
                <a:lnTo>
                  <a:pt x="77" y="1543"/>
                </a:lnTo>
                <a:lnTo>
                  <a:pt x="74" y="1532"/>
                </a:lnTo>
                <a:lnTo>
                  <a:pt x="71" y="1520"/>
                </a:lnTo>
                <a:lnTo>
                  <a:pt x="70" y="1509"/>
                </a:lnTo>
                <a:lnTo>
                  <a:pt x="69" y="1497"/>
                </a:lnTo>
                <a:lnTo>
                  <a:pt x="69" y="1485"/>
                </a:lnTo>
                <a:lnTo>
                  <a:pt x="69" y="1479"/>
                </a:lnTo>
                <a:lnTo>
                  <a:pt x="69" y="1473"/>
                </a:lnTo>
                <a:lnTo>
                  <a:pt x="71" y="1462"/>
                </a:lnTo>
                <a:lnTo>
                  <a:pt x="73" y="1450"/>
                </a:lnTo>
                <a:lnTo>
                  <a:pt x="68" y="1449"/>
                </a:lnTo>
                <a:lnTo>
                  <a:pt x="65" y="1449"/>
                </a:lnTo>
                <a:lnTo>
                  <a:pt x="62" y="1447"/>
                </a:lnTo>
                <a:lnTo>
                  <a:pt x="59" y="1446"/>
                </a:lnTo>
                <a:lnTo>
                  <a:pt x="57" y="1444"/>
                </a:lnTo>
                <a:lnTo>
                  <a:pt x="55" y="1441"/>
                </a:lnTo>
                <a:lnTo>
                  <a:pt x="55" y="1438"/>
                </a:lnTo>
                <a:lnTo>
                  <a:pt x="55" y="1348"/>
                </a:lnTo>
                <a:lnTo>
                  <a:pt x="56" y="1345"/>
                </a:lnTo>
                <a:lnTo>
                  <a:pt x="58" y="1341"/>
                </a:lnTo>
                <a:lnTo>
                  <a:pt x="60" y="1338"/>
                </a:lnTo>
                <a:lnTo>
                  <a:pt x="63" y="1336"/>
                </a:lnTo>
                <a:lnTo>
                  <a:pt x="64" y="1335"/>
                </a:lnTo>
                <a:lnTo>
                  <a:pt x="66" y="1334"/>
                </a:lnTo>
                <a:lnTo>
                  <a:pt x="68" y="1334"/>
                </a:lnTo>
                <a:lnTo>
                  <a:pt x="70" y="1334"/>
                </a:lnTo>
                <a:lnTo>
                  <a:pt x="86" y="1334"/>
                </a:lnTo>
                <a:lnTo>
                  <a:pt x="86" y="1328"/>
                </a:lnTo>
                <a:lnTo>
                  <a:pt x="87" y="1321"/>
                </a:lnTo>
                <a:lnTo>
                  <a:pt x="89" y="1314"/>
                </a:lnTo>
                <a:lnTo>
                  <a:pt x="90" y="1311"/>
                </a:lnTo>
                <a:lnTo>
                  <a:pt x="91" y="1307"/>
                </a:lnTo>
                <a:lnTo>
                  <a:pt x="93" y="1304"/>
                </a:lnTo>
                <a:lnTo>
                  <a:pt x="95" y="1301"/>
                </a:lnTo>
                <a:lnTo>
                  <a:pt x="98" y="1299"/>
                </a:lnTo>
                <a:lnTo>
                  <a:pt x="100" y="1297"/>
                </a:lnTo>
                <a:lnTo>
                  <a:pt x="104" y="1295"/>
                </a:lnTo>
                <a:lnTo>
                  <a:pt x="108" y="1295"/>
                </a:lnTo>
                <a:lnTo>
                  <a:pt x="124" y="1287"/>
                </a:lnTo>
                <a:lnTo>
                  <a:pt x="147" y="1277"/>
                </a:lnTo>
                <a:lnTo>
                  <a:pt x="150" y="1276"/>
                </a:lnTo>
                <a:lnTo>
                  <a:pt x="153" y="1276"/>
                </a:lnTo>
                <a:lnTo>
                  <a:pt x="155" y="1277"/>
                </a:lnTo>
                <a:lnTo>
                  <a:pt x="158" y="1277"/>
                </a:lnTo>
                <a:lnTo>
                  <a:pt x="161" y="1280"/>
                </a:lnTo>
                <a:lnTo>
                  <a:pt x="162" y="1281"/>
                </a:lnTo>
                <a:lnTo>
                  <a:pt x="181" y="1281"/>
                </a:lnTo>
                <a:lnTo>
                  <a:pt x="184" y="1281"/>
                </a:lnTo>
                <a:lnTo>
                  <a:pt x="187" y="1282"/>
                </a:lnTo>
                <a:lnTo>
                  <a:pt x="188" y="1284"/>
                </a:lnTo>
                <a:lnTo>
                  <a:pt x="190" y="1286"/>
                </a:lnTo>
                <a:lnTo>
                  <a:pt x="191" y="1289"/>
                </a:lnTo>
                <a:lnTo>
                  <a:pt x="191" y="1294"/>
                </a:lnTo>
                <a:lnTo>
                  <a:pt x="192" y="1305"/>
                </a:lnTo>
                <a:lnTo>
                  <a:pt x="192" y="1324"/>
                </a:lnTo>
                <a:lnTo>
                  <a:pt x="203" y="1321"/>
                </a:lnTo>
                <a:lnTo>
                  <a:pt x="209" y="1320"/>
                </a:lnTo>
                <a:lnTo>
                  <a:pt x="215" y="1319"/>
                </a:lnTo>
                <a:lnTo>
                  <a:pt x="227" y="1317"/>
                </a:lnTo>
                <a:lnTo>
                  <a:pt x="238" y="1316"/>
                </a:lnTo>
                <a:lnTo>
                  <a:pt x="261" y="1303"/>
                </a:lnTo>
                <a:lnTo>
                  <a:pt x="266" y="1302"/>
                </a:lnTo>
                <a:lnTo>
                  <a:pt x="277" y="1301"/>
                </a:lnTo>
                <a:lnTo>
                  <a:pt x="284" y="1301"/>
                </a:lnTo>
                <a:lnTo>
                  <a:pt x="292" y="1302"/>
                </a:lnTo>
                <a:lnTo>
                  <a:pt x="300" y="1303"/>
                </a:lnTo>
                <a:lnTo>
                  <a:pt x="304" y="1305"/>
                </a:lnTo>
                <a:lnTo>
                  <a:pt x="308" y="1306"/>
                </a:lnTo>
                <a:lnTo>
                  <a:pt x="316" y="1309"/>
                </a:lnTo>
                <a:lnTo>
                  <a:pt x="323" y="1313"/>
                </a:lnTo>
                <a:lnTo>
                  <a:pt x="328" y="1316"/>
                </a:lnTo>
                <a:lnTo>
                  <a:pt x="332" y="1319"/>
                </a:lnTo>
                <a:lnTo>
                  <a:pt x="335" y="1321"/>
                </a:lnTo>
                <a:lnTo>
                  <a:pt x="337" y="1323"/>
                </a:lnTo>
                <a:lnTo>
                  <a:pt x="339" y="1325"/>
                </a:lnTo>
                <a:lnTo>
                  <a:pt x="376" y="1325"/>
                </a:lnTo>
                <a:lnTo>
                  <a:pt x="376" y="1331"/>
                </a:lnTo>
                <a:lnTo>
                  <a:pt x="390" y="1331"/>
                </a:lnTo>
                <a:lnTo>
                  <a:pt x="390" y="1294"/>
                </a:lnTo>
                <a:lnTo>
                  <a:pt x="392" y="1291"/>
                </a:lnTo>
                <a:lnTo>
                  <a:pt x="395" y="1288"/>
                </a:lnTo>
                <a:lnTo>
                  <a:pt x="400" y="1284"/>
                </a:lnTo>
                <a:lnTo>
                  <a:pt x="407" y="1280"/>
                </a:lnTo>
                <a:lnTo>
                  <a:pt x="411" y="1279"/>
                </a:lnTo>
                <a:lnTo>
                  <a:pt x="416" y="1277"/>
                </a:lnTo>
                <a:lnTo>
                  <a:pt x="421" y="1276"/>
                </a:lnTo>
                <a:lnTo>
                  <a:pt x="427" y="1275"/>
                </a:lnTo>
                <a:lnTo>
                  <a:pt x="433" y="1274"/>
                </a:lnTo>
                <a:lnTo>
                  <a:pt x="439" y="1274"/>
                </a:lnTo>
                <a:lnTo>
                  <a:pt x="446" y="1274"/>
                </a:lnTo>
                <a:lnTo>
                  <a:pt x="452" y="1275"/>
                </a:lnTo>
                <a:lnTo>
                  <a:pt x="461" y="1276"/>
                </a:lnTo>
                <a:lnTo>
                  <a:pt x="468" y="1279"/>
                </a:lnTo>
                <a:lnTo>
                  <a:pt x="473" y="1281"/>
                </a:lnTo>
                <a:lnTo>
                  <a:pt x="476" y="1284"/>
                </a:lnTo>
                <a:lnTo>
                  <a:pt x="478" y="1287"/>
                </a:lnTo>
                <a:lnTo>
                  <a:pt x="479" y="1289"/>
                </a:lnTo>
                <a:lnTo>
                  <a:pt x="479" y="1329"/>
                </a:lnTo>
                <a:lnTo>
                  <a:pt x="488" y="1336"/>
                </a:lnTo>
                <a:lnTo>
                  <a:pt x="490" y="1334"/>
                </a:lnTo>
                <a:lnTo>
                  <a:pt x="494" y="1329"/>
                </a:lnTo>
                <a:lnTo>
                  <a:pt x="496" y="1326"/>
                </a:lnTo>
                <a:lnTo>
                  <a:pt x="499" y="1324"/>
                </a:lnTo>
                <a:lnTo>
                  <a:pt x="503" y="1323"/>
                </a:lnTo>
                <a:lnTo>
                  <a:pt x="505" y="1322"/>
                </a:lnTo>
                <a:lnTo>
                  <a:pt x="506" y="1322"/>
                </a:lnTo>
                <a:lnTo>
                  <a:pt x="531" y="1322"/>
                </a:lnTo>
                <a:lnTo>
                  <a:pt x="525" y="1318"/>
                </a:lnTo>
                <a:lnTo>
                  <a:pt x="521" y="1314"/>
                </a:lnTo>
                <a:lnTo>
                  <a:pt x="518" y="1310"/>
                </a:lnTo>
                <a:lnTo>
                  <a:pt x="518" y="1276"/>
                </a:lnTo>
                <a:lnTo>
                  <a:pt x="516" y="1275"/>
                </a:lnTo>
                <a:lnTo>
                  <a:pt x="512" y="1272"/>
                </a:lnTo>
                <a:lnTo>
                  <a:pt x="510" y="1270"/>
                </a:lnTo>
                <a:lnTo>
                  <a:pt x="508" y="1267"/>
                </a:lnTo>
                <a:lnTo>
                  <a:pt x="507" y="1264"/>
                </a:lnTo>
                <a:lnTo>
                  <a:pt x="506" y="1261"/>
                </a:lnTo>
                <a:lnTo>
                  <a:pt x="506" y="1129"/>
                </a:lnTo>
                <a:lnTo>
                  <a:pt x="507" y="1127"/>
                </a:lnTo>
                <a:lnTo>
                  <a:pt x="509" y="1122"/>
                </a:lnTo>
                <a:lnTo>
                  <a:pt x="513" y="1117"/>
                </a:lnTo>
                <a:lnTo>
                  <a:pt x="516" y="1114"/>
                </a:lnTo>
                <a:lnTo>
                  <a:pt x="519" y="1112"/>
                </a:lnTo>
                <a:lnTo>
                  <a:pt x="519" y="1102"/>
                </a:lnTo>
                <a:lnTo>
                  <a:pt x="523" y="1098"/>
                </a:lnTo>
                <a:lnTo>
                  <a:pt x="523" y="1080"/>
                </a:lnTo>
                <a:lnTo>
                  <a:pt x="534" y="1076"/>
                </a:lnTo>
                <a:lnTo>
                  <a:pt x="534" y="1071"/>
                </a:lnTo>
                <a:lnTo>
                  <a:pt x="535" y="1071"/>
                </a:lnTo>
                <a:lnTo>
                  <a:pt x="538" y="1069"/>
                </a:lnTo>
                <a:lnTo>
                  <a:pt x="542" y="1068"/>
                </a:lnTo>
                <a:lnTo>
                  <a:pt x="549" y="1067"/>
                </a:lnTo>
                <a:lnTo>
                  <a:pt x="556" y="1068"/>
                </a:lnTo>
                <a:lnTo>
                  <a:pt x="561" y="1069"/>
                </a:lnTo>
                <a:lnTo>
                  <a:pt x="566" y="1071"/>
                </a:lnTo>
                <a:lnTo>
                  <a:pt x="566" y="1076"/>
                </a:lnTo>
                <a:lnTo>
                  <a:pt x="571" y="1076"/>
                </a:lnTo>
                <a:lnTo>
                  <a:pt x="571" y="1064"/>
                </a:lnTo>
                <a:lnTo>
                  <a:pt x="579" y="1060"/>
                </a:lnTo>
                <a:lnTo>
                  <a:pt x="579" y="1057"/>
                </a:lnTo>
                <a:lnTo>
                  <a:pt x="581" y="1057"/>
                </a:lnTo>
                <a:lnTo>
                  <a:pt x="588" y="1056"/>
                </a:lnTo>
                <a:lnTo>
                  <a:pt x="599" y="1055"/>
                </a:lnTo>
                <a:lnTo>
                  <a:pt x="606" y="1056"/>
                </a:lnTo>
                <a:lnTo>
                  <a:pt x="614" y="1057"/>
                </a:lnTo>
                <a:lnTo>
                  <a:pt x="614" y="1060"/>
                </a:lnTo>
                <a:lnTo>
                  <a:pt x="623" y="1064"/>
                </a:lnTo>
                <a:lnTo>
                  <a:pt x="623" y="1086"/>
                </a:lnTo>
                <a:lnTo>
                  <a:pt x="653" y="1082"/>
                </a:lnTo>
                <a:lnTo>
                  <a:pt x="653" y="1055"/>
                </a:lnTo>
                <a:lnTo>
                  <a:pt x="665" y="1055"/>
                </a:lnTo>
                <a:lnTo>
                  <a:pt x="665" y="1051"/>
                </a:lnTo>
                <a:lnTo>
                  <a:pt x="663" y="1050"/>
                </a:lnTo>
                <a:lnTo>
                  <a:pt x="656" y="1046"/>
                </a:lnTo>
                <a:lnTo>
                  <a:pt x="652" y="1044"/>
                </a:lnTo>
                <a:lnTo>
                  <a:pt x="648" y="1042"/>
                </a:lnTo>
                <a:lnTo>
                  <a:pt x="645" y="1039"/>
                </a:lnTo>
                <a:lnTo>
                  <a:pt x="642" y="1035"/>
                </a:lnTo>
                <a:lnTo>
                  <a:pt x="640" y="1032"/>
                </a:lnTo>
                <a:lnTo>
                  <a:pt x="639" y="1028"/>
                </a:lnTo>
                <a:lnTo>
                  <a:pt x="638" y="1019"/>
                </a:lnTo>
                <a:lnTo>
                  <a:pt x="631" y="1011"/>
                </a:lnTo>
                <a:lnTo>
                  <a:pt x="625" y="1004"/>
                </a:lnTo>
                <a:lnTo>
                  <a:pt x="620" y="997"/>
                </a:lnTo>
                <a:lnTo>
                  <a:pt x="615" y="990"/>
                </a:lnTo>
                <a:lnTo>
                  <a:pt x="610" y="983"/>
                </a:lnTo>
                <a:lnTo>
                  <a:pt x="606" y="975"/>
                </a:lnTo>
                <a:lnTo>
                  <a:pt x="602" y="967"/>
                </a:lnTo>
                <a:lnTo>
                  <a:pt x="599" y="960"/>
                </a:lnTo>
                <a:lnTo>
                  <a:pt x="596" y="952"/>
                </a:lnTo>
                <a:lnTo>
                  <a:pt x="593" y="944"/>
                </a:lnTo>
                <a:lnTo>
                  <a:pt x="591" y="936"/>
                </a:lnTo>
                <a:lnTo>
                  <a:pt x="588" y="919"/>
                </a:lnTo>
                <a:lnTo>
                  <a:pt x="587" y="911"/>
                </a:lnTo>
                <a:lnTo>
                  <a:pt x="586" y="902"/>
                </a:lnTo>
                <a:lnTo>
                  <a:pt x="586" y="886"/>
                </a:lnTo>
                <a:lnTo>
                  <a:pt x="587" y="877"/>
                </a:lnTo>
                <a:lnTo>
                  <a:pt x="588" y="869"/>
                </a:lnTo>
                <a:lnTo>
                  <a:pt x="590" y="861"/>
                </a:lnTo>
                <a:lnTo>
                  <a:pt x="591" y="853"/>
                </a:lnTo>
                <a:lnTo>
                  <a:pt x="594" y="845"/>
                </a:lnTo>
                <a:lnTo>
                  <a:pt x="596" y="837"/>
                </a:lnTo>
                <a:lnTo>
                  <a:pt x="599" y="829"/>
                </a:lnTo>
                <a:lnTo>
                  <a:pt x="603" y="821"/>
                </a:lnTo>
                <a:lnTo>
                  <a:pt x="606" y="814"/>
                </a:lnTo>
                <a:lnTo>
                  <a:pt x="611" y="806"/>
                </a:lnTo>
                <a:lnTo>
                  <a:pt x="615" y="799"/>
                </a:lnTo>
                <a:lnTo>
                  <a:pt x="620" y="792"/>
                </a:lnTo>
                <a:lnTo>
                  <a:pt x="625" y="785"/>
                </a:lnTo>
                <a:lnTo>
                  <a:pt x="631" y="778"/>
                </a:lnTo>
                <a:lnTo>
                  <a:pt x="644" y="766"/>
                </a:lnTo>
                <a:lnTo>
                  <a:pt x="657" y="755"/>
                </a:lnTo>
                <a:lnTo>
                  <a:pt x="670" y="746"/>
                </a:lnTo>
                <a:lnTo>
                  <a:pt x="657" y="746"/>
                </a:lnTo>
                <a:lnTo>
                  <a:pt x="644" y="739"/>
                </a:lnTo>
                <a:lnTo>
                  <a:pt x="644" y="662"/>
                </a:lnTo>
                <a:lnTo>
                  <a:pt x="685" y="662"/>
                </a:lnTo>
                <a:lnTo>
                  <a:pt x="685" y="646"/>
                </a:lnTo>
                <a:lnTo>
                  <a:pt x="682" y="646"/>
                </a:lnTo>
                <a:lnTo>
                  <a:pt x="680" y="645"/>
                </a:lnTo>
                <a:lnTo>
                  <a:pt x="678" y="644"/>
                </a:lnTo>
                <a:lnTo>
                  <a:pt x="677" y="642"/>
                </a:lnTo>
                <a:lnTo>
                  <a:pt x="676" y="640"/>
                </a:lnTo>
                <a:lnTo>
                  <a:pt x="676" y="637"/>
                </a:lnTo>
                <a:lnTo>
                  <a:pt x="676" y="632"/>
                </a:lnTo>
                <a:lnTo>
                  <a:pt x="676" y="608"/>
                </a:lnTo>
                <a:lnTo>
                  <a:pt x="649" y="608"/>
                </a:lnTo>
                <a:lnTo>
                  <a:pt x="645" y="608"/>
                </a:lnTo>
                <a:lnTo>
                  <a:pt x="642" y="607"/>
                </a:lnTo>
                <a:lnTo>
                  <a:pt x="640" y="606"/>
                </a:lnTo>
                <a:lnTo>
                  <a:pt x="638" y="604"/>
                </a:lnTo>
                <a:lnTo>
                  <a:pt x="636" y="602"/>
                </a:lnTo>
                <a:lnTo>
                  <a:pt x="636" y="601"/>
                </a:lnTo>
                <a:lnTo>
                  <a:pt x="624" y="601"/>
                </a:lnTo>
                <a:lnTo>
                  <a:pt x="624" y="644"/>
                </a:lnTo>
                <a:lnTo>
                  <a:pt x="551" y="644"/>
                </a:lnTo>
                <a:lnTo>
                  <a:pt x="545" y="635"/>
                </a:lnTo>
                <a:lnTo>
                  <a:pt x="539" y="643"/>
                </a:lnTo>
                <a:lnTo>
                  <a:pt x="532" y="652"/>
                </a:lnTo>
                <a:lnTo>
                  <a:pt x="525" y="660"/>
                </a:lnTo>
                <a:lnTo>
                  <a:pt x="517" y="667"/>
                </a:lnTo>
                <a:lnTo>
                  <a:pt x="509" y="674"/>
                </a:lnTo>
                <a:lnTo>
                  <a:pt x="501" y="681"/>
                </a:lnTo>
                <a:lnTo>
                  <a:pt x="492" y="686"/>
                </a:lnTo>
                <a:lnTo>
                  <a:pt x="483" y="692"/>
                </a:lnTo>
                <a:lnTo>
                  <a:pt x="474" y="697"/>
                </a:lnTo>
                <a:lnTo>
                  <a:pt x="464" y="701"/>
                </a:lnTo>
                <a:lnTo>
                  <a:pt x="454" y="705"/>
                </a:lnTo>
                <a:lnTo>
                  <a:pt x="443" y="708"/>
                </a:lnTo>
                <a:lnTo>
                  <a:pt x="432" y="710"/>
                </a:lnTo>
                <a:lnTo>
                  <a:pt x="422" y="712"/>
                </a:lnTo>
                <a:lnTo>
                  <a:pt x="410" y="713"/>
                </a:lnTo>
                <a:lnTo>
                  <a:pt x="399" y="714"/>
                </a:lnTo>
                <a:lnTo>
                  <a:pt x="388" y="713"/>
                </a:lnTo>
                <a:lnTo>
                  <a:pt x="378" y="712"/>
                </a:lnTo>
                <a:lnTo>
                  <a:pt x="368" y="711"/>
                </a:lnTo>
                <a:lnTo>
                  <a:pt x="363" y="710"/>
                </a:lnTo>
                <a:lnTo>
                  <a:pt x="357" y="709"/>
                </a:lnTo>
                <a:lnTo>
                  <a:pt x="348" y="706"/>
                </a:lnTo>
                <a:lnTo>
                  <a:pt x="338" y="702"/>
                </a:lnTo>
                <a:lnTo>
                  <a:pt x="329" y="699"/>
                </a:lnTo>
                <a:lnTo>
                  <a:pt x="320" y="694"/>
                </a:lnTo>
                <a:lnTo>
                  <a:pt x="311" y="689"/>
                </a:lnTo>
                <a:lnTo>
                  <a:pt x="302" y="684"/>
                </a:lnTo>
                <a:lnTo>
                  <a:pt x="294" y="678"/>
                </a:lnTo>
                <a:lnTo>
                  <a:pt x="286" y="672"/>
                </a:lnTo>
                <a:lnTo>
                  <a:pt x="279" y="665"/>
                </a:lnTo>
                <a:lnTo>
                  <a:pt x="272" y="658"/>
                </a:lnTo>
                <a:lnTo>
                  <a:pt x="265" y="651"/>
                </a:lnTo>
                <a:lnTo>
                  <a:pt x="259" y="643"/>
                </a:lnTo>
                <a:lnTo>
                  <a:pt x="246" y="643"/>
                </a:lnTo>
                <a:lnTo>
                  <a:pt x="245" y="642"/>
                </a:lnTo>
                <a:lnTo>
                  <a:pt x="243" y="640"/>
                </a:lnTo>
                <a:lnTo>
                  <a:pt x="241" y="637"/>
                </a:lnTo>
                <a:lnTo>
                  <a:pt x="239" y="634"/>
                </a:lnTo>
                <a:lnTo>
                  <a:pt x="238" y="631"/>
                </a:lnTo>
                <a:lnTo>
                  <a:pt x="237" y="626"/>
                </a:lnTo>
                <a:lnTo>
                  <a:pt x="236" y="624"/>
                </a:lnTo>
                <a:lnTo>
                  <a:pt x="224" y="624"/>
                </a:lnTo>
                <a:lnTo>
                  <a:pt x="222" y="630"/>
                </a:lnTo>
                <a:lnTo>
                  <a:pt x="220" y="634"/>
                </a:lnTo>
                <a:lnTo>
                  <a:pt x="217" y="637"/>
                </a:lnTo>
                <a:lnTo>
                  <a:pt x="216" y="638"/>
                </a:lnTo>
                <a:lnTo>
                  <a:pt x="215" y="638"/>
                </a:lnTo>
                <a:lnTo>
                  <a:pt x="205" y="638"/>
                </a:lnTo>
                <a:lnTo>
                  <a:pt x="205" y="682"/>
                </a:lnTo>
                <a:lnTo>
                  <a:pt x="166" y="682"/>
                </a:lnTo>
                <a:lnTo>
                  <a:pt x="166" y="638"/>
                </a:lnTo>
                <a:lnTo>
                  <a:pt x="67" y="638"/>
                </a:lnTo>
                <a:lnTo>
                  <a:pt x="65" y="637"/>
                </a:lnTo>
                <a:lnTo>
                  <a:pt x="63" y="636"/>
                </a:lnTo>
                <a:lnTo>
                  <a:pt x="62" y="633"/>
                </a:lnTo>
                <a:lnTo>
                  <a:pt x="60" y="629"/>
                </a:lnTo>
                <a:lnTo>
                  <a:pt x="57" y="619"/>
                </a:lnTo>
                <a:lnTo>
                  <a:pt x="55" y="606"/>
                </a:lnTo>
                <a:lnTo>
                  <a:pt x="10" y="606"/>
                </a:lnTo>
                <a:lnTo>
                  <a:pt x="9" y="605"/>
                </a:lnTo>
                <a:lnTo>
                  <a:pt x="8" y="604"/>
                </a:lnTo>
                <a:lnTo>
                  <a:pt x="6" y="601"/>
                </a:lnTo>
                <a:lnTo>
                  <a:pt x="5" y="596"/>
                </a:lnTo>
                <a:lnTo>
                  <a:pt x="3" y="589"/>
                </a:lnTo>
                <a:lnTo>
                  <a:pt x="2" y="580"/>
                </a:lnTo>
                <a:lnTo>
                  <a:pt x="1" y="571"/>
                </a:lnTo>
                <a:lnTo>
                  <a:pt x="0" y="560"/>
                </a:lnTo>
                <a:lnTo>
                  <a:pt x="0" y="549"/>
                </a:lnTo>
                <a:lnTo>
                  <a:pt x="0" y="537"/>
                </a:lnTo>
                <a:lnTo>
                  <a:pt x="1" y="526"/>
                </a:lnTo>
                <a:lnTo>
                  <a:pt x="2" y="517"/>
                </a:lnTo>
                <a:lnTo>
                  <a:pt x="3" y="508"/>
                </a:lnTo>
                <a:lnTo>
                  <a:pt x="5" y="501"/>
                </a:lnTo>
                <a:lnTo>
                  <a:pt x="6" y="496"/>
                </a:lnTo>
                <a:lnTo>
                  <a:pt x="7" y="494"/>
                </a:lnTo>
                <a:lnTo>
                  <a:pt x="8" y="493"/>
                </a:lnTo>
                <a:lnTo>
                  <a:pt x="9" y="492"/>
                </a:lnTo>
                <a:lnTo>
                  <a:pt x="10" y="492"/>
                </a:lnTo>
                <a:lnTo>
                  <a:pt x="55" y="492"/>
                </a:lnTo>
                <a:lnTo>
                  <a:pt x="57" y="478"/>
                </a:lnTo>
                <a:lnTo>
                  <a:pt x="60" y="468"/>
                </a:lnTo>
                <a:lnTo>
                  <a:pt x="62" y="464"/>
                </a:lnTo>
                <a:lnTo>
                  <a:pt x="63" y="462"/>
                </a:lnTo>
                <a:lnTo>
                  <a:pt x="65" y="460"/>
                </a:lnTo>
                <a:lnTo>
                  <a:pt x="66" y="460"/>
                </a:lnTo>
                <a:lnTo>
                  <a:pt x="67" y="459"/>
                </a:lnTo>
                <a:lnTo>
                  <a:pt x="81" y="459"/>
                </a:lnTo>
                <a:lnTo>
                  <a:pt x="81" y="415"/>
                </a:lnTo>
                <a:lnTo>
                  <a:pt x="122" y="415"/>
                </a:lnTo>
                <a:lnTo>
                  <a:pt x="122" y="459"/>
                </a:lnTo>
                <a:lnTo>
                  <a:pt x="215" y="459"/>
                </a:lnTo>
                <a:lnTo>
                  <a:pt x="216" y="460"/>
                </a:lnTo>
                <a:lnTo>
                  <a:pt x="218" y="460"/>
                </a:lnTo>
                <a:lnTo>
                  <a:pt x="219" y="462"/>
                </a:lnTo>
                <a:lnTo>
                  <a:pt x="220" y="464"/>
                </a:lnTo>
                <a:lnTo>
                  <a:pt x="222" y="469"/>
                </a:lnTo>
                <a:lnTo>
                  <a:pt x="224" y="475"/>
                </a:lnTo>
                <a:lnTo>
                  <a:pt x="231" y="475"/>
                </a:lnTo>
                <a:lnTo>
                  <a:pt x="232" y="469"/>
                </a:lnTo>
                <a:lnTo>
                  <a:pt x="234" y="463"/>
                </a:lnTo>
                <a:lnTo>
                  <a:pt x="236" y="458"/>
                </a:lnTo>
                <a:lnTo>
                  <a:pt x="239" y="455"/>
                </a:lnTo>
                <a:lnTo>
                  <a:pt x="241" y="452"/>
                </a:lnTo>
                <a:lnTo>
                  <a:pt x="243" y="450"/>
                </a:lnTo>
                <a:lnTo>
                  <a:pt x="244" y="449"/>
                </a:lnTo>
                <a:lnTo>
                  <a:pt x="251" y="449"/>
                </a:lnTo>
                <a:lnTo>
                  <a:pt x="257" y="439"/>
                </a:lnTo>
                <a:lnTo>
                  <a:pt x="264" y="431"/>
                </a:lnTo>
                <a:lnTo>
                  <a:pt x="271" y="423"/>
                </a:lnTo>
                <a:lnTo>
                  <a:pt x="279" y="415"/>
                </a:lnTo>
                <a:lnTo>
                  <a:pt x="287" y="408"/>
                </a:lnTo>
                <a:lnTo>
                  <a:pt x="295" y="401"/>
                </a:lnTo>
                <a:lnTo>
                  <a:pt x="304" y="394"/>
                </a:lnTo>
                <a:lnTo>
                  <a:pt x="313" y="389"/>
                </a:lnTo>
                <a:lnTo>
                  <a:pt x="323" y="384"/>
                </a:lnTo>
                <a:lnTo>
                  <a:pt x="333" y="379"/>
                </a:lnTo>
                <a:lnTo>
                  <a:pt x="343" y="375"/>
                </a:lnTo>
                <a:lnTo>
                  <a:pt x="354" y="372"/>
                </a:lnTo>
                <a:lnTo>
                  <a:pt x="365" y="370"/>
                </a:lnTo>
                <a:lnTo>
                  <a:pt x="376" y="368"/>
                </a:lnTo>
                <a:lnTo>
                  <a:pt x="387" y="367"/>
                </a:lnTo>
                <a:lnTo>
                  <a:pt x="399" y="366"/>
                </a:lnTo>
                <a:lnTo>
                  <a:pt x="411" y="367"/>
                </a:lnTo>
                <a:lnTo>
                  <a:pt x="422" y="368"/>
                </a:lnTo>
                <a:lnTo>
                  <a:pt x="433" y="370"/>
                </a:lnTo>
                <a:lnTo>
                  <a:pt x="444" y="372"/>
                </a:lnTo>
                <a:lnTo>
                  <a:pt x="455" y="375"/>
                </a:lnTo>
                <a:lnTo>
                  <a:pt x="465" y="379"/>
                </a:lnTo>
                <a:lnTo>
                  <a:pt x="475" y="384"/>
                </a:lnTo>
                <a:lnTo>
                  <a:pt x="485" y="389"/>
                </a:lnTo>
                <a:lnTo>
                  <a:pt x="494" y="395"/>
                </a:lnTo>
                <a:lnTo>
                  <a:pt x="503" y="401"/>
                </a:lnTo>
                <a:lnTo>
                  <a:pt x="512" y="408"/>
                </a:lnTo>
                <a:lnTo>
                  <a:pt x="520" y="415"/>
                </a:lnTo>
                <a:lnTo>
                  <a:pt x="524" y="419"/>
                </a:lnTo>
                <a:lnTo>
                  <a:pt x="527" y="423"/>
                </a:lnTo>
                <a:lnTo>
                  <a:pt x="534" y="431"/>
                </a:lnTo>
                <a:lnTo>
                  <a:pt x="541" y="440"/>
                </a:lnTo>
                <a:lnTo>
                  <a:pt x="547" y="449"/>
                </a:lnTo>
                <a:lnTo>
                  <a:pt x="623" y="449"/>
                </a:lnTo>
                <a:lnTo>
                  <a:pt x="624" y="450"/>
                </a:lnTo>
                <a:lnTo>
                  <a:pt x="625" y="453"/>
                </a:lnTo>
                <a:lnTo>
                  <a:pt x="626" y="459"/>
                </a:lnTo>
                <a:lnTo>
                  <a:pt x="627" y="465"/>
                </a:lnTo>
                <a:lnTo>
                  <a:pt x="628" y="473"/>
                </a:lnTo>
                <a:lnTo>
                  <a:pt x="628" y="491"/>
                </a:lnTo>
                <a:lnTo>
                  <a:pt x="639" y="491"/>
                </a:lnTo>
                <a:lnTo>
                  <a:pt x="641" y="487"/>
                </a:lnTo>
                <a:lnTo>
                  <a:pt x="679" y="487"/>
                </a:lnTo>
                <a:lnTo>
                  <a:pt x="679" y="451"/>
                </a:lnTo>
                <a:lnTo>
                  <a:pt x="684" y="451"/>
                </a:lnTo>
                <a:lnTo>
                  <a:pt x="684" y="437"/>
                </a:lnTo>
                <a:lnTo>
                  <a:pt x="680" y="437"/>
                </a:lnTo>
                <a:lnTo>
                  <a:pt x="672" y="431"/>
                </a:lnTo>
                <a:lnTo>
                  <a:pt x="642" y="431"/>
                </a:lnTo>
                <a:lnTo>
                  <a:pt x="642" y="355"/>
                </a:lnTo>
                <a:lnTo>
                  <a:pt x="665" y="347"/>
                </a:lnTo>
                <a:lnTo>
                  <a:pt x="662" y="345"/>
                </a:lnTo>
                <a:lnTo>
                  <a:pt x="655" y="340"/>
                </a:lnTo>
                <a:lnTo>
                  <a:pt x="648" y="335"/>
                </a:lnTo>
                <a:lnTo>
                  <a:pt x="642" y="329"/>
                </a:lnTo>
                <a:lnTo>
                  <a:pt x="635" y="323"/>
                </a:lnTo>
                <a:lnTo>
                  <a:pt x="629" y="317"/>
                </a:lnTo>
                <a:lnTo>
                  <a:pt x="624" y="310"/>
                </a:lnTo>
                <a:lnTo>
                  <a:pt x="619" y="303"/>
                </a:lnTo>
                <a:lnTo>
                  <a:pt x="614" y="296"/>
                </a:lnTo>
                <a:lnTo>
                  <a:pt x="610" y="289"/>
                </a:lnTo>
                <a:lnTo>
                  <a:pt x="605" y="282"/>
                </a:lnTo>
                <a:lnTo>
                  <a:pt x="602" y="274"/>
                </a:lnTo>
                <a:lnTo>
                  <a:pt x="598" y="267"/>
                </a:lnTo>
                <a:lnTo>
                  <a:pt x="596" y="259"/>
                </a:lnTo>
                <a:lnTo>
                  <a:pt x="593" y="251"/>
                </a:lnTo>
                <a:lnTo>
                  <a:pt x="591" y="243"/>
                </a:lnTo>
                <a:lnTo>
                  <a:pt x="589" y="235"/>
                </a:lnTo>
                <a:lnTo>
                  <a:pt x="587" y="218"/>
                </a:lnTo>
                <a:lnTo>
                  <a:pt x="586" y="210"/>
                </a:lnTo>
                <a:lnTo>
                  <a:pt x="586" y="201"/>
                </a:lnTo>
                <a:lnTo>
                  <a:pt x="587" y="185"/>
                </a:lnTo>
                <a:lnTo>
                  <a:pt x="588" y="176"/>
                </a:lnTo>
                <a:lnTo>
                  <a:pt x="589" y="168"/>
                </a:lnTo>
                <a:lnTo>
                  <a:pt x="591" y="160"/>
                </a:lnTo>
                <a:lnTo>
                  <a:pt x="593" y="151"/>
                </a:lnTo>
                <a:lnTo>
                  <a:pt x="596" y="143"/>
                </a:lnTo>
                <a:lnTo>
                  <a:pt x="599" y="135"/>
                </a:lnTo>
                <a:lnTo>
                  <a:pt x="606" y="120"/>
                </a:lnTo>
                <a:lnTo>
                  <a:pt x="611" y="112"/>
                </a:lnTo>
                <a:lnTo>
                  <a:pt x="616" y="104"/>
                </a:lnTo>
                <a:lnTo>
                  <a:pt x="621" y="96"/>
                </a:lnTo>
                <a:lnTo>
                  <a:pt x="627" y="89"/>
                </a:lnTo>
                <a:lnTo>
                  <a:pt x="633" y="82"/>
                </a:lnTo>
                <a:lnTo>
                  <a:pt x="640" y="75"/>
                </a:lnTo>
                <a:lnTo>
                  <a:pt x="640" y="60"/>
                </a:lnTo>
                <a:lnTo>
                  <a:pt x="642" y="55"/>
                </a:lnTo>
                <a:lnTo>
                  <a:pt x="643" y="52"/>
                </a:lnTo>
                <a:lnTo>
                  <a:pt x="645" y="50"/>
                </a:lnTo>
                <a:lnTo>
                  <a:pt x="649" y="46"/>
                </a:lnTo>
                <a:lnTo>
                  <a:pt x="654" y="43"/>
                </a:lnTo>
                <a:lnTo>
                  <a:pt x="659" y="41"/>
                </a:lnTo>
                <a:lnTo>
                  <a:pt x="663" y="39"/>
                </a:lnTo>
                <a:lnTo>
                  <a:pt x="667" y="37"/>
                </a:lnTo>
                <a:lnTo>
                  <a:pt x="667" y="24"/>
                </a:lnTo>
                <a:lnTo>
                  <a:pt x="680" y="24"/>
                </a:lnTo>
                <a:lnTo>
                  <a:pt x="680" y="12"/>
                </a:lnTo>
                <a:lnTo>
                  <a:pt x="682" y="10"/>
                </a:lnTo>
                <a:lnTo>
                  <a:pt x="684" y="8"/>
                </a:lnTo>
                <a:lnTo>
                  <a:pt x="689" y="6"/>
                </a:lnTo>
                <a:lnTo>
                  <a:pt x="696" y="4"/>
                </a:lnTo>
                <a:lnTo>
                  <a:pt x="701" y="3"/>
                </a:lnTo>
                <a:lnTo>
                  <a:pt x="706" y="2"/>
                </a:lnTo>
                <a:lnTo>
                  <a:pt x="720" y="1"/>
                </a:lnTo>
                <a:lnTo>
                  <a:pt x="737" y="0"/>
                </a:lnTo>
                <a:lnTo>
                  <a:pt x="755" y="1"/>
                </a:lnTo>
                <a:lnTo>
                  <a:pt x="769" y="2"/>
                </a:lnTo>
                <a:lnTo>
                  <a:pt x="780" y="3"/>
                </a:lnTo>
                <a:lnTo>
                  <a:pt x="788" y="5"/>
                </a:lnTo>
                <a:lnTo>
                  <a:pt x="794" y="7"/>
                </a:lnTo>
                <a:lnTo>
                  <a:pt x="798" y="8"/>
                </a:lnTo>
                <a:lnTo>
                  <a:pt x="800" y="10"/>
                </a:lnTo>
                <a:lnTo>
                  <a:pt x="800" y="24"/>
                </a:lnTo>
                <a:lnTo>
                  <a:pt x="821" y="24"/>
                </a:lnTo>
                <a:lnTo>
                  <a:pt x="821" y="39"/>
                </a:lnTo>
                <a:lnTo>
                  <a:pt x="830" y="43"/>
                </a:lnTo>
                <a:lnTo>
                  <a:pt x="839" y="47"/>
                </a:lnTo>
                <a:lnTo>
                  <a:pt x="848" y="52"/>
                </a:lnTo>
                <a:lnTo>
                  <a:pt x="857" y="57"/>
                </a:lnTo>
                <a:lnTo>
                  <a:pt x="864" y="63"/>
                </a:lnTo>
                <a:lnTo>
                  <a:pt x="871" y="68"/>
                </a:lnTo>
                <a:lnTo>
                  <a:pt x="877" y="74"/>
                </a:lnTo>
                <a:lnTo>
                  <a:pt x="884" y="80"/>
                </a:lnTo>
                <a:lnTo>
                  <a:pt x="890" y="86"/>
                </a:lnTo>
                <a:lnTo>
                  <a:pt x="895" y="93"/>
                </a:lnTo>
                <a:lnTo>
                  <a:pt x="900" y="100"/>
                </a:lnTo>
                <a:lnTo>
                  <a:pt x="905" y="107"/>
                </a:lnTo>
                <a:lnTo>
                  <a:pt x="909" y="114"/>
                </a:lnTo>
                <a:lnTo>
                  <a:pt x="914" y="121"/>
                </a:lnTo>
                <a:lnTo>
                  <a:pt x="917" y="129"/>
                </a:lnTo>
                <a:lnTo>
                  <a:pt x="921" y="136"/>
                </a:lnTo>
                <a:lnTo>
                  <a:pt x="923" y="144"/>
                </a:lnTo>
                <a:lnTo>
                  <a:pt x="926" y="152"/>
                </a:lnTo>
                <a:lnTo>
                  <a:pt x="928" y="160"/>
                </a:lnTo>
                <a:lnTo>
                  <a:pt x="930" y="168"/>
                </a:lnTo>
                <a:lnTo>
                  <a:pt x="932" y="185"/>
                </a:lnTo>
                <a:lnTo>
                  <a:pt x="933" y="193"/>
                </a:lnTo>
                <a:lnTo>
                  <a:pt x="933" y="201"/>
                </a:lnTo>
                <a:lnTo>
                  <a:pt x="932" y="218"/>
                </a:lnTo>
                <a:lnTo>
                  <a:pt x="931" y="227"/>
                </a:lnTo>
                <a:lnTo>
                  <a:pt x="930" y="235"/>
                </a:lnTo>
                <a:lnTo>
                  <a:pt x="928" y="243"/>
                </a:lnTo>
                <a:lnTo>
                  <a:pt x="926" y="251"/>
                </a:lnTo>
                <a:lnTo>
                  <a:pt x="923" y="260"/>
                </a:lnTo>
                <a:lnTo>
                  <a:pt x="920" y="268"/>
                </a:lnTo>
                <a:lnTo>
                  <a:pt x="913" y="283"/>
                </a:lnTo>
                <a:lnTo>
                  <a:pt x="908" y="291"/>
                </a:lnTo>
                <a:lnTo>
                  <a:pt x="903" y="299"/>
                </a:lnTo>
                <a:lnTo>
                  <a:pt x="896" y="308"/>
                </a:lnTo>
                <a:lnTo>
                  <a:pt x="889" y="318"/>
                </a:lnTo>
                <a:lnTo>
                  <a:pt x="881" y="326"/>
                </a:lnTo>
                <a:lnTo>
                  <a:pt x="872" y="334"/>
                </a:lnTo>
                <a:lnTo>
                  <a:pt x="863" y="341"/>
                </a:lnTo>
                <a:lnTo>
                  <a:pt x="853" y="348"/>
                </a:lnTo>
                <a:lnTo>
                  <a:pt x="843" y="354"/>
                </a:lnTo>
                <a:lnTo>
                  <a:pt x="833" y="359"/>
                </a:lnTo>
                <a:lnTo>
                  <a:pt x="833" y="433"/>
                </a:lnTo>
                <a:lnTo>
                  <a:pt x="810" y="433"/>
                </a:lnTo>
                <a:lnTo>
                  <a:pt x="808" y="434"/>
                </a:lnTo>
                <a:lnTo>
                  <a:pt x="807" y="435"/>
                </a:lnTo>
                <a:lnTo>
                  <a:pt x="802" y="436"/>
                </a:lnTo>
                <a:lnTo>
                  <a:pt x="796" y="437"/>
                </a:lnTo>
                <a:lnTo>
                  <a:pt x="796" y="451"/>
                </a:lnTo>
                <a:lnTo>
                  <a:pt x="803" y="451"/>
                </a:lnTo>
                <a:lnTo>
                  <a:pt x="803" y="486"/>
                </a:lnTo>
                <a:lnTo>
                  <a:pt x="841" y="486"/>
                </a:lnTo>
                <a:lnTo>
                  <a:pt x="841" y="491"/>
                </a:lnTo>
                <a:lnTo>
                  <a:pt x="847" y="491"/>
                </a:lnTo>
                <a:lnTo>
                  <a:pt x="847" y="485"/>
                </a:lnTo>
                <a:lnTo>
                  <a:pt x="847" y="480"/>
                </a:lnTo>
                <a:lnTo>
                  <a:pt x="849" y="472"/>
                </a:lnTo>
                <a:lnTo>
                  <a:pt x="851" y="468"/>
                </a:lnTo>
                <a:lnTo>
                  <a:pt x="852" y="464"/>
                </a:lnTo>
                <a:lnTo>
                  <a:pt x="854" y="461"/>
                </a:lnTo>
                <a:lnTo>
                  <a:pt x="856" y="459"/>
                </a:lnTo>
                <a:lnTo>
                  <a:pt x="859" y="454"/>
                </a:lnTo>
                <a:lnTo>
                  <a:pt x="862" y="452"/>
                </a:lnTo>
                <a:lnTo>
                  <a:pt x="865" y="449"/>
                </a:lnTo>
                <a:lnTo>
                  <a:pt x="938" y="449"/>
                </a:lnTo>
                <a:lnTo>
                  <a:pt x="938" y="451"/>
                </a:lnTo>
                <a:lnTo>
                  <a:pt x="942" y="446"/>
                </a:lnTo>
                <a:lnTo>
                  <a:pt x="945" y="441"/>
                </a:lnTo>
                <a:lnTo>
                  <a:pt x="952" y="431"/>
                </a:lnTo>
                <a:lnTo>
                  <a:pt x="960" y="422"/>
                </a:lnTo>
                <a:lnTo>
                  <a:pt x="969" y="413"/>
                </a:lnTo>
                <a:lnTo>
                  <a:pt x="978" y="405"/>
                </a:lnTo>
                <a:lnTo>
                  <a:pt x="983" y="402"/>
                </a:lnTo>
                <a:lnTo>
                  <a:pt x="988" y="398"/>
                </a:lnTo>
                <a:lnTo>
                  <a:pt x="998" y="391"/>
                </a:lnTo>
                <a:lnTo>
                  <a:pt x="1009" y="385"/>
                </a:lnTo>
                <a:lnTo>
                  <a:pt x="1020" y="380"/>
                </a:lnTo>
                <a:lnTo>
                  <a:pt x="1031" y="376"/>
                </a:lnTo>
                <a:lnTo>
                  <a:pt x="1043" y="372"/>
                </a:lnTo>
                <a:lnTo>
                  <a:pt x="1055" y="369"/>
                </a:lnTo>
                <a:lnTo>
                  <a:pt x="1067" y="368"/>
                </a:lnTo>
                <a:lnTo>
                  <a:pt x="1080" y="367"/>
                </a:lnTo>
                <a:lnTo>
                  <a:pt x="1093" y="367"/>
                </a:lnTo>
                <a:lnTo>
                  <a:pt x="1106" y="367"/>
                </a:lnTo>
                <a:lnTo>
                  <a:pt x="1118" y="369"/>
                </a:lnTo>
                <a:lnTo>
                  <a:pt x="1130" y="372"/>
                </a:lnTo>
                <a:lnTo>
                  <a:pt x="1141" y="375"/>
                </a:lnTo>
                <a:lnTo>
                  <a:pt x="1152" y="379"/>
                </a:lnTo>
                <a:lnTo>
                  <a:pt x="1163" y="384"/>
                </a:lnTo>
                <a:lnTo>
                  <a:pt x="1173" y="389"/>
                </a:lnTo>
                <a:lnTo>
                  <a:pt x="1183" y="395"/>
                </a:lnTo>
                <a:lnTo>
                  <a:pt x="1193" y="402"/>
                </a:lnTo>
                <a:lnTo>
                  <a:pt x="1202" y="409"/>
                </a:lnTo>
                <a:lnTo>
                  <a:pt x="1210" y="417"/>
                </a:lnTo>
                <a:lnTo>
                  <a:pt x="1218" y="425"/>
                </a:lnTo>
                <a:lnTo>
                  <a:pt x="1225" y="434"/>
                </a:lnTo>
                <a:lnTo>
                  <a:pt x="1232" y="444"/>
                </a:lnTo>
                <a:lnTo>
                  <a:pt x="1238" y="453"/>
                </a:lnTo>
                <a:lnTo>
                  <a:pt x="1243" y="463"/>
                </a:lnTo>
                <a:lnTo>
                  <a:pt x="1248" y="474"/>
                </a:lnTo>
                <a:lnTo>
                  <a:pt x="1260" y="474"/>
                </a:lnTo>
                <a:lnTo>
                  <a:pt x="1260" y="496"/>
                </a:lnTo>
                <a:lnTo>
                  <a:pt x="1261" y="496"/>
                </a:lnTo>
                <a:lnTo>
                  <a:pt x="1263" y="497"/>
                </a:lnTo>
                <a:lnTo>
                  <a:pt x="1264" y="497"/>
                </a:lnTo>
                <a:lnTo>
                  <a:pt x="1265" y="498"/>
                </a:lnTo>
                <a:lnTo>
                  <a:pt x="1267" y="500"/>
                </a:lnTo>
                <a:lnTo>
                  <a:pt x="1268" y="502"/>
                </a:lnTo>
                <a:lnTo>
                  <a:pt x="1271" y="508"/>
                </a:lnTo>
                <a:lnTo>
                  <a:pt x="1274" y="517"/>
                </a:lnTo>
                <a:lnTo>
                  <a:pt x="1275" y="522"/>
                </a:lnTo>
                <a:lnTo>
                  <a:pt x="1276" y="529"/>
                </a:lnTo>
                <a:lnTo>
                  <a:pt x="1276" y="536"/>
                </a:lnTo>
                <a:lnTo>
                  <a:pt x="1276" y="545"/>
                </a:lnTo>
                <a:lnTo>
                  <a:pt x="1276" y="553"/>
                </a:lnTo>
                <a:lnTo>
                  <a:pt x="1276" y="561"/>
                </a:lnTo>
                <a:lnTo>
                  <a:pt x="1275" y="569"/>
                </a:lnTo>
                <a:lnTo>
                  <a:pt x="1273" y="575"/>
                </a:lnTo>
                <a:lnTo>
                  <a:pt x="1270" y="587"/>
                </a:lnTo>
                <a:lnTo>
                  <a:pt x="1267" y="596"/>
                </a:lnTo>
                <a:lnTo>
                  <a:pt x="1263" y="603"/>
                </a:lnTo>
                <a:lnTo>
                  <a:pt x="1260" y="608"/>
                </a:lnTo>
                <a:lnTo>
                  <a:pt x="1257" y="612"/>
                </a:lnTo>
                <a:lnTo>
                  <a:pt x="1257" y="621"/>
                </a:lnTo>
                <a:lnTo>
                  <a:pt x="1245" y="621"/>
                </a:lnTo>
                <a:lnTo>
                  <a:pt x="1233" y="644"/>
                </a:lnTo>
                <a:lnTo>
                  <a:pt x="1226" y="645"/>
                </a:lnTo>
                <a:lnTo>
                  <a:pt x="1219" y="653"/>
                </a:lnTo>
                <a:lnTo>
                  <a:pt x="1216" y="657"/>
                </a:lnTo>
                <a:lnTo>
                  <a:pt x="1212" y="661"/>
                </a:lnTo>
                <a:lnTo>
                  <a:pt x="1204" y="669"/>
                </a:lnTo>
                <a:lnTo>
                  <a:pt x="1196" y="676"/>
                </a:lnTo>
                <a:lnTo>
                  <a:pt x="1187" y="683"/>
                </a:lnTo>
                <a:lnTo>
                  <a:pt x="1178" y="689"/>
                </a:lnTo>
                <a:lnTo>
                  <a:pt x="1168" y="694"/>
                </a:lnTo>
                <a:lnTo>
                  <a:pt x="1158" y="699"/>
                </a:lnTo>
                <a:lnTo>
                  <a:pt x="1148" y="703"/>
                </a:lnTo>
                <a:lnTo>
                  <a:pt x="1137" y="707"/>
                </a:lnTo>
                <a:lnTo>
                  <a:pt x="1126" y="709"/>
                </a:lnTo>
                <a:lnTo>
                  <a:pt x="1115" y="712"/>
                </a:lnTo>
                <a:lnTo>
                  <a:pt x="1104" y="713"/>
                </a:lnTo>
                <a:lnTo>
                  <a:pt x="1093" y="714"/>
                </a:lnTo>
                <a:lnTo>
                  <a:pt x="1081" y="714"/>
                </a:lnTo>
                <a:lnTo>
                  <a:pt x="1069" y="713"/>
                </a:lnTo>
                <a:lnTo>
                  <a:pt x="1059" y="711"/>
                </a:lnTo>
                <a:lnTo>
                  <a:pt x="1049" y="709"/>
                </a:lnTo>
                <a:lnTo>
                  <a:pt x="1039" y="707"/>
                </a:lnTo>
                <a:lnTo>
                  <a:pt x="1029" y="704"/>
                </a:lnTo>
                <a:lnTo>
                  <a:pt x="1019" y="700"/>
                </a:lnTo>
                <a:lnTo>
                  <a:pt x="1010" y="696"/>
                </a:lnTo>
                <a:lnTo>
                  <a:pt x="1001" y="691"/>
                </a:lnTo>
                <a:lnTo>
                  <a:pt x="993" y="686"/>
                </a:lnTo>
                <a:lnTo>
                  <a:pt x="985" y="680"/>
                </a:lnTo>
                <a:lnTo>
                  <a:pt x="977" y="674"/>
                </a:lnTo>
                <a:lnTo>
                  <a:pt x="969" y="667"/>
                </a:lnTo>
                <a:lnTo>
                  <a:pt x="962" y="661"/>
                </a:lnTo>
                <a:lnTo>
                  <a:pt x="956" y="653"/>
                </a:lnTo>
                <a:lnTo>
                  <a:pt x="950" y="646"/>
                </a:lnTo>
                <a:lnTo>
                  <a:pt x="944" y="637"/>
                </a:lnTo>
                <a:lnTo>
                  <a:pt x="938" y="629"/>
                </a:lnTo>
                <a:lnTo>
                  <a:pt x="938" y="643"/>
                </a:lnTo>
                <a:lnTo>
                  <a:pt x="855" y="643"/>
                </a:lnTo>
                <a:lnTo>
                  <a:pt x="854" y="643"/>
                </a:lnTo>
                <a:lnTo>
                  <a:pt x="853" y="642"/>
                </a:lnTo>
                <a:lnTo>
                  <a:pt x="851" y="640"/>
                </a:lnTo>
                <a:lnTo>
                  <a:pt x="850" y="638"/>
                </a:lnTo>
                <a:lnTo>
                  <a:pt x="848" y="632"/>
                </a:lnTo>
                <a:lnTo>
                  <a:pt x="847" y="626"/>
                </a:lnTo>
                <a:lnTo>
                  <a:pt x="845" y="613"/>
                </a:lnTo>
                <a:lnTo>
                  <a:pt x="844" y="608"/>
                </a:lnTo>
                <a:lnTo>
                  <a:pt x="804" y="608"/>
                </a:lnTo>
                <a:lnTo>
                  <a:pt x="804" y="625"/>
                </a:lnTo>
                <a:lnTo>
                  <a:pt x="804" y="632"/>
                </a:lnTo>
                <a:lnTo>
                  <a:pt x="803" y="637"/>
                </a:lnTo>
                <a:lnTo>
                  <a:pt x="803" y="642"/>
                </a:lnTo>
                <a:lnTo>
                  <a:pt x="801" y="645"/>
                </a:lnTo>
                <a:lnTo>
                  <a:pt x="800" y="647"/>
                </a:lnTo>
                <a:lnTo>
                  <a:pt x="798" y="647"/>
                </a:lnTo>
                <a:lnTo>
                  <a:pt x="797" y="647"/>
                </a:lnTo>
                <a:lnTo>
                  <a:pt x="797" y="666"/>
                </a:lnTo>
                <a:lnTo>
                  <a:pt x="835" y="666"/>
                </a:lnTo>
                <a:lnTo>
                  <a:pt x="835" y="738"/>
                </a:lnTo>
                <a:lnTo>
                  <a:pt x="842" y="742"/>
                </a:lnTo>
                <a:lnTo>
                  <a:pt x="849" y="746"/>
                </a:lnTo>
                <a:lnTo>
                  <a:pt x="856" y="750"/>
                </a:lnTo>
                <a:lnTo>
                  <a:pt x="863" y="755"/>
                </a:lnTo>
                <a:lnTo>
                  <a:pt x="870" y="761"/>
                </a:lnTo>
                <a:lnTo>
                  <a:pt x="877" y="766"/>
                </a:lnTo>
                <a:lnTo>
                  <a:pt x="883" y="772"/>
                </a:lnTo>
                <a:lnTo>
                  <a:pt x="889" y="779"/>
                </a:lnTo>
                <a:lnTo>
                  <a:pt x="895" y="785"/>
                </a:lnTo>
                <a:lnTo>
                  <a:pt x="900" y="792"/>
                </a:lnTo>
                <a:lnTo>
                  <a:pt x="905" y="800"/>
                </a:lnTo>
                <a:lnTo>
                  <a:pt x="910" y="807"/>
                </a:lnTo>
                <a:lnTo>
                  <a:pt x="914" y="815"/>
                </a:lnTo>
                <a:lnTo>
                  <a:pt x="918" y="822"/>
                </a:lnTo>
                <a:lnTo>
                  <a:pt x="921" y="830"/>
                </a:lnTo>
                <a:lnTo>
                  <a:pt x="924" y="838"/>
                </a:lnTo>
                <a:lnTo>
                  <a:pt x="927" y="846"/>
                </a:lnTo>
                <a:lnTo>
                  <a:pt x="929" y="854"/>
                </a:lnTo>
                <a:lnTo>
                  <a:pt x="932" y="871"/>
                </a:lnTo>
                <a:lnTo>
                  <a:pt x="933" y="879"/>
                </a:lnTo>
                <a:lnTo>
                  <a:pt x="933" y="887"/>
                </a:lnTo>
                <a:lnTo>
                  <a:pt x="933" y="904"/>
                </a:lnTo>
                <a:lnTo>
                  <a:pt x="933" y="912"/>
                </a:lnTo>
                <a:lnTo>
                  <a:pt x="932" y="921"/>
                </a:lnTo>
                <a:lnTo>
                  <a:pt x="930" y="929"/>
                </a:lnTo>
                <a:lnTo>
                  <a:pt x="928" y="937"/>
                </a:lnTo>
                <a:lnTo>
                  <a:pt x="926" y="945"/>
                </a:lnTo>
                <a:lnTo>
                  <a:pt x="924" y="953"/>
                </a:lnTo>
                <a:lnTo>
                  <a:pt x="921" y="961"/>
                </a:lnTo>
                <a:lnTo>
                  <a:pt x="917" y="969"/>
                </a:lnTo>
                <a:lnTo>
                  <a:pt x="913" y="976"/>
                </a:lnTo>
                <a:lnTo>
                  <a:pt x="909" y="984"/>
                </a:lnTo>
                <a:lnTo>
                  <a:pt x="905" y="991"/>
                </a:lnTo>
                <a:lnTo>
                  <a:pt x="900" y="998"/>
                </a:lnTo>
                <a:lnTo>
                  <a:pt x="894" y="1005"/>
                </a:lnTo>
                <a:lnTo>
                  <a:pt x="889" y="1011"/>
                </a:lnTo>
                <a:lnTo>
                  <a:pt x="876" y="1024"/>
                </a:lnTo>
                <a:lnTo>
                  <a:pt x="870" y="1029"/>
                </a:lnTo>
                <a:lnTo>
                  <a:pt x="864" y="1034"/>
                </a:lnTo>
                <a:lnTo>
                  <a:pt x="857" y="1039"/>
                </a:lnTo>
                <a:lnTo>
                  <a:pt x="851" y="1043"/>
                </a:lnTo>
                <a:lnTo>
                  <a:pt x="837" y="1050"/>
                </a:lnTo>
                <a:lnTo>
                  <a:pt x="824" y="1057"/>
                </a:lnTo>
                <a:lnTo>
                  <a:pt x="824" y="1064"/>
                </a:lnTo>
                <a:lnTo>
                  <a:pt x="801" y="1064"/>
                </a:lnTo>
                <a:lnTo>
                  <a:pt x="798" y="1064"/>
                </a:lnTo>
                <a:lnTo>
                  <a:pt x="832" y="1082"/>
                </a:lnTo>
                <a:lnTo>
                  <a:pt x="832" y="1064"/>
                </a:lnTo>
                <a:lnTo>
                  <a:pt x="840" y="1062"/>
                </a:lnTo>
                <a:lnTo>
                  <a:pt x="840" y="1057"/>
                </a:lnTo>
                <a:lnTo>
                  <a:pt x="841" y="1056"/>
                </a:lnTo>
                <a:lnTo>
                  <a:pt x="847" y="1055"/>
                </a:lnTo>
                <a:lnTo>
                  <a:pt x="852" y="1054"/>
                </a:lnTo>
                <a:lnTo>
                  <a:pt x="858" y="1054"/>
                </a:lnTo>
                <a:lnTo>
                  <a:pt x="867" y="1055"/>
                </a:lnTo>
                <a:lnTo>
                  <a:pt x="877" y="1057"/>
                </a:lnTo>
                <a:lnTo>
                  <a:pt x="877" y="1062"/>
                </a:lnTo>
                <a:lnTo>
                  <a:pt x="884" y="1063"/>
                </a:lnTo>
                <a:lnTo>
                  <a:pt x="884" y="1098"/>
                </a:lnTo>
                <a:lnTo>
                  <a:pt x="881" y="1104"/>
                </a:lnTo>
                <a:lnTo>
                  <a:pt x="894" y="1104"/>
                </a:lnTo>
                <a:lnTo>
                  <a:pt x="894" y="1077"/>
                </a:lnTo>
                <a:lnTo>
                  <a:pt x="904" y="1073"/>
                </a:lnTo>
                <a:lnTo>
                  <a:pt x="904" y="1068"/>
                </a:lnTo>
                <a:lnTo>
                  <a:pt x="908" y="1066"/>
                </a:lnTo>
                <a:lnTo>
                  <a:pt x="912" y="1065"/>
                </a:lnTo>
                <a:lnTo>
                  <a:pt x="918" y="1065"/>
                </a:lnTo>
                <a:lnTo>
                  <a:pt x="925" y="1065"/>
                </a:lnTo>
                <a:lnTo>
                  <a:pt x="930" y="1066"/>
                </a:lnTo>
                <a:lnTo>
                  <a:pt x="935" y="1067"/>
                </a:lnTo>
                <a:lnTo>
                  <a:pt x="935" y="1072"/>
                </a:lnTo>
                <a:lnTo>
                  <a:pt x="946" y="1077"/>
                </a:lnTo>
                <a:lnTo>
                  <a:pt x="946" y="1090"/>
                </a:lnTo>
                <a:lnTo>
                  <a:pt x="950" y="1090"/>
                </a:lnTo>
                <a:lnTo>
                  <a:pt x="950" y="1094"/>
                </a:lnTo>
                <a:lnTo>
                  <a:pt x="962" y="1099"/>
                </a:lnTo>
                <a:lnTo>
                  <a:pt x="962" y="1124"/>
                </a:lnTo>
                <a:lnTo>
                  <a:pt x="963" y="1124"/>
                </a:lnTo>
                <a:lnTo>
                  <a:pt x="964" y="1125"/>
                </a:lnTo>
                <a:lnTo>
                  <a:pt x="966" y="1126"/>
                </a:lnTo>
                <a:lnTo>
                  <a:pt x="967" y="1130"/>
                </a:lnTo>
                <a:lnTo>
                  <a:pt x="968" y="1135"/>
                </a:lnTo>
                <a:lnTo>
                  <a:pt x="969" y="1142"/>
                </a:lnTo>
                <a:lnTo>
                  <a:pt x="970" y="1152"/>
                </a:lnTo>
                <a:lnTo>
                  <a:pt x="970" y="1199"/>
                </a:lnTo>
                <a:lnTo>
                  <a:pt x="969" y="1202"/>
                </a:lnTo>
                <a:lnTo>
                  <a:pt x="968" y="1204"/>
                </a:lnTo>
                <a:lnTo>
                  <a:pt x="966" y="1206"/>
                </a:lnTo>
                <a:lnTo>
                  <a:pt x="964" y="1208"/>
                </a:lnTo>
                <a:lnTo>
                  <a:pt x="958" y="1213"/>
                </a:lnTo>
                <a:lnTo>
                  <a:pt x="966" y="1214"/>
                </a:lnTo>
                <a:lnTo>
                  <a:pt x="966" y="1273"/>
                </a:lnTo>
                <a:lnTo>
                  <a:pt x="966" y="1274"/>
                </a:lnTo>
                <a:lnTo>
                  <a:pt x="963" y="1277"/>
                </a:lnTo>
                <a:lnTo>
                  <a:pt x="959" y="1281"/>
                </a:lnTo>
                <a:lnTo>
                  <a:pt x="953" y="1286"/>
                </a:lnTo>
                <a:lnTo>
                  <a:pt x="953" y="1309"/>
                </a:lnTo>
                <a:lnTo>
                  <a:pt x="950" y="1312"/>
                </a:lnTo>
                <a:lnTo>
                  <a:pt x="946" y="1314"/>
                </a:lnTo>
                <a:lnTo>
                  <a:pt x="941" y="1316"/>
                </a:lnTo>
                <a:lnTo>
                  <a:pt x="945" y="1316"/>
                </a:lnTo>
                <a:lnTo>
                  <a:pt x="949" y="1316"/>
                </a:lnTo>
                <a:lnTo>
                  <a:pt x="954" y="1316"/>
                </a:lnTo>
                <a:lnTo>
                  <a:pt x="958" y="1317"/>
                </a:lnTo>
                <a:lnTo>
                  <a:pt x="963" y="1319"/>
                </a:lnTo>
                <a:lnTo>
                  <a:pt x="964" y="1321"/>
                </a:lnTo>
                <a:lnTo>
                  <a:pt x="966" y="1322"/>
                </a:lnTo>
                <a:lnTo>
                  <a:pt x="966" y="1324"/>
                </a:lnTo>
                <a:lnTo>
                  <a:pt x="967" y="1326"/>
                </a:lnTo>
                <a:lnTo>
                  <a:pt x="975" y="1326"/>
                </a:lnTo>
                <a:lnTo>
                  <a:pt x="975" y="1278"/>
                </a:lnTo>
                <a:lnTo>
                  <a:pt x="977" y="1276"/>
                </a:lnTo>
                <a:lnTo>
                  <a:pt x="979" y="1275"/>
                </a:lnTo>
                <a:lnTo>
                  <a:pt x="982" y="1273"/>
                </a:lnTo>
                <a:lnTo>
                  <a:pt x="987" y="1271"/>
                </a:lnTo>
                <a:lnTo>
                  <a:pt x="992" y="1270"/>
                </a:lnTo>
                <a:lnTo>
                  <a:pt x="999" y="1269"/>
                </a:lnTo>
                <a:lnTo>
                  <a:pt x="1007" y="1269"/>
                </a:lnTo>
                <a:lnTo>
                  <a:pt x="1016" y="1270"/>
                </a:lnTo>
                <a:lnTo>
                  <a:pt x="1024" y="1272"/>
                </a:lnTo>
                <a:lnTo>
                  <a:pt x="1032" y="1274"/>
                </a:lnTo>
                <a:lnTo>
                  <a:pt x="1039" y="1277"/>
                </a:lnTo>
                <a:lnTo>
                  <a:pt x="1049" y="1282"/>
                </a:lnTo>
                <a:lnTo>
                  <a:pt x="1053" y="1284"/>
                </a:lnTo>
                <a:lnTo>
                  <a:pt x="1065" y="1284"/>
                </a:lnTo>
                <a:lnTo>
                  <a:pt x="1068" y="1285"/>
                </a:lnTo>
                <a:lnTo>
                  <a:pt x="1070" y="1287"/>
                </a:lnTo>
                <a:lnTo>
                  <a:pt x="1072" y="1290"/>
                </a:lnTo>
                <a:lnTo>
                  <a:pt x="1075" y="1295"/>
                </a:lnTo>
                <a:lnTo>
                  <a:pt x="1076" y="1299"/>
                </a:lnTo>
                <a:lnTo>
                  <a:pt x="1077" y="1302"/>
                </a:lnTo>
                <a:lnTo>
                  <a:pt x="1079" y="1312"/>
                </a:lnTo>
                <a:lnTo>
                  <a:pt x="1079" y="1317"/>
                </a:lnTo>
                <a:lnTo>
                  <a:pt x="1080" y="1324"/>
                </a:lnTo>
                <a:lnTo>
                  <a:pt x="1123" y="1324"/>
                </a:lnTo>
                <a:lnTo>
                  <a:pt x="1123" y="1323"/>
                </a:lnTo>
                <a:lnTo>
                  <a:pt x="1125" y="1320"/>
                </a:lnTo>
                <a:lnTo>
                  <a:pt x="1128" y="1315"/>
                </a:lnTo>
                <a:lnTo>
                  <a:pt x="1129" y="1313"/>
                </a:lnTo>
                <a:lnTo>
                  <a:pt x="1132" y="1311"/>
                </a:lnTo>
                <a:lnTo>
                  <a:pt x="1138" y="1306"/>
                </a:lnTo>
                <a:lnTo>
                  <a:pt x="1141" y="1304"/>
                </a:lnTo>
                <a:lnTo>
                  <a:pt x="1145" y="1302"/>
                </a:lnTo>
                <a:lnTo>
                  <a:pt x="1150" y="1300"/>
                </a:lnTo>
                <a:lnTo>
                  <a:pt x="1155" y="1299"/>
                </a:lnTo>
                <a:lnTo>
                  <a:pt x="1161" y="1298"/>
                </a:lnTo>
                <a:lnTo>
                  <a:pt x="1168" y="1297"/>
                </a:lnTo>
                <a:lnTo>
                  <a:pt x="1174" y="1298"/>
                </a:lnTo>
                <a:lnTo>
                  <a:pt x="1180" y="1298"/>
                </a:lnTo>
                <a:lnTo>
                  <a:pt x="1186" y="1299"/>
                </a:lnTo>
                <a:lnTo>
                  <a:pt x="1191" y="1301"/>
                </a:lnTo>
                <a:lnTo>
                  <a:pt x="1200" y="1304"/>
                </a:lnTo>
                <a:lnTo>
                  <a:pt x="1208" y="1308"/>
                </a:lnTo>
                <a:lnTo>
                  <a:pt x="1214" y="1312"/>
                </a:lnTo>
                <a:lnTo>
                  <a:pt x="1218" y="1315"/>
                </a:lnTo>
                <a:lnTo>
                  <a:pt x="1221" y="1319"/>
                </a:lnTo>
                <a:lnTo>
                  <a:pt x="1249" y="1319"/>
                </a:lnTo>
                <a:lnTo>
                  <a:pt x="1249" y="1282"/>
                </a:lnTo>
                <a:lnTo>
                  <a:pt x="1249" y="1279"/>
                </a:lnTo>
                <a:lnTo>
                  <a:pt x="1250" y="1276"/>
                </a:lnTo>
                <a:lnTo>
                  <a:pt x="1251" y="1273"/>
                </a:lnTo>
                <a:lnTo>
                  <a:pt x="1253" y="1271"/>
                </a:lnTo>
                <a:lnTo>
                  <a:pt x="1256" y="1269"/>
                </a:lnTo>
                <a:lnTo>
                  <a:pt x="1259" y="1267"/>
                </a:lnTo>
                <a:lnTo>
                  <a:pt x="1265" y="1264"/>
                </a:lnTo>
                <a:lnTo>
                  <a:pt x="1272" y="1262"/>
                </a:lnTo>
                <a:lnTo>
                  <a:pt x="1278" y="1261"/>
                </a:lnTo>
                <a:lnTo>
                  <a:pt x="1289" y="1260"/>
                </a:lnTo>
                <a:lnTo>
                  <a:pt x="1294" y="1261"/>
                </a:lnTo>
                <a:lnTo>
                  <a:pt x="1301" y="1262"/>
                </a:lnTo>
                <a:lnTo>
                  <a:pt x="1308" y="1263"/>
                </a:lnTo>
                <a:lnTo>
                  <a:pt x="1315" y="1266"/>
                </a:lnTo>
                <a:lnTo>
                  <a:pt x="1321" y="1269"/>
                </a:lnTo>
                <a:lnTo>
                  <a:pt x="1324" y="1271"/>
                </a:lnTo>
                <a:lnTo>
                  <a:pt x="1327" y="1273"/>
                </a:lnTo>
                <a:lnTo>
                  <a:pt x="1329" y="1275"/>
                </a:lnTo>
                <a:lnTo>
                  <a:pt x="1331" y="1277"/>
                </a:lnTo>
                <a:lnTo>
                  <a:pt x="1332" y="1279"/>
                </a:lnTo>
                <a:lnTo>
                  <a:pt x="1332" y="1282"/>
                </a:lnTo>
                <a:lnTo>
                  <a:pt x="1354" y="1282"/>
                </a:lnTo>
                <a:lnTo>
                  <a:pt x="1357" y="1284"/>
                </a:lnTo>
                <a:lnTo>
                  <a:pt x="1362" y="1290"/>
                </a:lnTo>
                <a:lnTo>
                  <a:pt x="1365" y="1295"/>
                </a:lnTo>
                <a:lnTo>
                  <a:pt x="1368" y="1301"/>
                </a:lnTo>
                <a:lnTo>
                  <a:pt x="1370" y="1309"/>
                </a:lnTo>
                <a:lnTo>
                  <a:pt x="1372" y="1317"/>
                </a:lnTo>
                <a:lnTo>
                  <a:pt x="1388" y="1317"/>
                </a:lnTo>
                <a:lnTo>
                  <a:pt x="1403" y="1349"/>
                </a:lnTo>
                <a:lnTo>
                  <a:pt x="1403" y="1426"/>
                </a:lnTo>
                <a:lnTo>
                  <a:pt x="1407" y="1437"/>
                </a:lnTo>
                <a:lnTo>
                  <a:pt x="1410" y="1448"/>
                </a:lnTo>
                <a:lnTo>
                  <a:pt x="1412" y="1459"/>
                </a:lnTo>
                <a:lnTo>
                  <a:pt x="1413" y="1471"/>
                </a:lnTo>
                <a:lnTo>
                  <a:pt x="1413" y="1477"/>
                </a:lnTo>
                <a:lnTo>
                  <a:pt x="1413" y="1482"/>
                </a:lnTo>
                <a:lnTo>
                  <a:pt x="1413" y="1494"/>
                </a:lnTo>
                <a:lnTo>
                  <a:pt x="1412" y="1505"/>
                </a:lnTo>
                <a:lnTo>
                  <a:pt x="1410" y="1517"/>
                </a:lnTo>
                <a:lnTo>
                  <a:pt x="1407" y="1528"/>
                </a:lnTo>
                <a:lnTo>
                  <a:pt x="1405" y="1533"/>
                </a:lnTo>
                <a:lnTo>
                  <a:pt x="1403" y="1539"/>
                </a:lnTo>
                <a:lnTo>
                  <a:pt x="1401" y="1544"/>
                </a:lnTo>
                <a:lnTo>
                  <a:pt x="1399" y="1550"/>
                </a:lnTo>
                <a:lnTo>
                  <a:pt x="1393" y="1560"/>
                </a:lnTo>
                <a:lnTo>
                  <a:pt x="1387" y="1570"/>
                </a:lnTo>
                <a:lnTo>
                  <a:pt x="1380" y="1580"/>
                </a:lnTo>
                <a:lnTo>
                  <a:pt x="1372" y="1589"/>
                </a:lnTo>
                <a:lnTo>
                  <a:pt x="1364" y="1598"/>
                </a:lnTo>
                <a:lnTo>
                  <a:pt x="1358" y="1604"/>
                </a:lnTo>
                <a:lnTo>
                  <a:pt x="1351" y="1609"/>
                </a:lnTo>
                <a:lnTo>
                  <a:pt x="1345" y="1614"/>
                </a:lnTo>
                <a:lnTo>
                  <a:pt x="1338" y="1619"/>
                </a:lnTo>
                <a:lnTo>
                  <a:pt x="1331" y="1623"/>
                </a:lnTo>
                <a:lnTo>
                  <a:pt x="1324" y="1626"/>
                </a:lnTo>
                <a:lnTo>
                  <a:pt x="1317" y="1630"/>
                </a:lnTo>
                <a:lnTo>
                  <a:pt x="1310" y="1633"/>
                </a:lnTo>
                <a:lnTo>
                  <a:pt x="1302" y="1635"/>
                </a:lnTo>
                <a:lnTo>
                  <a:pt x="1295" y="1638"/>
                </a:lnTo>
                <a:lnTo>
                  <a:pt x="1287" y="1640"/>
                </a:lnTo>
                <a:lnTo>
                  <a:pt x="1280" y="1641"/>
                </a:lnTo>
                <a:lnTo>
                  <a:pt x="1272" y="1642"/>
                </a:lnTo>
                <a:lnTo>
                  <a:pt x="1264" y="1643"/>
                </a:lnTo>
                <a:lnTo>
                  <a:pt x="1256" y="1644"/>
                </a:lnTo>
                <a:lnTo>
                  <a:pt x="1249" y="1644"/>
                </a:lnTo>
                <a:lnTo>
                  <a:pt x="1241" y="1643"/>
                </a:lnTo>
                <a:lnTo>
                  <a:pt x="1233" y="1643"/>
                </a:lnTo>
                <a:lnTo>
                  <a:pt x="1225" y="1642"/>
                </a:lnTo>
                <a:lnTo>
                  <a:pt x="1218" y="1640"/>
                </a:lnTo>
                <a:lnTo>
                  <a:pt x="1210" y="1638"/>
                </a:lnTo>
                <a:lnTo>
                  <a:pt x="1203" y="1636"/>
                </a:lnTo>
                <a:lnTo>
                  <a:pt x="1195" y="1634"/>
                </a:lnTo>
                <a:lnTo>
                  <a:pt x="1188" y="1631"/>
                </a:lnTo>
                <a:lnTo>
                  <a:pt x="1181" y="1627"/>
                </a:lnTo>
                <a:lnTo>
                  <a:pt x="1174" y="1624"/>
                </a:lnTo>
                <a:lnTo>
                  <a:pt x="1167" y="1620"/>
                </a:lnTo>
                <a:lnTo>
                  <a:pt x="1160" y="1615"/>
                </a:lnTo>
                <a:lnTo>
                  <a:pt x="1153" y="1611"/>
                </a:lnTo>
                <a:lnTo>
                  <a:pt x="1147" y="1606"/>
                </a:lnTo>
                <a:lnTo>
                  <a:pt x="1141" y="1600"/>
                </a:lnTo>
                <a:lnTo>
                  <a:pt x="1135" y="1594"/>
                </a:lnTo>
                <a:lnTo>
                  <a:pt x="1129" y="1587"/>
                </a:lnTo>
                <a:lnTo>
                  <a:pt x="1123" y="1580"/>
                </a:lnTo>
                <a:lnTo>
                  <a:pt x="1118" y="1573"/>
                </a:lnTo>
                <a:lnTo>
                  <a:pt x="1113" y="1565"/>
                </a:lnTo>
                <a:lnTo>
                  <a:pt x="1108" y="1558"/>
                </a:lnTo>
                <a:lnTo>
                  <a:pt x="1104" y="1550"/>
                </a:lnTo>
                <a:lnTo>
                  <a:pt x="1101" y="1542"/>
                </a:lnTo>
                <a:lnTo>
                  <a:pt x="1098" y="1533"/>
                </a:lnTo>
                <a:lnTo>
                  <a:pt x="1095" y="1525"/>
                </a:lnTo>
                <a:lnTo>
                  <a:pt x="1093" y="1517"/>
                </a:lnTo>
                <a:lnTo>
                  <a:pt x="1092" y="1508"/>
                </a:lnTo>
                <a:lnTo>
                  <a:pt x="1090" y="1500"/>
                </a:lnTo>
                <a:lnTo>
                  <a:pt x="1090" y="1491"/>
                </a:lnTo>
                <a:lnTo>
                  <a:pt x="1089" y="1482"/>
                </a:lnTo>
                <a:lnTo>
                  <a:pt x="1090" y="1465"/>
                </a:lnTo>
                <a:lnTo>
                  <a:pt x="1088" y="1465"/>
                </a:lnTo>
                <a:lnTo>
                  <a:pt x="1088" y="1493"/>
                </a:lnTo>
                <a:lnTo>
                  <a:pt x="1087" y="1495"/>
                </a:lnTo>
                <a:lnTo>
                  <a:pt x="1084" y="1496"/>
                </a:lnTo>
                <a:lnTo>
                  <a:pt x="1080" y="1498"/>
                </a:lnTo>
                <a:lnTo>
                  <a:pt x="1076" y="1500"/>
                </a:lnTo>
                <a:lnTo>
                  <a:pt x="1069" y="1502"/>
                </a:lnTo>
                <a:lnTo>
                  <a:pt x="1062" y="1503"/>
                </a:lnTo>
                <a:lnTo>
                  <a:pt x="1052" y="1503"/>
                </a:lnTo>
                <a:lnTo>
                  <a:pt x="1043" y="1503"/>
                </a:lnTo>
                <a:lnTo>
                  <a:pt x="1034" y="1502"/>
                </a:lnTo>
                <a:lnTo>
                  <a:pt x="1026" y="1500"/>
                </a:lnTo>
                <a:lnTo>
                  <a:pt x="1019" y="1497"/>
                </a:lnTo>
                <a:lnTo>
                  <a:pt x="1016" y="1496"/>
                </a:lnTo>
                <a:lnTo>
                  <a:pt x="1014" y="1494"/>
                </a:lnTo>
                <a:lnTo>
                  <a:pt x="1011" y="1492"/>
                </a:lnTo>
                <a:lnTo>
                  <a:pt x="1009" y="1490"/>
                </a:lnTo>
                <a:lnTo>
                  <a:pt x="1008" y="1488"/>
                </a:lnTo>
                <a:lnTo>
                  <a:pt x="1007" y="1485"/>
                </a:lnTo>
                <a:lnTo>
                  <a:pt x="1006" y="1483"/>
                </a:lnTo>
                <a:lnTo>
                  <a:pt x="1006" y="1480"/>
                </a:lnTo>
                <a:lnTo>
                  <a:pt x="995" y="1480"/>
                </a:lnTo>
                <a:lnTo>
                  <a:pt x="984" y="1462"/>
                </a:lnTo>
                <a:lnTo>
                  <a:pt x="984" y="1435"/>
                </a:lnTo>
                <a:lnTo>
                  <a:pt x="920" y="1437"/>
                </a:lnTo>
                <a:lnTo>
                  <a:pt x="920" y="1440"/>
                </a:lnTo>
                <a:lnTo>
                  <a:pt x="920" y="1443"/>
                </a:lnTo>
                <a:lnTo>
                  <a:pt x="922" y="1444"/>
                </a:lnTo>
                <a:lnTo>
                  <a:pt x="929" y="1448"/>
                </a:lnTo>
                <a:lnTo>
                  <a:pt x="932" y="1451"/>
                </a:lnTo>
                <a:lnTo>
                  <a:pt x="935" y="1454"/>
                </a:lnTo>
                <a:lnTo>
                  <a:pt x="937" y="1457"/>
                </a:lnTo>
                <a:lnTo>
                  <a:pt x="938" y="1459"/>
                </a:lnTo>
                <a:lnTo>
                  <a:pt x="938" y="1460"/>
                </a:lnTo>
                <a:lnTo>
                  <a:pt x="938" y="1477"/>
                </a:lnTo>
                <a:lnTo>
                  <a:pt x="952" y="1486"/>
                </a:lnTo>
                <a:lnTo>
                  <a:pt x="952" y="1499"/>
                </a:lnTo>
                <a:lnTo>
                  <a:pt x="960" y="1508"/>
                </a:lnTo>
                <a:lnTo>
                  <a:pt x="960" y="1650"/>
                </a:lnTo>
                <a:lnTo>
                  <a:pt x="958" y="1654"/>
                </a:lnTo>
                <a:lnTo>
                  <a:pt x="951" y="1664"/>
                </a:lnTo>
                <a:lnTo>
                  <a:pt x="945" y="1671"/>
                </a:lnTo>
                <a:lnTo>
                  <a:pt x="937" y="1678"/>
                </a:lnTo>
                <a:lnTo>
                  <a:pt x="927" y="1686"/>
                </a:lnTo>
                <a:lnTo>
                  <a:pt x="915" y="1693"/>
                </a:lnTo>
                <a:lnTo>
                  <a:pt x="915" y="1717"/>
                </a:lnTo>
                <a:lnTo>
                  <a:pt x="913" y="1719"/>
                </a:lnTo>
                <a:lnTo>
                  <a:pt x="907" y="1723"/>
                </a:lnTo>
                <a:lnTo>
                  <a:pt x="903" y="1725"/>
                </a:lnTo>
                <a:lnTo>
                  <a:pt x="898" y="1727"/>
                </a:lnTo>
                <a:lnTo>
                  <a:pt x="891" y="1729"/>
                </a:lnTo>
                <a:lnTo>
                  <a:pt x="884" y="1729"/>
                </a:lnTo>
                <a:lnTo>
                  <a:pt x="878" y="1729"/>
                </a:lnTo>
                <a:lnTo>
                  <a:pt x="872" y="1728"/>
                </a:lnTo>
                <a:lnTo>
                  <a:pt x="868" y="1727"/>
                </a:lnTo>
                <a:lnTo>
                  <a:pt x="865" y="1725"/>
                </a:lnTo>
                <a:lnTo>
                  <a:pt x="862" y="1723"/>
                </a:lnTo>
                <a:lnTo>
                  <a:pt x="862" y="1721"/>
                </a:lnTo>
                <a:lnTo>
                  <a:pt x="862" y="1715"/>
                </a:lnTo>
                <a:lnTo>
                  <a:pt x="844" y="1720"/>
                </a:lnTo>
                <a:lnTo>
                  <a:pt x="835" y="1722"/>
                </a:lnTo>
                <a:lnTo>
                  <a:pt x="826" y="1723"/>
                </a:lnTo>
                <a:lnTo>
                  <a:pt x="826" y="1748"/>
                </a:lnTo>
                <a:lnTo>
                  <a:pt x="824" y="1750"/>
                </a:lnTo>
                <a:lnTo>
                  <a:pt x="823" y="1751"/>
                </a:lnTo>
                <a:lnTo>
                  <a:pt x="821" y="1753"/>
                </a:lnTo>
                <a:lnTo>
                  <a:pt x="814" y="1755"/>
                </a:lnTo>
                <a:lnTo>
                  <a:pt x="811" y="1756"/>
                </a:lnTo>
                <a:lnTo>
                  <a:pt x="807" y="1757"/>
                </a:lnTo>
                <a:lnTo>
                  <a:pt x="802" y="1757"/>
                </a:lnTo>
                <a:lnTo>
                  <a:pt x="798" y="1757"/>
                </a:lnTo>
                <a:lnTo>
                  <a:pt x="793" y="1756"/>
                </a:lnTo>
                <a:lnTo>
                  <a:pt x="789" y="1754"/>
                </a:lnTo>
                <a:lnTo>
                  <a:pt x="784" y="1752"/>
                </a:lnTo>
                <a:lnTo>
                  <a:pt x="780" y="1749"/>
                </a:lnTo>
                <a:lnTo>
                  <a:pt x="774" y="1743"/>
                </a:lnTo>
                <a:lnTo>
                  <a:pt x="770" y="1739"/>
                </a:lnTo>
                <a:lnTo>
                  <a:pt x="769" y="1737"/>
                </a:lnTo>
                <a:lnTo>
                  <a:pt x="769" y="1730"/>
                </a:lnTo>
                <a:lnTo>
                  <a:pt x="749" y="1731"/>
                </a:lnTo>
                <a:lnTo>
                  <a:pt x="727" y="1731"/>
                </a:lnTo>
                <a:lnTo>
                  <a:pt x="727" y="1748"/>
                </a:lnTo>
                <a:lnTo>
                  <a:pt x="726" y="1750"/>
                </a:lnTo>
                <a:lnTo>
                  <a:pt x="725" y="1752"/>
                </a:lnTo>
                <a:lnTo>
                  <a:pt x="722" y="1754"/>
                </a:lnTo>
                <a:lnTo>
                  <a:pt x="719" y="1756"/>
                </a:lnTo>
                <a:lnTo>
                  <a:pt x="714" y="1758"/>
                </a:lnTo>
                <a:lnTo>
                  <a:pt x="707" y="1760"/>
                </a:lnTo>
                <a:lnTo>
                  <a:pt x="698" y="1760"/>
                </a:lnTo>
                <a:lnTo>
                  <a:pt x="690" y="1760"/>
                </a:lnTo>
                <a:lnTo>
                  <a:pt x="683" y="1758"/>
                </a:lnTo>
                <a:lnTo>
                  <a:pt x="678" y="1756"/>
                </a:lnTo>
                <a:lnTo>
                  <a:pt x="674" y="1753"/>
                </a:lnTo>
                <a:lnTo>
                  <a:pt x="672" y="1751"/>
                </a:lnTo>
                <a:lnTo>
                  <a:pt x="671" y="1748"/>
                </a:lnTo>
                <a:lnTo>
                  <a:pt x="670" y="1747"/>
                </a:lnTo>
                <a:lnTo>
                  <a:pt x="670" y="1746"/>
                </a:lnTo>
                <a:lnTo>
                  <a:pt x="670" y="1728"/>
                </a:lnTo>
                <a:lnTo>
                  <a:pt x="654" y="1726"/>
                </a:lnTo>
                <a:lnTo>
                  <a:pt x="638" y="1724"/>
                </a:lnTo>
                <a:close/>
                <a:moveTo>
                  <a:pt x="840" y="891"/>
                </a:moveTo>
                <a:lnTo>
                  <a:pt x="837" y="901"/>
                </a:lnTo>
                <a:lnTo>
                  <a:pt x="836" y="905"/>
                </a:lnTo>
                <a:lnTo>
                  <a:pt x="834" y="910"/>
                </a:lnTo>
                <a:lnTo>
                  <a:pt x="829" y="918"/>
                </a:lnTo>
                <a:lnTo>
                  <a:pt x="826" y="922"/>
                </a:lnTo>
                <a:lnTo>
                  <a:pt x="823" y="926"/>
                </a:lnTo>
                <a:lnTo>
                  <a:pt x="817" y="933"/>
                </a:lnTo>
                <a:lnTo>
                  <a:pt x="810" y="939"/>
                </a:lnTo>
                <a:lnTo>
                  <a:pt x="802" y="945"/>
                </a:lnTo>
                <a:lnTo>
                  <a:pt x="793" y="950"/>
                </a:lnTo>
                <a:lnTo>
                  <a:pt x="797" y="950"/>
                </a:lnTo>
                <a:lnTo>
                  <a:pt x="803" y="956"/>
                </a:lnTo>
                <a:lnTo>
                  <a:pt x="818" y="955"/>
                </a:lnTo>
                <a:lnTo>
                  <a:pt x="835" y="964"/>
                </a:lnTo>
                <a:lnTo>
                  <a:pt x="835" y="1009"/>
                </a:lnTo>
                <a:lnTo>
                  <a:pt x="840" y="1007"/>
                </a:lnTo>
                <a:lnTo>
                  <a:pt x="844" y="1005"/>
                </a:lnTo>
                <a:lnTo>
                  <a:pt x="848" y="1004"/>
                </a:lnTo>
                <a:lnTo>
                  <a:pt x="851" y="1004"/>
                </a:lnTo>
                <a:lnTo>
                  <a:pt x="854" y="1004"/>
                </a:lnTo>
                <a:lnTo>
                  <a:pt x="857" y="1003"/>
                </a:lnTo>
                <a:lnTo>
                  <a:pt x="858" y="1000"/>
                </a:lnTo>
                <a:lnTo>
                  <a:pt x="859" y="997"/>
                </a:lnTo>
                <a:lnTo>
                  <a:pt x="859" y="994"/>
                </a:lnTo>
                <a:lnTo>
                  <a:pt x="861" y="990"/>
                </a:lnTo>
                <a:lnTo>
                  <a:pt x="863" y="986"/>
                </a:lnTo>
                <a:lnTo>
                  <a:pt x="866" y="982"/>
                </a:lnTo>
                <a:lnTo>
                  <a:pt x="869" y="978"/>
                </a:lnTo>
                <a:lnTo>
                  <a:pt x="873" y="975"/>
                </a:lnTo>
                <a:lnTo>
                  <a:pt x="876" y="973"/>
                </a:lnTo>
                <a:lnTo>
                  <a:pt x="878" y="973"/>
                </a:lnTo>
                <a:lnTo>
                  <a:pt x="879" y="972"/>
                </a:lnTo>
                <a:lnTo>
                  <a:pt x="882" y="971"/>
                </a:lnTo>
                <a:lnTo>
                  <a:pt x="884" y="969"/>
                </a:lnTo>
                <a:lnTo>
                  <a:pt x="885" y="966"/>
                </a:lnTo>
                <a:lnTo>
                  <a:pt x="885" y="964"/>
                </a:lnTo>
                <a:lnTo>
                  <a:pt x="884" y="960"/>
                </a:lnTo>
                <a:lnTo>
                  <a:pt x="884" y="956"/>
                </a:lnTo>
                <a:lnTo>
                  <a:pt x="885" y="952"/>
                </a:lnTo>
                <a:lnTo>
                  <a:pt x="887" y="947"/>
                </a:lnTo>
                <a:lnTo>
                  <a:pt x="889" y="942"/>
                </a:lnTo>
                <a:lnTo>
                  <a:pt x="891" y="939"/>
                </a:lnTo>
                <a:lnTo>
                  <a:pt x="894" y="936"/>
                </a:lnTo>
                <a:lnTo>
                  <a:pt x="897" y="934"/>
                </a:lnTo>
                <a:lnTo>
                  <a:pt x="899" y="932"/>
                </a:lnTo>
                <a:lnTo>
                  <a:pt x="901" y="929"/>
                </a:lnTo>
                <a:lnTo>
                  <a:pt x="900" y="926"/>
                </a:lnTo>
                <a:lnTo>
                  <a:pt x="900" y="924"/>
                </a:lnTo>
                <a:lnTo>
                  <a:pt x="899" y="922"/>
                </a:lnTo>
                <a:lnTo>
                  <a:pt x="898" y="921"/>
                </a:lnTo>
                <a:lnTo>
                  <a:pt x="897" y="917"/>
                </a:lnTo>
                <a:lnTo>
                  <a:pt x="896" y="912"/>
                </a:lnTo>
                <a:lnTo>
                  <a:pt x="896" y="907"/>
                </a:lnTo>
                <a:lnTo>
                  <a:pt x="897" y="902"/>
                </a:lnTo>
                <a:lnTo>
                  <a:pt x="898" y="898"/>
                </a:lnTo>
                <a:lnTo>
                  <a:pt x="900" y="894"/>
                </a:lnTo>
                <a:lnTo>
                  <a:pt x="902" y="892"/>
                </a:lnTo>
                <a:lnTo>
                  <a:pt x="903" y="891"/>
                </a:lnTo>
                <a:lnTo>
                  <a:pt x="904" y="889"/>
                </a:lnTo>
                <a:lnTo>
                  <a:pt x="905" y="886"/>
                </a:lnTo>
                <a:lnTo>
                  <a:pt x="903" y="883"/>
                </a:lnTo>
                <a:lnTo>
                  <a:pt x="902" y="881"/>
                </a:lnTo>
                <a:lnTo>
                  <a:pt x="899" y="879"/>
                </a:lnTo>
                <a:lnTo>
                  <a:pt x="840" y="891"/>
                </a:lnTo>
                <a:close/>
                <a:moveTo>
                  <a:pt x="801" y="804"/>
                </a:moveTo>
                <a:lnTo>
                  <a:pt x="808" y="809"/>
                </a:lnTo>
                <a:lnTo>
                  <a:pt x="816" y="815"/>
                </a:lnTo>
                <a:lnTo>
                  <a:pt x="822" y="822"/>
                </a:lnTo>
                <a:lnTo>
                  <a:pt x="825" y="826"/>
                </a:lnTo>
                <a:lnTo>
                  <a:pt x="828" y="830"/>
                </a:lnTo>
                <a:lnTo>
                  <a:pt x="833" y="837"/>
                </a:lnTo>
                <a:lnTo>
                  <a:pt x="835" y="842"/>
                </a:lnTo>
                <a:lnTo>
                  <a:pt x="836" y="846"/>
                </a:lnTo>
                <a:lnTo>
                  <a:pt x="839" y="855"/>
                </a:lnTo>
                <a:lnTo>
                  <a:pt x="840" y="859"/>
                </a:lnTo>
                <a:lnTo>
                  <a:pt x="841" y="864"/>
                </a:lnTo>
                <a:lnTo>
                  <a:pt x="894" y="853"/>
                </a:lnTo>
                <a:lnTo>
                  <a:pt x="895" y="850"/>
                </a:lnTo>
                <a:lnTo>
                  <a:pt x="895" y="849"/>
                </a:lnTo>
                <a:lnTo>
                  <a:pt x="896" y="847"/>
                </a:lnTo>
                <a:lnTo>
                  <a:pt x="896" y="844"/>
                </a:lnTo>
                <a:lnTo>
                  <a:pt x="894" y="841"/>
                </a:lnTo>
                <a:lnTo>
                  <a:pt x="892" y="840"/>
                </a:lnTo>
                <a:lnTo>
                  <a:pt x="889" y="838"/>
                </a:lnTo>
                <a:lnTo>
                  <a:pt x="885" y="836"/>
                </a:lnTo>
                <a:lnTo>
                  <a:pt x="882" y="832"/>
                </a:lnTo>
                <a:lnTo>
                  <a:pt x="880" y="828"/>
                </a:lnTo>
                <a:lnTo>
                  <a:pt x="878" y="824"/>
                </a:lnTo>
                <a:lnTo>
                  <a:pt x="876" y="819"/>
                </a:lnTo>
                <a:lnTo>
                  <a:pt x="876" y="815"/>
                </a:lnTo>
                <a:lnTo>
                  <a:pt x="876" y="812"/>
                </a:lnTo>
                <a:lnTo>
                  <a:pt x="876" y="809"/>
                </a:lnTo>
                <a:lnTo>
                  <a:pt x="875" y="806"/>
                </a:lnTo>
                <a:lnTo>
                  <a:pt x="872" y="804"/>
                </a:lnTo>
                <a:lnTo>
                  <a:pt x="870" y="804"/>
                </a:lnTo>
                <a:lnTo>
                  <a:pt x="866" y="803"/>
                </a:lnTo>
                <a:lnTo>
                  <a:pt x="863" y="802"/>
                </a:lnTo>
                <a:lnTo>
                  <a:pt x="859" y="799"/>
                </a:lnTo>
                <a:lnTo>
                  <a:pt x="855" y="796"/>
                </a:lnTo>
                <a:lnTo>
                  <a:pt x="851" y="792"/>
                </a:lnTo>
                <a:lnTo>
                  <a:pt x="849" y="788"/>
                </a:lnTo>
                <a:lnTo>
                  <a:pt x="847" y="785"/>
                </a:lnTo>
                <a:lnTo>
                  <a:pt x="846" y="782"/>
                </a:lnTo>
                <a:lnTo>
                  <a:pt x="846" y="780"/>
                </a:lnTo>
                <a:lnTo>
                  <a:pt x="845" y="779"/>
                </a:lnTo>
                <a:lnTo>
                  <a:pt x="843" y="776"/>
                </a:lnTo>
                <a:lnTo>
                  <a:pt x="840" y="775"/>
                </a:lnTo>
                <a:lnTo>
                  <a:pt x="838" y="775"/>
                </a:lnTo>
                <a:lnTo>
                  <a:pt x="834" y="776"/>
                </a:lnTo>
                <a:lnTo>
                  <a:pt x="833" y="776"/>
                </a:lnTo>
                <a:lnTo>
                  <a:pt x="830" y="775"/>
                </a:lnTo>
                <a:lnTo>
                  <a:pt x="826" y="774"/>
                </a:lnTo>
                <a:lnTo>
                  <a:pt x="821" y="772"/>
                </a:lnTo>
                <a:lnTo>
                  <a:pt x="817" y="770"/>
                </a:lnTo>
                <a:lnTo>
                  <a:pt x="814" y="767"/>
                </a:lnTo>
                <a:lnTo>
                  <a:pt x="811" y="765"/>
                </a:lnTo>
                <a:lnTo>
                  <a:pt x="809" y="762"/>
                </a:lnTo>
                <a:lnTo>
                  <a:pt x="801" y="770"/>
                </a:lnTo>
                <a:lnTo>
                  <a:pt x="801" y="795"/>
                </a:lnTo>
                <a:lnTo>
                  <a:pt x="801" y="804"/>
                </a:lnTo>
                <a:close/>
                <a:moveTo>
                  <a:pt x="653" y="875"/>
                </a:moveTo>
                <a:lnTo>
                  <a:pt x="654" y="867"/>
                </a:lnTo>
                <a:lnTo>
                  <a:pt x="655" y="860"/>
                </a:lnTo>
                <a:lnTo>
                  <a:pt x="657" y="852"/>
                </a:lnTo>
                <a:lnTo>
                  <a:pt x="659" y="845"/>
                </a:lnTo>
                <a:lnTo>
                  <a:pt x="662" y="839"/>
                </a:lnTo>
                <a:lnTo>
                  <a:pt x="666" y="832"/>
                </a:lnTo>
                <a:lnTo>
                  <a:pt x="670" y="826"/>
                </a:lnTo>
                <a:lnTo>
                  <a:pt x="675" y="820"/>
                </a:lnTo>
                <a:lnTo>
                  <a:pt x="657" y="800"/>
                </a:lnTo>
                <a:lnTo>
                  <a:pt x="654" y="800"/>
                </a:lnTo>
                <a:lnTo>
                  <a:pt x="651" y="801"/>
                </a:lnTo>
                <a:lnTo>
                  <a:pt x="648" y="803"/>
                </a:lnTo>
                <a:lnTo>
                  <a:pt x="647" y="806"/>
                </a:lnTo>
                <a:lnTo>
                  <a:pt x="647" y="808"/>
                </a:lnTo>
                <a:lnTo>
                  <a:pt x="647" y="812"/>
                </a:lnTo>
                <a:lnTo>
                  <a:pt x="646" y="816"/>
                </a:lnTo>
                <a:lnTo>
                  <a:pt x="645" y="820"/>
                </a:lnTo>
                <a:lnTo>
                  <a:pt x="642" y="825"/>
                </a:lnTo>
                <a:lnTo>
                  <a:pt x="639" y="829"/>
                </a:lnTo>
                <a:lnTo>
                  <a:pt x="636" y="832"/>
                </a:lnTo>
                <a:lnTo>
                  <a:pt x="633" y="834"/>
                </a:lnTo>
                <a:lnTo>
                  <a:pt x="630" y="836"/>
                </a:lnTo>
                <a:lnTo>
                  <a:pt x="628" y="837"/>
                </a:lnTo>
                <a:lnTo>
                  <a:pt x="626" y="840"/>
                </a:lnTo>
                <a:lnTo>
                  <a:pt x="626" y="843"/>
                </a:lnTo>
                <a:lnTo>
                  <a:pt x="626" y="845"/>
                </a:lnTo>
                <a:lnTo>
                  <a:pt x="627" y="849"/>
                </a:lnTo>
                <a:lnTo>
                  <a:pt x="628" y="853"/>
                </a:lnTo>
                <a:lnTo>
                  <a:pt x="628" y="857"/>
                </a:lnTo>
                <a:lnTo>
                  <a:pt x="627" y="862"/>
                </a:lnTo>
                <a:lnTo>
                  <a:pt x="625" y="867"/>
                </a:lnTo>
                <a:lnTo>
                  <a:pt x="623" y="871"/>
                </a:lnTo>
                <a:lnTo>
                  <a:pt x="621" y="874"/>
                </a:lnTo>
                <a:lnTo>
                  <a:pt x="620" y="876"/>
                </a:lnTo>
                <a:lnTo>
                  <a:pt x="619" y="877"/>
                </a:lnTo>
                <a:lnTo>
                  <a:pt x="617" y="879"/>
                </a:lnTo>
                <a:lnTo>
                  <a:pt x="615" y="882"/>
                </a:lnTo>
                <a:lnTo>
                  <a:pt x="616" y="885"/>
                </a:lnTo>
                <a:lnTo>
                  <a:pt x="618" y="887"/>
                </a:lnTo>
                <a:lnTo>
                  <a:pt x="619" y="888"/>
                </a:lnTo>
                <a:lnTo>
                  <a:pt x="620" y="890"/>
                </a:lnTo>
                <a:lnTo>
                  <a:pt x="621" y="893"/>
                </a:lnTo>
                <a:lnTo>
                  <a:pt x="622" y="898"/>
                </a:lnTo>
                <a:lnTo>
                  <a:pt x="623" y="903"/>
                </a:lnTo>
                <a:lnTo>
                  <a:pt x="623" y="908"/>
                </a:lnTo>
                <a:lnTo>
                  <a:pt x="622" y="912"/>
                </a:lnTo>
                <a:lnTo>
                  <a:pt x="621" y="916"/>
                </a:lnTo>
                <a:lnTo>
                  <a:pt x="620" y="919"/>
                </a:lnTo>
                <a:lnTo>
                  <a:pt x="619" y="922"/>
                </a:lnTo>
                <a:lnTo>
                  <a:pt x="618" y="925"/>
                </a:lnTo>
                <a:lnTo>
                  <a:pt x="620" y="928"/>
                </a:lnTo>
                <a:lnTo>
                  <a:pt x="622" y="929"/>
                </a:lnTo>
                <a:lnTo>
                  <a:pt x="624" y="931"/>
                </a:lnTo>
                <a:lnTo>
                  <a:pt x="627" y="934"/>
                </a:lnTo>
                <a:lnTo>
                  <a:pt x="629" y="938"/>
                </a:lnTo>
                <a:lnTo>
                  <a:pt x="632" y="943"/>
                </a:lnTo>
                <a:lnTo>
                  <a:pt x="633" y="948"/>
                </a:lnTo>
                <a:lnTo>
                  <a:pt x="634" y="952"/>
                </a:lnTo>
                <a:lnTo>
                  <a:pt x="634" y="956"/>
                </a:lnTo>
                <a:lnTo>
                  <a:pt x="634" y="958"/>
                </a:lnTo>
                <a:lnTo>
                  <a:pt x="633" y="959"/>
                </a:lnTo>
                <a:lnTo>
                  <a:pt x="633" y="962"/>
                </a:lnTo>
                <a:lnTo>
                  <a:pt x="633" y="965"/>
                </a:lnTo>
                <a:lnTo>
                  <a:pt x="636" y="968"/>
                </a:lnTo>
                <a:lnTo>
                  <a:pt x="637" y="968"/>
                </a:lnTo>
                <a:lnTo>
                  <a:pt x="638" y="969"/>
                </a:lnTo>
                <a:lnTo>
                  <a:pt x="641" y="970"/>
                </a:lnTo>
                <a:lnTo>
                  <a:pt x="641" y="958"/>
                </a:lnTo>
                <a:lnTo>
                  <a:pt x="660" y="956"/>
                </a:lnTo>
                <a:lnTo>
                  <a:pt x="666" y="951"/>
                </a:lnTo>
                <a:lnTo>
                  <a:pt x="666" y="942"/>
                </a:lnTo>
                <a:lnTo>
                  <a:pt x="681" y="942"/>
                </a:lnTo>
                <a:lnTo>
                  <a:pt x="690" y="943"/>
                </a:lnTo>
                <a:lnTo>
                  <a:pt x="682" y="937"/>
                </a:lnTo>
                <a:lnTo>
                  <a:pt x="675" y="930"/>
                </a:lnTo>
                <a:lnTo>
                  <a:pt x="669" y="922"/>
                </a:lnTo>
                <a:lnTo>
                  <a:pt x="666" y="918"/>
                </a:lnTo>
                <a:lnTo>
                  <a:pt x="664" y="913"/>
                </a:lnTo>
                <a:lnTo>
                  <a:pt x="659" y="904"/>
                </a:lnTo>
                <a:lnTo>
                  <a:pt x="656" y="895"/>
                </a:lnTo>
                <a:lnTo>
                  <a:pt x="654" y="885"/>
                </a:lnTo>
                <a:lnTo>
                  <a:pt x="654" y="880"/>
                </a:lnTo>
                <a:lnTo>
                  <a:pt x="653" y="875"/>
                </a:lnTo>
                <a:close/>
              </a:path>
            </a:pathLst>
          </a:custGeom>
          <a:solidFill>
            <a:schemeClr val="tx1"/>
          </a:solidFill>
          <a:ln w="9525" cap="flat" cmpd="sng" algn="ctr">
            <a:solidFill>
              <a:schemeClr val="bg1"/>
            </a:solidFill>
            <a:prstDash val="solid"/>
            <a:round/>
            <a:headEnd type="none" w="med" len="med"/>
            <a:tailEnd type="none" w="med" len="me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endParaRPr>
          </a:p>
        </p:txBody>
      </p:sp>
      <p:sp>
        <p:nvSpPr>
          <p:cNvPr id="33" name="Isosceles Triangle 32">
            <a:extLst>
              <a:ext uri="{FF2B5EF4-FFF2-40B4-BE49-F238E27FC236}">
                <a16:creationId xmlns:a16="http://schemas.microsoft.com/office/drawing/2014/main" id="{940BA0FE-326C-FB45-08F9-E79545E31F36}"/>
              </a:ext>
            </a:extLst>
          </p:cNvPr>
          <p:cNvSpPr>
            <a:spLocks/>
          </p:cNvSpPr>
          <p:nvPr/>
        </p:nvSpPr>
        <p:spPr>
          <a:xfrm rot="16200000">
            <a:off x="5057557" y="2445013"/>
            <a:ext cx="105416" cy="89883"/>
          </a:xfrm>
          <a:prstGeom prst="triangle">
            <a:avLst/>
          </a:prstGeom>
          <a:solidFill>
            <a:srgbClr val="FFE600"/>
          </a:solidFill>
          <a:ln w="6350" cap="flat" cmpd="sng" algn="ctr">
            <a:noFill/>
            <a:prstDash val="solid"/>
            <a:round/>
            <a:headEnd type="none" w="med" len="med"/>
            <a:tailEnd type="none" w="med" len="me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ea typeface="+mn-ea"/>
              <a:cs typeface="+mn-cs"/>
            </a:endParaRPr>
          </a:p>
        </p:txBody>
      </p:sp>
      <p:sp>
        <p:nvSpPr>
          <p:cNvPr id="34" name="Isosceles Triangle 33">
            <a:extLst>
              <a:ext uri="{FF2B5EF4-FFF2-40B4-BE49-F238E27FC236}">
                <a16:creationId xmlns:a16="http://schemas.microsoft.com/office/drawing/2014/main" id="{887EA863-076C-FF54-338D-BDBEAFA15839}"/>
              </a:ext>
            </a:extLst>
          </p:cNvPr>
          <p:cNvSpPr>
            <a:spLocks/>
          </p:cNvSpPr>
          <p:nvPr/>
        </p:nvSpPr>
        <p:spPr>
          <a:xfrm rot="5400000" flipH="1">
            <a:off x="5784393" y="2445013"/>
            <a:ext cx="105416" cy="89883"/>
          </a:xfrm>
          <a:prstGeom prst="triangle">
            <a:avLst/>
          </a:prstGeom>
          <a:solidFill>
            <a:srgbClr val="FFE600"/>
          </a:solidFill>
          <a:ln w="6350" cap="flat" cmpd="sng" algn="ctr">
            <a:noFill/>
            <a:prstDash val="solid"/>
            <a:round/>
            <a:headEnd type="none" w="med" len="med"/>
            <a:tailEnd type="none" w="med" len="me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ea typeface="+mn-ea"/>
              <a:cs typeface="+mn-cs"/>
            </a:endParaRPr>
          </a:p>
        </p:txBody>
      </p:sp>
      <p:cxnSp>
        <p:nvCxnSpPr>
          <p:cNvPr id="35" name="Straight Connector 34">
            <a:extLst>
              <a:ext uri="{FF2B5EF4-FFF2-40B4-BE49-F238E27FC236}">
                <a16:creationId xmlns:a16="http://schemas.microsoft.com/office/drawing/2014/main" id="{3A42A0CE-592B-0BA5-653B-4DD8703F5ED5}"/>
              </a:ext>
            </a:extLst>
          </p:cNvPr>
          <p:cNvCxnSpPr/>
          <p:nvPr/>
        </p:nvCxnSpPr>
        <p:spPr>
          <a:xfrm>
            <a:off x="7041453" y="2483854"/>
            <a:ext cx="0" cy="564720"/>
          </a:xfrm>
          <a:prstGeom prst="line">
            <a:avLst/>
          </a:prstGeom>
          <a:noFill/>
          <a:ln w="12700" cap="flat" cmpd="sng" algn="ctr">
            <a:solidFill>
              <a:srgbClr val="FFE600"/>
            </a:solidFill>
            <a:prstDash val="solid"/>
            <a:round/>
            <a:headEnd type="none" w="med" len="med"/>
            <a:tailEnd type="none" w="med" len="med"/>
          </a:ln>
          <a:effectLst/>
        </p:spPr>
      </p:cxnSp>
      <p:cxnSp>
        <p:nvCxnSpPr>
          <p:cNvPr id="36" name="Straight Connector 35">
            <a:extLst>
              <a:ext uri="{FF2B5EF4-FFF2-40B4-BE49-F238E27FC236}">
                <a16:creationId xmlns:a16="http://schemas.microsoft.com/office/drawing/2014/main" id="{2812A688-C165-FB4B-B569-A858A079BE8C}"/>
              </a:ext>
            </a:extLst>
          </p:cNvPr>
          <p:cNvCxnSpPr/>
          <p:nvPr/>
        </p:nvCxnSpPr>
        <p:spPr>
          <a:xfrm rot="16200000">
            <a:off x="7315145" y="2773744"/>
            <a:ext cx="0" cy="558551"/>
          </a:xfrm>
          <a:prstGeom prst="line">
            <a:avLst/>
          </a:prstGeom>
          <a:noFill/>
          <a:ln w="12700" cap="flat" cmpd="sng" algn="ctr">
            <a:solidFill>
              <a:srgbClr val="FFE600"/>
            </a:solidFill>
            <a:prstDash val="solid"/>
            <a:round/>
            <a:headEnd type="none" w="med" len="med"/>
            <a:tailEnd type="none" w="med" len="med"/>
          </a:ln>
          <a:effectLst/>
        </p:spPr>
      </p:cxnSp>
      <p:sp>
        <p:nvSpPr>
          <p:cNvPr id="37" name="Isosceles Triangle 36">
            <a:extLst>
              <a:ext uri="{FF2B5EF4-FFF2-40B4-BE49-F238E27FC236}">
                <a16:creationId xmlns:a16="http://schemas.microsoft.com/office/drawing/2014/main" id="{C3830393-FCE8-3312-198A-75E97002ED9E}"/>
              </a:ext>
            </a:extLst>
          </p:cNvPr>
          <p:cNvSpPr>
            <a:spLocks/>
          </p:cNvSpPr>
          <p:nvPr/>
        </p:nvSpPr>
        <p:spPr>
          <a:xfrm rot="5400000" flipH="1">
            <a:off x="7259419" y="3008077"/>
            <a:ext cx="105416" cy="89883"/>
          </a:xfrm>
          <a:prstGeom prst="triangle">
            <a:avLst/>
          </a:prstGeom>
          <a:solidFill>
            <a:srgbClr val="FFE600"/>
          </a:solidFill>
          <a:ln w="6350" cap="flat" cmpd="sng" algn="ctr">
            <a:noFill/>
            <a:prstDash val="solid"/>
            <a:round/>
            <a:headEnd type="none" w="med" len="med"/>
            <a:tailEnd type="none" w="med" len="me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ea typeface="+mn-ea"/>
              <a:cs typeface="+mn-cs"/>
            </a:endParaRPr>
          </a:p>
        </p:txBody>
      </p:sp>
      <p:cxnSp>
        <p:nvCxnSpPr>
          <p:cNvPr id="38" name="Straight Connector 37">
            <a:extLst>
              <a:ext uri="{FF2B5EF4-FFF2-40B4-BE49-F238E27FC236}">
                <a16:creationId xmlns:a16="http://schemas.microsoft.com/office/drawing/2014/main" id="{A6897E24-91CE-54EC-3432-7EF250C828CF}"/>
              </a:ext>
            </a:extLst>
          </p:cNvPr>
          <p:cNvCxnSpPr/>
          <p:nvPr/>
        </p:nvCxnSpPr>
        <p:spPr>
          <a:xfrm rot="16200000">
            <a:off x="8041302" y="2190645"/>
            <a:ext cx="0" cy="558551"/>
          </a:xfrm>
          <a:prstGeom prst="line">
            <a:avLst/>
          </a:prstGeom>
          <a:noFill/>
          <a:ln w="12700" cap="flat" cmpd="sng" algn="ctr">
            <a:solidFill>
              <a:srgbClr val="FFFFFF"/>
            </a:solidFill>
            <a:prstDash val="solid"/>
            <a:tailEnd type="none"/>
          </a:ln>
          <a:effectLst/>
        </p:spPr>
      </p:cxnSp>
      <p:cxnSp>
        <p:nvCxnSpPr>
          <p:cNvPr id="39" name="Straight Connector 38">
            <a:extLst>
              <a:ext uri="{FF2B5EF4-FFF2-40B4-BE49-F238E27FC236}">
                <a16:creationId xmlns:a16="http://schemas.microsoft.com/office/drawing/2014/main" id="{5D9BD4D7-AB01-8D52-9D09-334D93E7090F}"/>
              </a:ext>
            </a:extLst>
          </p:cNvPr>
          <p:cNvCxnSpPr/>
          <p:nvPr/>
        </p:nvCxnSpPr>
        <p:spPr>
          <a:xfrm rot="16200000">
            <a:off x="7971905" y="2190645"/>
            <a:ext cx="0" cy="558551"/>
          </a:xfrm>
          <a:prstGeom prst="line">
            <a:avLst/>
          </a:prstGeom>
          <a:noFill/>
          <a:ln w="12700" cap="flat" cmpd="sng" algn="ctr">
            <a:solidFill>
              <a:srgbClr val="FFE600"/>
            </a:solidFill>
            <a:prstDash val="solid"/>
            <a:round/>
            <a:headEnd type="none" w="med" len="med"/>
            <a:tailEnd type="none" w="med" len="med"/>
          </a:ln>
          <a:effectLst/>
        </p:spPr>
      </p:cxnSp>
      <p:cxnSp>
        <p:nvCxnSpPr>
          <p:cNvPr id="40" name="Straight Connector 39">
            <a:extLst>
              <a:ext uri="{FF2B5EF4-FFF2-40B4-BE49-F238E27FC236}">
                <a16:creationId xmlns:a16="http://schemas.microsoft.com/office/drawing/2014/main" id="{0B713B09-96D7-8A58-6B1D-BF3F16F7B03B}"/>
              </a:ext>
            </a:extLst>
          </p:cNvPr>
          <p:cNvCxnSpPr/>
          <p:nvPr/>
        </p:nvCxnSpPr>
        <p:spPr>
          <a:xfrm>
            <a:off x="7693725" y="2461824"/>
            <a:ext cx="0" cy="564720"/>
          </a:xfrm>
          <a:prstGeom prst="line">
            <a:avLst/>
          </a:prstGeom>
          <a:noFill/>
          <a:ln w="12700" cap="flat" cmpd="sng" algn="ctr">
            <a:solidFill>
              <a:srgbClr val="FFE600"/>
            </a:solidFill>
            <a:prstDash val="solid"/>
            <a:round/>
            <a:headEnd type="none" w="med" len="med"/>
            <a:tailEnd type="none" w="med" len="med"/>
          </a:ln>
          <a:effectLst/>
        </p:spPr>
      </p:cxnSp>
      <p:cxnSp>
        <p:nvCxnSpPr>
          <p:cNvPr id="41" name="Straight Connector 40">
            <a:extLst>
              <a:ext uri="{FF2B5EF4-FFF2-40B4-BE49-F238E27FC236}">
                <a16:creationId xmlns:a16="http://schemas.microsoft.com/office/drawing/2014/main" id="{A12D72A6-AE48-932C-7277-95A4DD503BE9}"/>
              </a:ext>
            </a:extLst>
          </p:cNvPr>
          <p:cNvCxnSpPr/>
          <p:nvPr/>
        </p:nvCxnSpPr>
        <p:spPr>
          <a:xfrm>
            <a:off x="7870841" y="2708391"/>
            <a:ext cx="755965" cy="0"/>
          </a:xfrm>
          <a:prstGeom prst="line">
            <a:avLst/>
          </a:prstGeom>
          <a:noFill/>
          <a:ln w="12700" cap="flat" cmpd="sng" algn="ctr">
            <a:solidFill>
              <a:srgbClr val="FFFFFF"/>
            </a:solidFill>
            <a:prstDash val="solid"/>
            <a:tailEnd type="none"/>
          </a:ln>
          <a:effectLst/>
        </p:spPr>
      </p:cxnSp>
      <p:sp>
        <p:nvSpPr>
          <p:cNvPr id="42" name="Isosceles Triangle 41">
            <a:extLst>
              <a:ext uri="{FF2B5EF4-FFF2-40B4-BE49-F238E27FC236}">
                <a16:creationId xmlns:a16="http://schemas.microsoft.com/office/drawing/2014/main" id="{84FE82D2-939B-5045-E00D-5508D2FD8AF5}"/>
              </a:ext>
            </a:extLst>
          </p:cNvPr>
          <p:cNvSpPr/>
          <p:nvPr/>
        </p:nvSpPr>
        <p:spPr>
          <a:xfrm rot="16200000">
            <a:off x="8084562" y="2661193"/>
            <a:ext cx="105416" cy="89883"/>
          </a:xfrm>
          <a:prstGeom prst="triangle">
            <a:avLst/>
          </a:prstGeom>
          <a:solidFill>
            <a:schemeClr val="bg1"/>
          </a:solidFill>
          <a:ln w="12700" cap="flat" cmpd="sng" algn="ctr">
            <a:solidFill>
              <a:srgbClr val="333333"/>
            </a:solid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ea typeface="+mn-ea"/>
              <a:cs typeface="+mn-cs"/>
            </a:endParaRPr>
          </a:p>
        </p:txBody>
      </p:sp>
      <p:cxnSp>
        <p:nvCxnSpPr>
          <p:cNvPr id="43" name="Straight Connector 42">
            <a:extLst>
              <a:ext uri="{FF2B5EF4-FFF2-40B4-BE49-F238E27FC236}">
                <a16:creationId xmlns:a16="http://schemas.microsoft.com/office/drawing/2014/main" id="{5419D7C8-815C-8B47-92EB-7B452AEB3411}"/>
              </a:ext>
            </a:extLst>
          </p:cNvPr>
          <p:cNvCxnSpPr/>
          <p:nvPr/>
        </p:nvCxnSpPr>
        <p:spPr>
          <a:xfrm flipV="1">
            <a:off x="8620770" y="2713172"/>
            <a:ext cx="0" cy="650911"/>
          </a:xfrm>
          <a:prstGeom prst="line">
            <a:avLst/>
          </a:prstGeom>
          <a:noFill/>
          <a:ln w="12700" cap="flat" cmpd="sng" algn="ctr">
            <a:solidFill>
              <a:srgbClr val="FFFFFF"/>
            </a:solidFill>
            <a:prstDash val="solid"/>
            <a:tailEnd type="none"/>
          </a:ln>
          <a:effectLst/>
        </p:spPr>
      </p:cxnSp>
      <p:sp>
        <p:nvSpPr>
          <p:cNvPr id="44" name="Isosceles Triangle 43">
            <a:extLst>
              <a:ext uri="{FF2B5EF4-FFF2-40B4-BE49-F238E27FC236}">
                <a16:creationId xmlns:a16="http://schemas.microsoft.com/office/drawing/2014/main" id="{6FC89232-669F-0AB1-7543-88C46AE03851}"/>
              </a:ext>
            </a:extLst>
          </p:cNvPr>
          <p:cNvSpPr/>
          <p:nvPr/>
        </p:nvSpPr>
        <p:spPr>
          <a:xfrm rot="5400000" flipH="1">
            <a:off x="9582504" y="3057587"/>
            <a:ext cx="105416" cy="89883"/>
          </a:xfrm>
          <a:prstGeom prst="triangle">
            <a:avLst/>
          </a:prstGeom>
          <a:solidFill>
            <a:srgbClr val="747480"/>
          </a:solidFill>
          <a:ln w="6350" cap="flat" cmpd="sng" algn="ctr">
            <a:noFill/>
            <a:prstDash val="solid"/>
            <a:round/>
            <a:headEnd type="none" w="med" len="med"/>
            <a:tailEnd type="none" w="med" len="me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ea typeface="+mn-ea"/>
              <a:cs typeface="+mn-cs"/>
            </a:endParaRPr>
          </a:p>
        </p:txBody>
      </p:sp>
      <p:cxnSp>
        <p:nvCxnSpPr>
          <p:cNvPr id="45" name="Straight Connector 44">
            <a:extLst>
              <a:ext uri="{FF2B5EF4-FFF2-40B4-BE49-F238E27FC236}">
                <a16:creationId xmlns:a16="http://schemas.microsoft.com/office/drawing/2014/main" id="{EEB1EB4B-FD1B-A947-35C0-0C61D8CB6A22}"/>
              </a:ext>
            </a:extLst>
          </p:cNvPr>
          <p:cNvCxnSpPr/>
          <p:nvPr/>
        </p:nvCxnSpPr>
        <p:spPr>
          <a:xfrm>
            <a:off x="9331167" y="3101906"/>
            <a:ext cx="259104" cy="1247"/>
          </a:xfrm>
          <a:prstGeom prst="line">
            <a:avLst/>
          </a:prstGeom>
          <a:noFill/>
          <a:ln w="12700" cap="flat" cmpd="sng" algn="ctr">
            <a:solidFill>
              <a:srgbClr val="747480"/>
            </a:solidFill>
            <a:prstDash val="solid"/>
            <a:round/>
            <a:headEnd type="none" w="med" len="med"/>
            <a:tailEnd type="none" w="med" len="med"/>
          </a:ln>
          <a:effectLst/>
        </p:spPr>
      </p:cxnSp>
      <p:cxnSp>
        <p:nvCxnSpPr>
          <p:cNvPr id="46" name="Straight Connector 45">
            <a:extLst>
              <a:ext uri="{FF2B5EF4-FFF2-40B4-BE49-F238E27FC236}">
                <a16:creationId xmlns:a16="http://schemas.microsoft.com/office/drawing/2014/main" id="{3D12BC1C-3D23-CBA1-9B25-156FF396A341}"/>
              </a:ext>
            </a:extLst>
          </p:cNvPr>
          <p:cNvCxnSpPr/>
          <p:nvPr/>
        </p:nvCxnSpPr>
        <p:spPr>
          <a:xfrm flipV="1">
            <a:off x="8807135" y="2212356"/>
            <a:ext cx="678208" cy="4537"/>
          </a:xfrm>
          <a:prstGeom prst="line">
            <a:avLst/>
          </a:prstGeom>
          <a:noFill/>
          <a:ln w="12700" cap="flat" cmpd="sng" algn="ctr">
            <a:solidFill>
              <a:srgbClr val="FFE600"/>
            </a:solidFill>
            <a:prstDash val="solid"/>
            <a:round/>
            <a:headEnd type="none" w="med" len="med"/>
            <a:tailEnd type="none" w="med" len="med"/>
          </a:ln>
          <a:effectLst/>
        </p:spPr>
      </p:cxnSp>
      <p:cxnSp>
        <p:nvCxnSpPr>
          <p:cNvPr id="47" name="Straight Connector 46">
            <a:extLst>
              <a:ext uri="{FF2B5EF4-FFF2-40B4-BE49-F238E27FC236}">
                <a16:creationId xmlns:a16="http://schemas.microsoft.com/office/drawing/2014/main" id="{B13AA7E4-FDF1-6259-7989-0FAF26B3B0BF}"/>
              </a:ext>
            </a:extLst>
          </p:cNvPr>
          <p:cNvCxnSpPr/>
          <p:nvPr/>
        </p:nvCxnSpPr>
        <p:spPr>
          <a:xfrm flipV="1">
            <a:off x="8813889" y="2221117"/>
            <a:ext cx="0" cy="625110"/>
          </a:xfrm>
          <a:prstGeom prst="line">
            <a:avLst/>
          </a:prstGeom>
          <a:noFill/>
          <a:ln w="12700" cap="flat" cmpd="sng" algn="ctr">
            <a:solidFill>
              <a:srgbClr val="FFE600"/>
            </a:solidFill>
            <a:prstDash val="solid"/>
            <a:round/>
            <a:headEnd type="none" w="med" len="med"/>
            <a:tailEnd type="none" w="med" len="med"/>
          </a:ln>
          <a:effectLst/>
        </p:spPr>
      </p:cxnSp>
      <p:sp>
        <p:nvSpPr>
          <p:cNvPr id="48" name="Isosceles Triangle 47">
            <a:extLst>
              <a:ext uri="{FF2B5EF4-FFF2-40B4-BE49-F238E27FC236}">
                <a16:creationId xmlns:a16="http://schemas.microsoft.com/office/drawing/2014/main" id="{53F02FC7-110D-5C53-B39A-09242A63C06D}"/>
              </a:ext>
            </a:extLst>
          </p:cNvPr>
          <p:cNvSpPr>
            <a:spLocks/>
          </p:cNvSpPr>
          <p:nvPr/>
        </p:nvSpPr>
        <p:spPr>
          <a:xfrm rot="5400000" flipH="1">
            <a:off x="9411829" y="2167417"/>
            <a:ext cx="105416" cy="89883"/>
          </a:xfrm>
          <a:prstGeom prst="triangle">
            <a:avLst/>
          </a:prstGeom>
          <a:solidFill>
            <a:srgbClr val="FFE600"/>
          </a:solidFill>
          <a:ln w="6350" cap="flat" cmpd="sng" algn="ctr">
            <a:noFill/>
            <a:prstDash val="solid"/>
            <a:round/>
            <a:headEnd type="none" w="med" len="med"/>
            <a:tailEnd type="none" w="med" len="me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ea typeface="+mn-ea"/>
              <a:cs typeface="+mn-cs"/>
            </a:endParaRPr>
          </a:p>
        </p:txBody>
      </p:sp>
      <p:sp>
        <p:nvSpPr>
          <p:cNvPr id="49" name="Isosceles Triangle 48">
            <a:extLst>
              <a:ext uri="{FF2B5EF4-FFF2-40B4-BE49-F238E27FC236}">
                <a16:creationId xmlns:a16="http://schemas.microsoft.com/office/drawing/2014/main" id="{96D109E7-CB2C-7594-7B59-131BD73561C7}"/>
              </a:ext>
            </a:extLst>
          </p:cNvPr>
          <p:cNvSpPr/>
          <p:nvPr/>
        </p:nvSpPr>
        <p:spPr>
          <a:xfrm rot="10800000">
            <a:off x="8568639" y="3179845"/>
            <a:ext cx="104265" cy="90876"/>
          </a:xfrm>
          <a:prstGeom prst="triangle">
            <a:avLst/>
          </a:prstGeom>
          <a:solidFill>
            <a:schemeClr val="bg1"/>
          </a:solidFill>
          <a:ln w="12700" cap="flat" cmpd="sng" algn="ctr">
            <a:solidFill>
              <a:srgbClr val="333333"/>
            </a:solid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ea typeface="+mn-ea"/>
              <a:cs typeface="+mn-cs"/>
            </a:endParaRPr>
          </a:p>
        </p:txBody>
      </p:sp>
      <p:sp>
        <p:nvSpPr>
          <p:cNvPr id="50" name="Isosceles Triangle 49">
            <a:extLst>
              <a:ext uri="{FF2B5EF4-FFF2-40B4-BE49-F238E27FC236}">
                <a16:creationId xmlns:a16="http://schemas.microsoft.com/office/drawing/2014/main" id="{2A71E013-3969-2ED9-B6A4-C11B561B6477}"/>
              </a:ext>
            </a:extLst>
          </p:cNvPr>
          <p:cNvSpPr/>
          <p:nvPr/>
        </p:nvSpPr>
        <p:spPr>
          <a:xfrm rot="5400000" flipH="1">
            <a:off x="7097062" y="5182726"/>
            <a:ext cx="105416" cy="89883"/>
          </a:xfrm>
          <a:prstGeom prst="triangle">
            <a:avLst/>
          </a:prstGeom>
          <a:solidFill>
            <a:srgbClr val="747480"/>
          </a:solidFill>
          <a:ln w="6350" cap="flat" cmpd="sng" algn="ctr">
            <a:noFill/>
            <a:prstDash val="solid"/>
            <a:round/>
            <a:headEnd type="none" w="med" len="med"/>
            <a:tailEnd type="none" w="med" len="me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ea typeface="+mn-ea"/>
              <a:cs typeface="+mn-cs"/>
            </a:endParaRPr>
          </a:p>
        </p:txBody>
      </p:sp>
      <p:sp>
        <p:nvSpPr>
          <p:cNvPr id="51" name="Isosceles Triangle 50">
            <a:extLst>
              <a:ext uri="{FF2B5EF4-FFF2-40B4-BE49-F238E27FC236}">
                <a16:creationId xmlns:a16="http://schemas.microsoft.com/office/drawing/2014/main" id="{A48616E3-339F-D974-399D-D6E1CA913282}"/>
              </a:ext>
            </a:extLst>
          </p:cNvPr>
          <p:cNvSpPr/>
          <p:nvPr/>
        </p:nvSpPr>
        <p:spPr>
          <a:xfrm rot="5400000" flipH="1">
            <a:off x="8259766" y="5182726"/>
            <a:ext cx="105416" cy="89883"/>
          </a:xfrm>
          <a:prstGeom prst="triangle">
            <a:avLst/>
          </a:prstGeom>
          <a:solidFill>
            <a:srgbClr val="747480"/>
          </a:solidFill>
          <a:ln w="6350" cap="flat" cmpd="sng" algn="ctr">
            <a:noFill/>
            <a:prstDash val="solid"/>
            <a:round/>
            <a:headEnd type="none" w="med" len="med"/>
            <a:tailEnd type="none" w="med" len="me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ea typeface="+mn-ea"/>
              <a:cs typeface="+mn-cs"/>
            </a:endParaRPr>
          </a:p>
        </p:txBody>
      </p:sp>
      <p:cxnSp>
        <p:nvCxnSpPr>
          <p:cNvPr id="52" name="Straight Connector 51">
            <a:extLst>
              <a:ext uri="{FF2B5EF4-FFF2-40B4-BE49-F238E27FC236}">
                <a16:creationId xmlns:a16="http://schemas.microsoft.com/office/drawing/2014/main" id="{3615E233-2081-2412-0B41-B38285238260}"/>
              </a:ext>
            </a:extLst>
          </p:cNvPr>
          <p:cNvCxnSpPr/>
          <p:nvPr/>
        </p:nvCxnSpPr>
        <p:spPr>
          <a:xfrm>
            <a:off x="7824800" y="3358216"/>
            <a:ext cx="802010" cy="0"/>
          </a:xfrm>
          <a:prstGeom prst="line">
            <a:avLst/>
          </a:prstGeom>
          <a:noFill/>
          <a:ln w="12700" cap="flat" cmpd="sng" algn="ctr">
            <a:solidFill>
              <a:srgbClr val="FFFFFF"/>
            </a:solidFill>
            <a:prstDash val="solid"/>
            <a:tailEnd type="none"/>
          </a:ln>
          <a:effectLst/>
        </p:spPr>
      </p:cxnSp>
      <p:sp>
        <p:nvSpPr>
          <p:cNvPr id="54" name="TextBox 53">
            <a:extLst>
              <a:ext uri="{FF2B5EF4-FFF2-40B4-BE49-F238E27FC236}">
                <a16:creationId xmlns:a16="http://schemas.microsoft.com/office/drawing/2014/main" id="{E94F7AEA-5724-4916-2E9C-3B795E6D3EDF}"/>
              </a:ext>
            </a:extLst>
          </p:cNvPr>
          <p:cNvSpPr txBox="1"/>
          <p:nvPr/>
        </p:nvSpPr>
        <p:spPr>
          <a:xfrm>
            <a:off x="9598842" y="2144429"/>
            <a:ext cx="835035" cy="157323"/>
          </a:xfrm>
          <a:prstGeom prst="rect">
            <a:avLst/>
          </a:prstGeom>
          <a:noFill/>
        </p:spPr>
        <p:txBody>
          <a:bodyPr wrap="square" lIns="0" tIns="27432" rIns="0" bIns="0" rtlCol="0">
            <a:spAutoFit/>
          </a:bodyPr>
          <a:lstStyle/>
          <a:p>
            <a:pPr marL="0" marR="0" lvl="0" indent="0" defTabSz="914400" eaLnBrk="1" fontAlgn="auto" latinLnBrk="0" hangingPunct="1">
              <a:lnSpc>
                <a:spcPct val="85000"/>
              </a:lnSpc>
              <a:spcBef>
                <a:spcPts val="0"/>
              </a:spcBef>
              <a:spcAft>
                <a:spcPts val="450"/>
              </a:spcAft>
              <a:buClr>
                <a:srgbClr val="FFD200"/>
              </a:buClr>
              <a:buSzPct val="70000"/>
              <a:buFontTx/>
              <a:buNone/>
              <a:tabLst/>
              <a:defRPr/>
            </a:pPr>
            <a:r>
              <a:rPr kumimoji="0" lang="en-US" sz="800" b="0" i="0" u="none" strike="noStrike" kern="0" cap="none" spc="0" normalizeH="0" baseline="0" noProof="0" dirty="0">
                <a:ln>
                  <a:noFill/>
                </a:ln>
                <a:solidFill>
                  <a:srgbClr val="FFFFFF"/>
                </a:solidFill>
                <a:effectLst/>
                <a:uLnTx/>
                <a:uFillTx/>
              </a:rPr>
              <a:t>To gathering</a:t>
            </a:r>
          </a:p>
        </p:txBody>
      </p:sp>
      <p:sp>
        <p:nvSpPr>
          <p:cNvPr id="55" name="TextBox 54">
            <a:extLst>
              <a:ext uri="{FF2B5EF4-FFF2-40B4-BE49-F238E27FC236}">
                <a16:creationId xmlns:a16="http://schemas.microsoft.com/office/drawing/2014/main" id="{57915F2F-0320-DE53-6409-4870B4BA16C2}"/>
              </a:ext>
            </a:extLst>
          </p:cNvPr>
          <p:cNvSpPr txBox="1"/>
          <p:nvPr/>
        </p:nvSpPr>
        <p:spPr>
          <a:xfrm>
            <a:off x="9755149" y="3038627"/>
            <a:ext cx="710762" cy="157323"/>
          </a:xfrm>
          <a:prstGeom prst="rect">
            <a:avLst/>
          </a:prstGeom>
          <a:noFill/>
        </p:spPr>
        <p:txBody>
          <a:bodyPr wrap="square" lIns="0" tIns="27432" rIns="0" bIns="0" rtlCol="0">
            <a:spAutoFit/>
          </a:bodyPr>
          <a:lstStyle/>
          <a:p>
            <a:pPr marL="0" marR="0" lvl="0" indent="0" defTabSz="914400" eaLnBrk="1" fontAlgn="auto" latinLnBrk="0" hangingPunct="1">
              <a:lnSpc>
                <a:spcPct val="85000"/>
              </a:lnSpc>
              <a:spcBef>
                <a:spcPts val="0"/>
              </a:spcBef>
              <a:spcAft>
                <a:spcPts val="450"/>
              </a:spcAft>
              <a:buClr>
                <a:srgbClr val="FFD200"/>
              </a:buClr>
              <a:buSzPct val="70000"/>
              <a:buFontTx/>
              <a:buNone/>
              <a:tabLst/>
              <a:defRPr/>
            </a:pPr>
            <a:r>
              <a:rPr kumimoji="0" lang="en-US" sz="800" b="0" i="0" u="none" strike="noStrike" kern="0" cap="none" spc="0" normalizeH="0" baseline="0" noProof="0" dirty="0">
                <a:ln>
                  <a:noFill/>
                </a:ln>
                <a:solidFill>
                  <a:srgbClr val="FFFFFF"/>
                </a:solidFill>
                <a:effectLst/>
                <a:uLnTx/>
                <a:uFillTx/>
              </a:rPr>
              <a:t>To storage</a:t>
            </a:r>
          </a:p>
        </p:txBody>
      </p:sp>
      <p:sp>
        <p:nvSpPr>
          <p:cNvPr id="56" name="TextBox 55">
            <a:extLst>
              <a:ext uri="{FF2B5EF4-FFF2-40B4-BE49-F238E27FC236}">
                <a16:creationId xmlns:a16="http://schemas.microsoft.com/office/drawing/2014/main" id="{EAB52753-D6B2-ADAD-499B-70A2B66456C7}"/>
              </a:ext>
            </a:extLst>
          </p:cNvPr>
          <p:cNvSpPr txBox="1"/>
          <p:nvPr/>
        </p:nvSpPr>
        <p:spPr>
          <a:xfrm>
            <a:off x="8914942" y="3370978"/>
            <a:ext cx="805802" cy="281717"/>
          </a:xfrm>
          <a:prstGeom prst="rect">
            <a:avLst/>
          </a:prstGeom>
          <a:noFill/>
        </p:spPr>
        <p:txBody>
          <a:bodyPr wrap="square" lIns="0" tIns="27432" rIns="0" bIns="0" rtlCol="0">
            <a:spAutoFit/>
          </a:bodyPr>
          <a:lstStyle/>
          <a:p>
            <a:pPr marL="0" marR="0" lvl="0" indent="0" defTabSz="914400" eaLnBrk="1" fontAlgn="auto" latinLnBrk="0" hangingPunct="1">
              <a:lnSpc>
                <a:spcPct val="85000"/>
              </a:lnSpc>
              <a:spcBef>
                <a:spcPts val="0"/>
              </a:spcBef>
              <a:spcAft>
                <a:spcPts val="450"/>
              </a:spcAft>
              <a:buClr>
                <a:srgbClr val="FFD200"/>
              </a:buClr>
              <a:buSzPct val="70000"/>
              <a:buFontTx/>
              <a:buNone/>
              <a:tabLst/>
              <a:defRPr/>
            </a:pPr>
            <a:r>
              <a:rPr kumimoji="0" lang="en-US" sz="800" b="0" i="0" u="none" strike="noStrike" kern="0" cap="none" spc="0" normalizeH="0" baseline="0" noProof="0" dirty="0">
                <a:ln>
                  <a:noFill/>
                </a:ln>
                <a:solidFill>
                  <a:srgbClr val="FFFFFF"/>
                </a:solidFill>
                <a:effectLst/>
                <a:uLnTx/>
                <a:uFillTx/>
              </a:rPr>
              <a:t>Condensate</a:t>
            </a:r>
            <a:br>
              <a:rPr kumimoji="0" lang="en-US" sz="800" b="0" i="0" u="none" strike="noStrike" kern="0" cap="none" spc="0" normalizeH="0" baseline="0" noProof="0" dirty="0">
                <a:ln>
                  <a:noFill/>
                </a:ln>
                <a:solidFill>
                  <a:srgbClr val="FFFFFF"/>
                </a:solidFill>
                <a:effectLst/>
                <a:uLnTx/>
                <a:uFillTx/>
              </a:rPr>
            </a:br>
            <a:r>
              <a:rPr kumimoji="0" lang="en-US" sz="800" b="0" i="0" u="none" strike="noStrike" kern="0" cap="none" spc="0" normalizeH="0" baseline="0" noProof="0" dirty="0">
                <a:ln>
                  <a:noFill/>
                </a:ln>
                <a:solidFill>
                  <a:srgbClr val="FFFFFF"/>
                </a:solidFill>
                <a:effectLst/>
                <a:uLnTx/>
                <a:uFillTx/>
              </a:rPr>
              <a:t>stabilizer</a:t>
            </a:r>
          </a:p>
        </p:txBody>
      </p:sp>
      <p:sp>
        <p:nvSpPr>
          <p:cNvPr id="57" name="TextBox 56">
            <a:extLst>
              <a:ext uri="{FF2B5EF4-FFF2-40B4-BE49-F238E27FC236}">
                <a16:creationId xmlns:a16="http://schemas.microsoft.com/office/drawing/2014/main" id="{1BC3E733-C6FB-8E1D-BD37-D8B22BDC5217}"/>
              </a:ext>
            </a:extLst>
          </p:cNvPr>
          <p:cNvSpPr txBox="1"/>
          <p:nvPr/>
        </p:nvSpPr>
        <p:spPr>
          <a:xfrm>
            <a:off x="7480673" y="3559855"/>
            <a:ext cx="1136522" cy="236988"/>
          </a:xfrm>
          <a:prstGeom prst="rect">
            <a:avLst/>
          </a:prstGeom>
          <a:noFill/>
        </p:spPr>
        <p:txBody>
          <a:bodyPr wrap="square" lIns="0" tIns="27432" rIns="0" bIns="0" rtlCol="0">
            <a:spAutoFit/>
          </a:bodyPr>
          <a:lstStyle/>
          <a:p>
            <a:pPr marL="0" marR="0" lvl="0" indent="0" defTabSz="914400" eaLnBrk="1" fontAlgn="auto" latinLnBrk="0" hangingPunct="1">
              <a:lnSpc>
                <a:spcPct val="85000"/>
              </a:lnSpc>
              <a:spcBef>
                <a:spcPts val="0"/>
              </a:spcBef>
              <a:spcAft>
                <a:spcPts val="450"/>
              </a:spcAft>
              <a:buClr>
                <a:srgbClr val="FFD200"/>
              </a:buClr>
              <a:buSzPct val="70000"/>
              <a:buFontTx/>
              <a:buNone/>
              <a:tabLst/>
              <a:defRPr/>
            </a:pPr>
            <a:r>
              <a:rPr kumimoji="0" lang="en-US" sz="800" b="0" i="0" u="none" strike="noStrike" kern="0" cap="none" spc="0" normalizeH="0" baseline="0" noProof="0" dirty="0">
                <a:ln>
                  <a:noFill/>
                </a:ln>
                <a:solidFill>
                  <a:srgbClr val="FFFFFF"/>
                </a:solidFill>
                <a:effectLst/>
                <a:uLnTx/>
                <a:uFillTx/>
              </a:rPr>
              <a:t>Dehydration and</a:t>
            </a:r>
            <a:br>
              <a:rPr kumimoji="0" lang="en-US" sz="800" b="0" i="0" u="none" strike="noStrike" kern="0" cap="none" spc="0" normalizeH="0" baseline="0" noProof="0" dirty="0">
                <a:ln>
                  <a:noFill/>
                </a:ln>
                <a:solidFill>
                  <a:srgbClr val="FFFFFF"/>
                </a:solidFill>
                <a:effectLst/>
                <a:uLnTx/>
                <a:uFillTx/>
              </a:rPr>
            </a:br>
            <a:r>
              <a:rPr kumimoji="0" lang="en-US" sz="800" b="0" i="0" u="none" strike="noStrike" kern="0" cap="none" spc="0" normalizeH="0" baseline="0" noProof="0" dirty="0">
                <a:ln>
                  <a:noFill/>
                </a:ln>
                <a:solidFill>
                  <a:srgbClr val="FFFFFF"/>
                </a:solidFill>
                <a:effectLst/>
                <a:uLnTx/>
                <a:uFillTx/>
              </a:rPr>
              <a:t>acid gas removal</a:t>
            </a:r>
          </a:p>
        </p:txBody>
      </p:sp>
      <p:cxnSp>
        <p:nvCxnSpPr>
          <p:cNvPr id="58" name="Straight Connector 57">
            <a:extLst>
              <a:ext uri="{FF2B5EF4-FFF2-40B4-BE49-F238E27FC236}">
                <a16:creationId xmlns:a16="http://schemas.microsoft.com/office/drawing/2014/main" id="{7A133C57-C445-F68F-8091-D471268024D8}"/>
              </a:ext>
            </a:extLst>
          </p:cNvPr>
          <p:cNvCxnSpPr/>
          <p:nvPr/>
        </p:nvCxnSpPr>
        <p:spPr>
          <a:xfrm flipV="1">
            <a:off x="9111182" y="3865028"/>
            <a:ext cx="0" cy="1245891"/>
          </a:xfrm>
          <a:prstGeom prst="line">
            <a:avLst/>
          </a:prstGeom>
          <a:noFill/>
          <a:ln w="12700" cap="flat" cmpd="sng" algn="ctr">
            <a:solidFill>
              <a:srgbClr val="FFE600"/>
            </a:solidFill>
            <a:prstDash val="solid"/>
            <a:round/>
            <a:headEnd type="none" w="med" len="med"/>
            <a:tailEnd type="none" w="med" len="med"/>
          </a:ln>
          <a:effectLst/>
        </p:spPr>
      </p:cxnSp>
      <p:cxnSp>
        <p:nvCxnSpPr>
          <p:cNvPr id="59" name="Straight Connector 58">
            <a:extLst>
              <a:ext uri="{FF2B5EF4-FFF2-40B4-BE49-F238E27FC236}">
                <a16:creationId xmlns:a16="http://schemas.microsoft.com/office/drawing/2014/main" id="{066CEBC9-5791-AF2A-19C8-B4142EE829C8}"/>
              </a:ext>
            </a:extLst>
          </p:cNvPr>
          <p:cNvCxnSpPr/>
          <p:nvPr/>
        </p:nvCxnSpPr>
        <p:spPr>
          <a:xfrm flipV="1">
            <a:off x="6790409" y="3125929"/>
            <a:ext cx="0" cy="1121321"/>
          </a:xfrm>
          <a:prstGeom prst="line">
            <a:avLst/>
          </a:prstGeom>
          <a:noFill/>
          <a:ln w="12700" cap="flat" cmpd="sng" algn="ctr">
            <a:solidFill>
              <a:srgbClr val="FFE600"/>
            </a:solidFill>
            <a:prstDash val="solid"/>
            <a:round/>
            <a:headEnd type="none" w="med" len="med"/>
            <a:tailEnd type="none" w="med" len="med"/>
          </a:ln>
          <a:effectLst/>
        </p:spPr>
      </p:cxnSp>
      <p:cxnSp>
        <p:nvCxnSpPr>
          <p:cNvPr id="60" name="Straight Connector 59">
            <a:extLst>
              <a:ext uri="{FF2B5EF4-FFF2-40B4-BE49-F238E27FC236}">
                <a16:creationId xmlns:a16="http://schemas.microsoft.com/office/drawing/2014/main" id="{FCBD1F68-78B4-A921-1C0F-6D70ECF8AEA5}"/>
              </a:ext>
            </a:extLst>
          </p:cNvPr>
          <p:cNvCxnSpPr/>
          <p:nvPr/>
        </p:nvCxnSpPr>
        <p:spPr>
          <a:xfrm flipH="1">
            <a:off x="6784266" y="4247250"/>
            <a:ext cx="2001916" cy="0"/>
          </a:xfrm>
          <a:prstGeom prst="line">
            <a:avLst/>
          </a:prstGeom>
          <a:noFill/>
          <a:ln w="12700" cap="flat" cmpd="sng" algn="ctr">
            <a:solidFill>
              <a:srgbClr val="FFE600"/>
            </a:solidFill>
            <a:prstDash val="solid"/>
            <a:round/>
            <a:headEnd type="none" w="med" len="med"/>
            <a:tailEnd type="none" w="med" len="med"/>
          </a:ln>
          <a:effectLst/>
        </p:spPr>
      </p:cxnSp>
      <p:cxnSp>
        <p:nvCxnSpPr>
          <p:cNvPr id="61" name="Straight Connector 60">
            <a:extLst>
              <a:ext uri="{FF2B5EF4-FFF2-40B4-BE49-F238E27FC236}">
                <a16:creationId xmlns:a16="http://schemas.microsoft.com/office/drawing/2014/main" id="{54E7F6D4-2B3D-2DC3-E6E8-CD431EB4C9C3}"/>
              </a:ext>
            </a:extLst>
          </p:cNvPr>
          <p:cNvCxnSpPr/>
          <p:nvPr/>
        </p:nvCxnSpPr>
        <p:spPr>
          <a:xfrm flipH="1">
            <a:off x="5529927" y="3125929"/>
            <a:ext cx="1267436" cy="0"/>
          </a:xfrm>
          <a:prstGeom prst="line">
            <a:avLst/>
          </a:prstGeom>
          <a:noFill/>
          <a:ln w="12700" cap="flat" cmpd="sng" algn="ctr">
            <a:solidFill>
              <a:srgbClr val="FFE600"/>
            </a:solidFill>
            <a:prstDash val="solid"/>
            <a:round/>
            <a:headEnd type="none" w="med" len="med"/>
            <a:tailEnd type="none" w="med" len="med"/>
          </a:ln>
          <a:effectLst/>
        </p:spPr>
      </p:cxnSp>
      <p:sp>
        <p:nvSpPr>
          <p:cNvPr id="62" name="Isosceles Triangle 61">
            <a:extLst>
              <a:ext uri="{FF2B5EF4-FFF2-40B4-BE49-F238E27FC236}">
                <a16:creationId xmlns:a16="http://schemas.microsoft.com/office/drawing/2014/main" id="{71E49D0B-539F-C1DB-D213-FDB54EB156CA}"/>
              </a:ext>
            </a:extLst>
          </p:cNvPr>
          <p:cNvSpPr>
            <a:spLocks/>
          </p:cNvSpPr>
          <p:nvPr/>
        </p:nvSpPr>
        <p:spPr>
          <a:xfrm rot="16200000">
            <a:off x="6263680" y="3080987"/>
            <a:ext cx="105416" cy="89883"/>
          </a:xfrm>
          <a:prstGeom prst="triangle">
            <a:avLst/>
          </a:prstGeom>
          <a:solidFill>
            <a:srgbClr val="FFE600"/>
          </a:solidFill>
          <a:ln w="6350" cap="flat" cmpd="sng" algn="ctr">
            <a:noFill/>
            <a:prstDash val="solid"/>
            <a:round/>
            <a:headEnd type="none" w="med" len="med"/>
            <a:tailEnd type="none" w="med" len="me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ea typeface="+mn-ea"/>
              <a:cs typeface="+mn-cs"/>
            </a:endParaRPr>
          </a:p>
        </p:txBody>
      </p:sp>
      <p:cxnSp>
        <p:nvCxnSpPr>
          <p:cNvPr id="63" name="Straight Connector 62">
            <a:extLst>
              <a:ext uri="{FF2B5EF4-FFF2-40B4-BE49-F238E27FC236}">
                <a16:creationId xmlns:a16="http://schemas.microsoft.com/office/drawing/2014/main" id="{CAD7B27F-E5D5-E053-C946-6500DFEF0CC5}"/>
              </a:ext>
            </a:extLst>
          </p:cNvPr>
          <p:cNvCxnSpPr/>
          <p:nvPr/>
        </p:nvCxnSpPr>
        <p:spPr>
          <a:xfrm>
            <a:off x="5529927" y="2489956"/>
            <a:ext cx="0" cy="1098758"/>
          </a:xfrm>
          <a:prstGeom prst="line">
            <a:avLst/>
          </a:prstGeom>
          <a:noFill/>
          <a:ln w="12700" cap="flat" cmpd="sng" algn="ctr">
            <a:solidFill>
              <a:srgbClr val="FFE600"/>
            </a:solidFill>
            <a:prstDash val="solid"/>
            <a:round/>
            <a:headEnd type="none" w="med" len="med"/>
            <a:tailEnd type="none" w="med" len="med"/>
          </a:ln>
          <a:effectLst/>
        </p:spPr>
      </p:cxnSp>
      <p:cxnSp>
        <p:nvCxnSpPr>
          <p:cNvPr id="64" name="Straight Connector 63">
            <a:extLst>
              <a:ext uri="{FF2B5EF4-FFF2-40B4-BE49-F238E27FC236}">
                <a16:creationId xmlns:a16="http://schemas.microsoft.com/office/drawing/2014/main" id="{E83B9A9B-27D5-A0D0-CFB6-23EDC08A06D1}"/>
              </a:ext>
            </a:extLst>
          </p:cNvPr>
          <p:cNvCxnSpPr/>
          <p:nvPr/>
        </p:nvCxnSpPr>
        <p:spPr>
          <a:xfrm flipH="1">
            <a:off x="4199772" y="2908443"/>
            <a:ext cx="1131524" cy="0"/>
          </a:xfrm>
          <a:prstGeom prst="line">
            <a:avLst/>
          </a:prstGeom>
          <a:noFill/>
          <a:ln w="12700" cap="flat" cmpd="sng" algn="ctr">
            <a:solidFill>
              <a:srgbClr val="FFE600"/>
            </a:solidFill>
            <a:prstDash val="solid"/>
            <a:round/>
            <a:headEnd type="none" w="med" len="med"/>
            <a:tailEnd type="none" w="med" len="med"/>
          </a:ln>
          <a:effectLst/>
        </p:spPr>
      </p:cxnSp>
      <p:cxnSp>
        <p:nvCxnSpPr>
          <p:cNvPr id="65" name="Straight Connector 64">
            <a:extLst>
              <a:ext uri="{FF2B5EF4-FFF2-40B4-BE49-F238E27FC236}">
                <a16:creationId xmlns:a16="http://schemas.microsoft.com/office/drawing/2014/main" id="{F817B7EB-E401-8BEC-EB9A-CC8DA058350D}"/>
              </a:ext>
            </a:extLst>
          </p:cNvPr>
          <p:cNvCxnSpPr/>
          <p:nvPr/>
        </p:nvCxnSpPr>
        <p:spPr>
          <a:xfrm>
            <a:off x="6238152" y="3659066"/>
            <a:ext cx="0" cy="1575704"/>
          </a:xfrm>
          <a:prstGeom prst="line">
            <a:avLst/>
          </a:prstGeom>
          <a:noFill/>
          <a:ln w="12700" cap="flat" cmpd="sng" algn="ctr">
            <a:solidFill>
              <a:srgbClr val="747480"/>
            </a:solidFill>
            <a:prstDash val="solid"/>
            <a:round/>
            <a:headEnd type="none" w="med" len="med"/>
            <a:tailEnd type="none" w="med" len="med"/>
          </a:ln>
          <a:effectLst/>
        </p:spPr>
      </p:cxnSp>
      <p:cxnSp>
        <p:nvCxnSpPr>
          <p:cNvPr id="66" name="Straight Connector 65">
            <a:extLst>
              <a:ext uri="{FF2B5EF4-FFF2-40B4-BE49-F238E27FC236}">
                <a16:creationId xmlns:a16="http://schemas.microsoft.com/office/drawing/2014/main" id="{8CB5D7AE-D63A-7718-7E94-27ADB40EAF1F}"/>
              </a:ext>
            </a:extLst>
          </p:cNvPr>
          <p:cNvCxnSpPr/>
          <p:nvPr/>
        </p:nvCxnSpPr>
        <p:spPr>
          <a:xfrm>
            <a:off x="6233996" y="5231638"/>
            <a:ext cx="400847" cy="0"/>
          </a:xfrm>
          <a:prstGeom prst="line">
            <a:avLst/>
          </a:prstGeom>
          <a:noFill/>
          <a:ln w="12700" cap="flat" cmpd="sng" algn="ctr">
            <a:solidFill>
              <a:srgbClr val="747480"/>
            </a:solidFill>
            <a:prstDash val="solid"/>
            <a:round/>
            <a:headEnd type="none" w="med" len="med"/>
            <a:tailEnd type="none" w="med" len="med"/>
          </a:ln>
          <a:effectLst/>
        </p:spPr>
      </p:cxnSp>
      <p:sp>
        <p:nvSpPr>
          <p:cNvPr id="67" name="Isosceles Triangle 66">
            <a:extLst>
              <a:ext uri="{FF2B5EF4-FFF2-40B4-BE49-F238E27FC236}">
                <a16:creationId xmlns:a16="http://schemas.microsoft.com/office/drawing/2014/main" id="{48300F5B-B7A0-9102-3FD5-38A28623F9F4}"/>
              </a:ext>
            </a:extLst>
          </p:cNvPr>
          <p:cNvSpPr/>
          <p:nvPr/>
        </p:nvSpPr>
        <p:spPr>
          <a:xfrm rot="5400000" flipH="1">
            <a:off x="6334503" y="5182726"/>
            <a:ext cx="105416" cy="89883"/>
          </a:xfrm>
          <a:prstGeom prst="triangle">
            <a:avLst/>
          </a:prstGeom>
          <a:solidFill>
            <a:srgbClr val="747480"/>
          </a:solidFill>
          <a:ln w="6350" cap="flat" cmpd="sng" algn="ctr">
            <a:noFill/>
            <a:prstDash val="solid"/>
            <a:round/>
            <a:headEnd type="none" w="med" len="med"/>
            <a:tailEnd type="none" w="med" len="me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ea typeface="+mn-ea"/>
              <a:cs typeface="+mn-cs"/>
            </a:endParaRPr>
          </a:p>
        </p:txBody>
      </p:sp>
      <p:cxnSp>
        <p:nvCxnSpPr>
          <p:cNvPr id="68" name="Straight Connector 67">
            <a:extLst>
              <a:ext uri="{FF2B5EF4-FFF2-40B4-BE49-F238E27FC236}">
                <a16:creationId xmlns:a16="http://schemas.microsoft.com/office/drawing/2014/main" id="{31D5F6DE-36E6-501F-F539-5137480DF173}"/>
              </a:ext>
            </a:extLst>
          </p:cNvPr>
          <p:cNvCxnSpPr/>
          <p:nvPr/>
        </p:nvCxnSpPr>
        <p:spPr>
          <a:xfrm>
            <a:off x="6609006" y="4842633"/>
            <a:ext cx="400847" cy="0"/>
          </a:xfrm>
          <a:prstGeom prst="line">
            <a:avLst/>
          </a:prstGeom>
          <a:noFill/>
          <a:ln w="12700" cap="flat" cmpd="sng" algn="ctr">
            <a:solidFill>
              <a:srgbClr val="747480"/>
            </a:solidFill>
            <a:prstDash val="solid"/>
            <a:round/>
            <a:headEnd type="none" w="med" len="med"/>
            <a:tailEnd type="none" w="med" len="med"/>
          </a:ln>
          <a:effectLst/>
        </p:spPr>
      </p:cxnSp>
      <p:cxnSp>
        <p:nvCxnSpPr>
          <p:cNvPr id="69" name="Straight Connector 68">
            <a:extLst>
              <a:ext uri="{FF2B5EF4-FFF2-40B4-BE49-F238E27FC236}">
                <a16:creationId xmlns:a16="http://schemas.microsoft.com/office/drawing/2014/main" id="{38183A5F-BD21-269A-F668-1C1FB30D8A02}"/>
              </a:ext>
            </a:extLst>
          </p:cNvPr>
          <p:cNvCxnSpPr/>
          <p:nvPr/>
        </p:nvCxnSpPr>
        <p:spPr>
          <a:xfrm flipV="1">
            <a:off x="7008343" y="4834219"/>
            <a:ext cx="0" cy="397419"/>
          </a:xfrm>
          <a:prstGeom prst="line">
            <a:avLst/>
          </a:prstGeom>
          <a:noFill/>
          <a:ln w="12700" cap="flat" cmpd="sng" algn="ctr">
            <a:solidFill>
              <a:srgbClr val="747480"/>
            </a:solidFill>
            <a:prstDash val="solid"/>
            <a:round/>
            <a:headEnd type="none" w="med" len="med"/>
            <a:tailEnd type="none" w="med" len="med"/>
          </a:ln>
          <a:effectLst/>
        </p:spPr>
      </p:cxnSp>
      <p:cxnSp>
        <p:nvCxnSpPr>
          <p:cNvPr id="70" name="Straight Connector 69">
            <a:extLst>
              <a:ext uri="{FF2B5EF4-FFF2-40B4-BE49-F238E27FC236}">
                <a16:creationId xmlns:a16="http://schemas.microsoft.com/office/drawing/2014/main" id="{57F74C1C-1F29-ADCE-D068-36C390C0A9DC}"/>
              </a:ext>
            </a:extLst>
          </p:cNvPr>
          <p:cNvCxnSpPr>
            <a:cxnSpLocks/>
          </p:cNvCxnSpPr>
          <p:nvPr/>
        </p:nvCxnSpPr>
        <p:spPr>
          <a:xfrm>
            <a:off x="5529927" y="4193179"/>
            <a:ext cx="0" cy="949189"/>
          </a:xfrm>
          <a:prstGeom prst="line">
            <a:avLst/>
          </a:prstGeom>
          <a:noFill/>
          <a:ln w="12700" cap="flat" cmpd="sng" algn="ctr">
            <a:solidFill>
              <a:srgbClr val="C4C4CD"/>
            </a:solidFill>
            <a:prstDash val="solid"/>
            <a:round/>
            <a:headEnd type="none" w="med" len="med"/>
            <a:tailEnd type="none" w="med" len="med"/>
          </a:ln>
          <a:effectLst/>
        </p:spPr>
      </p:cxnSp>
      <p:sp>
        <p:nvSpPr>
          <p:cNvPr id="71" name="TextBox 70">
            <a:extLst>
              <a:ext uri="{FF2B5EF4-FFF2-40B4-BE49-F238E27FC236}">
                <a16:creationId xmlns:a16="http://schemas.microsoft.com/office/drawing/2014/main" id="{F4E76461-FCD4-A3B6-5AF1-0CAD3BEE1A1E}"/>
              </a:ext>
            </a:extLst>
          </p:cNvPr>
          <p:cNvSpPr txBox="1"/>
          <p:nvPr/>
        </p:nvSpPr>
        <p:spPr>
          <a:xfrm>
            <a:off x="5004358" y="3860848"/>
            <a:ext cx="740899" cy="281717"/>
          </a:xfrm>
          <a:prstGeom prst="rect">
            <a:avLst/>
          </a:prstGeom>
          <a:noFill/>
        </p:spPr>
        <p:txBody>
          <a:bodyPr wrap="square" lIns="0" tIns="27432" rIns="0" bIns="0" rtlCol="0">
            <a:spAutoFit/>
          </a:bodyPr>
          <a:lstStyle/>
          <a:p>
            <a:pPr marL="0" marR="0" lvl="0" indent="0" algn="ctr" defTabSz="914400" eaLnBrk="1" fontAlgn="auto" latinLnBrk="0" hangingPunct="1">
              <a:lnSpc>
                <a:spcPct val="85000"/>
              </a:lnSpc>
              <a:spcBef>
                <a:spcPts val="0"/>
              </a:spcBef>
              <a:spcAft>
                <a:spcPts val="450"/>
              </a:spcAft>
              <a:buClr>
                <a:srgbClr val="FFD200"/>
              </a:buClr>
              <a:buSzPct val="70000"/>
              <a:buFontTx/>
              <a:buNone/>
              <a:tabLst/>
              <a:defRPr/>
            </a:pPr>
            <a:r>
              <a:rPr kumimoji="0" lang="en-US" sz="800" b="0" i="0" u="none" strike="noStrike" kern="0" cap="none" spc="0" normalizeH="0" baseline="0" noProof="0" dirty="0">
                <a:ln>
                  <a:noFill/>
                </a:ln>
                <a:solidFill>
                  <a:srgbClr val="FFFFFF"/>
                </a:solidFill>
                <a:effectLst/>
                <a:uLnTx/>
                <a:uFillTx/>
              </a:rPr>
              <a:t>Production</a:t>
            </a:r>
            <a:br>
              <a:rPr kumimoji="0" lang="en-US" sz="800" b="0" i="0" u="none" strike="noStrike" kern="0" cap="none" spc="0" normalizeH="0" baseline="0" noProof="0" dirty="0">
                <a:ln>
                  <a:noFill/>
                </a:ln>
                <a:solidFill>
                  <a:srgbClr val="FFFFFF"/>
                </a:solidFill>
                <a:effectLst/>
                <a:uLnTx/>
                <a:uFillTx/>
              </a:rPr>
            </a:br>
            <a:r>
              <a:rPr kumimoji="0" lang="en-US" sz="800" b="0" i="0" u="none" strike="noStrike" kern="0" cap="none" spc="0" normalizeH="0" baseline="0" noProof="0" dirty="0">
                <a:ln>
                  <a:noFill/>
                </a:ln>
                <a:solidFill>
                  <a:srgbClr val="FFFFFF"/>
                </a:solidFill>
                <a:effectLst/>
                <a:uLnTx/>
                <a:uFillTx/>
              </a:rPr>
              <a:t>separator</a:t>
            </a:r>
          </a:p>
        </p:txBody>
      </p:sp>
      <p:sp>
        <p:nvSpPr>
          <p:cNvPr id="72" name="TextBox 71">
            <a:extLst>
              <a:ext uri="{FF2B5EF4-FFF2-40B4-BE49-F238E27FC236}">
                <a16:creationId xmlns:a16="http://schemas.microsoft.com/office/drawing/2014/main" id="{1731C06F-17A8-A8F5-E214-BDC29097654A}"/>
              </a:ext>
            </a:extLst>
          </p:cNvPr>
          <p:cNvSpPr txBox="1"/>
          <p:nvPr/>
        </p:nvSpPr>
        <p:spPr>
          <a:xfrm>
            <a:off x="7480673" y="2096360"/>
            <a:ext cx="740899" cy="236988"/>
          </a:xfrm>
          <a:prstGeom prst="rect">
            <a:avLst/>
          </a:prstGeom>
          <a:noFill/>
        </p:spPr>
        <p:txBody>
          <a:bodyPr wrap="square" lIns="0" tIns="27432" rIns="0" bIns="0" rtlCol="0">
            <a:spAutoFit/>
          </a:bodyPr>
          <a:lstStyle/>
          <a:p>
            <a:pPr marL="0" marR="0" lvl="0" indent="0" defTabSz="914400" eaLnBrk="1" fontAlgn="auto" latinLnBrk="0" hangingPunct="1">
              <a:lnSpc>
                <a:spcPct val="85000"/>
              </a:lnSpc>
              <a:spcBef>
                <a:spcPts val="0"/>
              </a:spcBef>
              <a:spcAft>
                <a:spcPts val="450"/>
              </a:spcAft>
              <a:buClr>
                <a:srgbClr val="FFD200"/>
              </a:buClr>
              <a:buSzPct val="70000"/>
              <a:buFontTx/>
              <a:buNone/>
              <a:tabLst/>
              <a:defRPr/>
            </a:pPr>
            <a:r>
              <a:rPr kumimoji="0" lang="en-US" sz="800" b="0" i="0" u="none" strike="noStrike" kern="0" cap="none" spc="0" normalizeH="0" baseline="0" noProof="0" dirty="0">
                <a:ln>
                  <a:noFill/>
                </a:ln>
                <a:solidFill>
                  <a:srgbClr val="FFFFFF"/>
                </a:solidFill>
                <a:effectLst/>
                <a:uLnTx/>
                <a:uFillTx/>
              </a:rPr>
              <a:t>Low-temp</a:t>
            </a:r>
            <a:br>
              <a:rPr kumimoji="0" lang="en-US" sz="800" b="0" i="0" u="none" strike="noStrike" kern="0" cap="none" spc="0" normalizeH="0" baseline="0" noProof="0" dirty="0">
                <a:ln>
                  <a:noFill/>
                </a:ln>
                <a:solidFill>
                  <a:srgbClr val="FFFFFF"/>
                </a:solidFill>
                <a:effectLst/>
                <a:uLnTx/>
                <a:uFillTx/>
              </a:rPr>
            </a:br>
            <a:r>
              <a:rPr kumimoji="0" lang="en-US" sz="800" b="0" i="0" u="none" strike="noStrike" kern="0" cap="none" spc="0" normalizeH="0" baseline="0" noProof="0" dirty="0">
                <a:ln>
                  <a:noFill/>
                </a:ln>
                <a:solidFill>
                  <a:srgbClr val="FFFFFF"/>
                </a:solidFill>
                <a:effectLst/>
                <a:uLnTx/>
                <a:uFillTx/>
              </a:rPr>
              <a:t>separator</a:t>
            </a:r>
          </a:p>
        </p:txBody>
      </p:sp>
      <p:sp>
        <p:nvSpPr>
          <p:cNvPr id="73" name="TextBox 72">
            <a:extLst>
              <a:ext uri="{FF2B5EF4-FFF2-40B4-BE49-F238E27FC236}">
                <a16:creationId xmlns:a16="http://schemas.microsoft.com/office/drawing/2014/main" id="{763FB7BB-ADBD-DCBB-6BF3-24DED3609F12}"/>
              </a:ext>
            </a:extLst>
          </p:cNvPr>
          <p:cNvSpPr txBox="1"/>
          <p:nvPr/>
        </p:nvSpPr>
        <p:spPr>
          <a:xfrm>
            <a:off x="8709939" y="6506802"/>
            <a:ext cx="418441" cy="157323"/>
          </a:xfrm>
          <a:prstGeom prst="rect">
            <a:avLst/>
          </a:prstGeom>
          <a:noFill/>
        </p:spPr>
        <p:txBody>
          <a:bodyPr wrap="square" lIns="0" tIns="27432" rIns="0" bIns="0" rtlCol="0">
            <a:spAutoFit/>
          </a:bodyPr>
          <a:lstStyle/>
          <a:p>
            <a:pPr marL="0" marR="0" lvl="0" indent="0" defTabSz="914400" eaLnBrk="1" fontAlgn="auto" latinLnBrk="0" hangingPunct="1">
              <a:lnSpc>
                <a:spcPct val="85000"/>
              </a:lnSpc>
              <a:spcBef>
                <a:spcPts val="0"/>
              </a:spcBef>
              <a:spcAft>
                <a:spcPts val="450"/>
              </a:spcAft>
              <a:buClr>
                <a:srgbClr val="FFD200"/>
              </a:buClr>
              <a:buSzPct val="70000"/>
              <a:buFontTx/>
              <a:buNone/>
              <a:tabLst/>
              <a:defRPr/>
            </a:pPr>
            <a:r>
              <a:rPr kumimoji="0" lang="en-US" sz="800" b="0" i="0" u="none" strike="noStrike" kern="0" cap="none" spc="0" normalizeH="0" baseline="0" noProof="0" dirty="0">
                <a:ln>
                  <a:noFill/>
                </a:ln>
                <a:solidFill>
                  <a:srgbClr val="FFFFFF"/>
                </a:solidFill>
                <a:effectLst/>
                <a:uLnTx/>
                <a:uFillTx/>
              </a:rPr>
              <a:t>LACT</a:t>
            </a:r>
          </a:p>
        </p:txBody>
      </p:sp>
      <p:cxnSp>
        <p:nvCxnSpPr>
          <p:cNvPr id="74" name="Straight Connector 73">
            <a:extLst>
              <a:ext uri="{FF2B5EF4-FFF2-40B4-BE49-F238E27FC236}">
                <a16:creationId xmlns:a16="http://schemas.microsoft.com/office/drawing/2014/main" id="{7E84C58B-8100-DFC3-A9A2-1A8A7971AF1B}"/>
              </a:ext>
            </a:extLst>
          </p:cNvPr>
          <p:cNvCxnSpPr/>
          <p:nvPr/>
        </p:nvCxnSpPr>
        <p:spPr>
          <a:xfrm>
            <a:off x="8806224" y="2846228"/>
            <a:ext cx="322156" cy="0"/>
          </a:xfrm>
          <a:prstGeom prst="line">
            <a:avLst/>
          </a:prstGeom>
          <a:noFill/>
          <a:ln w="12700" cap="flat" cmpd="sng" algn="ctr">
            <a:solidFill>
              <a:srgbClr val="FFE600"/>
            </a:solidFill>
            <a:prstDash val="solid"/>
            <a:round/>
            <a:headEnd type="none" w="med" len="med"/>
            <a:tailEnd type="none" w="med" len="med"/>
          </a:ln>
          <a:effectLst/>
        </p:spPr>
      </p:cxnSp>
      <p:sp>
        <p:nvSpPr>
          <p:cNvPr id="75" name="Isosceles Triangle 74">
            <a:extLst>
              <a:ext uri="{FF2B5EF4-FFF2-40B4-BE49-F238E27FC236}">
                <a16:creationId xmlns:a16="http://schemas.microsoft.com/office/drawing/2014/main" id="{B6711C7B-15DD-E30F-9815-44AFFE556801}"/>
              </a:ext>
            </a:extLst>
          </p:cNvPr>
          <p:cNvSpPr/>
          <p:nvPr/>
        </p:nvSpPr>
        <p:spPr>
          <a:xfrm rot="5400000" flipH="1">
            <a:off x="4802742" y="3614125"/>
            <a:ext cx="105416" cy="89883"/>
          </a:xfrm>
          <a:prstGeom prst="triangle">
            <a:avLst/>
          </a:prstGeom>
          <a:solidFill>
            <a:schemeClr val="bg1"/>
          </a:solidFill>
          <a:ln w="12700" cap="flat" cmpd="sng" algn="ctr">
            <a:solidFill>
              <a:srgbClr val="333333"/>
            </a:solid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ea typeface="+mn-ea"/>
              <a:cs typeface="+mn-cs"/>
            </a:endParaRPr>
          </a:p>
        </p:txBody>
      </p:sp>
      <p:cxnSp>
        <p:nvCxnSpPr>
          <p:cNvPr id="76" name="Straight Connector 75">
            <a:extLst>
              <a:ext uri="{FF2B5EF4-FFF2-40B4-BE49-F238E27FC236}">
                <a16:creationId xmlns:a16="http://schemas.microsoft.com/office/drawing/2014/main" id="{95B64F84-ACDF-0C0B-D232-093ECFFC63C6}"/>
              </a:ext>
            </a:extLst>
          </p:cNvPr>
          <p:cNvCxnSpPr/>
          <p:nvPr/>
        </p:nvCxnSpPr>
        <p:spPr>
          <a:xfrm>
            <a:off x="3156419" y="3654660"/>
            <a:ext cx="0" cy="856420"/>
          </a:xfrm>
          <a:prstGeom prst="line">
            <a:avLst/>
          </a:prstGeom>
          <a:noFill/>
          <a:ln w="12700" cap="flat" cmpd="sng" algn="ctr">
            <a:solidFill>
              <a:srgbClr val="FFFFFF"/>
            </a:solidFill>
            <a:prstDash val="solid"/>
            <a:tailEnd type="none"/>
          </a:ln>
          <a:effectLst/>
        </p:spPr>
      </p:cxnSp>
      <p:cxnSp>
        <p:nvCxnSpPr>
          <p:cNvPr id="77" name="Straight Connector 76">
            <a:extLst>
              <a:ext uri="{FF2B5EF4-FFF2-40B4-BE49-F238E27FC236}">
                <a16:creationId xmlns:a16="http://schemas.microsoft.com/office/drawing/2014/main" id="{6CD1EAF3-908A-C2FC-2002-DB3C0C0C802C}"/>
              </a:ext>
            </a:extLst>
          </p:cNvPr>
          <p:cNvCxnSpPr/>
          <p:nvPr/>
        </p:nvCxnSpPr>
        <p:spPr>
          <a:xfrm flipV="1">
            <a:off x="3154844" y="4714290"/>
            <a:ext cx="3085757" cy="1"/>
          </a:xfrm>
          <a:prstGeom prst="line">
            <a:avLst/>
          </a:prstGeom>
          <a:noFill/>
          <a:ln w="12700" cap="flat" cmpd="sng" algn="ctr">
            <a:solidFill>
              <a:srgbClr val="747480"/>
            </a:solidFill>
            <a:prstDash val="solid"/>
            <a:round/>
            <a:headEnd type="none" w="med" len="med"/>
            <a:tailEnd type="none" w="med" len="med"/>
          </a:ln>
          <a:effectLst/>
        </p:spPr>
      </p:cxnSp>
      <p:sp>
        <p:nvSpPr>
          <p:cNvPr id="78" name="Isosceles Triangle 77">
            <a:extLst>
              <a:ext uri="{FF2B5EF4-FFF2-40B4-BE49-F238E27FC236}">
                <a16:creationId xmlns:a16="http://schemas.microsoft.com/office/drawing/2014/main" id="{D0CD26D1-29D7-9857-D553-AEF8C6766BD1}"/>
              </a:ext>
            </a:extLst>
          </p:cNvPr>
          <p:cNvSpPr/>
          <p:nvPr/>
        </p:nvSpPr>
        <p:spPr>
          <a:xfrm rot="5400000" flipH="1">
            <a:off x="4533331" y="4669347"/>
            <a:ext cx="105416" cy="89883"/>
          </a:xfrm>
          <a:prstGeom prst="triangle">
            <a:avLst/>
          </a:prstGeom>
          <a:solidFill>
            <a:srgbClr val="747480"/>
          </a:solidFill>
          <a:ln w="6350" cap="flat" cmpd="sng" algn="ctr">
            <a:noFill/>
            <a:prstDash val="solid"/>
            <a:round/>
            <a:headEnd type="none" w="med" len="med"/>
            <a:tailEnd type="none" w="med" len="me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ea typeface="+mn-ea"/>
              <a:cs typeface="+mn-cs"/>
            </a:endParaRPr>
          </a:p>
        </p:txBody>
      </p:sp>
      <p:cxnSp>
        <p:nvCxnSpPr>
          <p:cNvPr id="79" name="Straight Connector 78">
            <a:extLst>
              <a:ext uri="{FF2B5EF4-FFF2-40B4-BE49-F238E27FC236}">
                <a16:creationId xmlns:a16="http://schemas.microsoft.com/office/drawing/2014/main" id="{54489696-AAA6-B16C-7F1E-D291A8B44769}"/>
              </a:ext>
            </a:extLst>
          </p:cNvPr>
          <p:cNvCxnSpPr/>
          <p:nvPr/>
        </p:nvCxnSpPr>
        <p:spPr>
          <a:xfrm>
            <a:off x="4049568" y="4367408"/>
            <a:ext cx="676759" cy="0"/>
          </a:xfrm>
          <a:prstGeom prst="line">
            <a:avLst/>
          </a:prstGeom>
          <a:noFill/>
          <a:ln w="12700" cap="flat" cmpd="sng" algn="ctr">
            <a:solidFill>
              <a:srgbClr val="FFE600"/>
            </a:solidFill>
            <a:prstDash val="solid"/>
            <a:round/>
            <a:headEnd type="none" w="med" len="med"/>
            <a:tailEnd type="none" w="med" len="med"/>
          </a:ln>
          <a:effectLst/>
        </p:spPr>
      </p:cxnSp>
      <p:cxnSp>
        <p:nvCxnSpPr>
          <p:cNvPr id="80" name="Straight Connector 79">
            <a:extLst>
              <a:ext uri="{FF2B5EF4-FFF2-40B4-BE49-F238E27FC236}">
                <a16:creationId xmlns:a16="http://schemas.microsoft.com/office/drawing/2014/main" id="{181F7CE7-8C1A-B638-EE82-D73E592A99EE}"/>
              </a:ext>
            </a:extLst>
          </p:cNvPr>
          <p:cNvCxnSpPr/>
          <p:nvPr/>
        </p:nvCxnSpPr>
        <p:spPr>
          <a:xfrm>
            <a:off x="4055602" y="4363889"/>
            <a:ext cx="0" cy="350090"/>
          </a:xfrm>
          <a:prstGeom prst="line">
            <a:avLst/>
          </a:prstGeom>
          <a:noFill/>
          <a:ln w="12700" cap="flat" cmpd="sng" algn="ctr">
            <a:solidFill>
              <a:srgbClr val="FFE600"/>
            </a:solidFill>
            <a:prstDash val="solid"/>
            <a:round/>
            <a:headEnd type="none" w="med" len="med"/>
            <a:tailEnd type="none" w="med" len="med"/>
          </a:ln>
          <a:effectLst/>
        </p:spPr>
      </p:cxnSp>
      <p:sp>
        <p:nvSpPr>
          <p:cNvPr id="81" name="Isosceles Triangle 80">
            <a:extLst>
              <a:ext uri="{FF2B5EF4-FFF2-40B4-BE49-F238E27FC236}">
                <a16:creationId xmlns:a16="http://schemas.microsoft.com/office/drawing/2014/main" id="{68E0491D-6922-9C7B-0070-1A0DBAA6B3E4}"/>
              </a:ext>
            </a:extLst>
          </p:cNvPr>
          <p:cNvSpPr>
            <a:spLocks/>
          </p:cNvSpPr>
          <p:nvPr/>
        </p:nvSpPr>
        <p:spPr>
          <a:xfrm rot="5400000" flipH="1">
            <a:off x="4533331" y="4322466"/>
            <a:ext cx="105416" cy="89883"/>
          </a:xfrm>
          <a:prstGeom prst="triangle">
            <a:avLst/>
          </a:prstGeom>
          <a:solidFill>
            <a:srgbClr val="FFE600"/>
          </a:solidFill>
          <a:ln w="6350" cap="flat" cmpd="sng" algn="ctr">
            <a:noFill/>
            <a:prstDash val="solid"/>
            <a:round/>
            <a:headEnd type="none" w="med" len="med"/>
            <a:tailEnd type="none" w="med" len="me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ea typeface="+mn-ea"/>
              <a:cs typeface="+mn-cs"/>
            </a:endParaRPr>
          </a:p>
        </p:txBody>
      </p:sp>
      <p:cxnSp>
        <p:nvCxnSpPr>
          <p:cNvPr id="82" name="Straight Connector 81">
            <a:extLst>
              <a:ext uri="{FF2B5EF4-FFF2-40B4-BE49-F238E27FC236}">
                <a16:creationId xmlns:a16="http://schemas.microsoft.com/office/drawing/2014/main" id="{AEEB19F5-6894-CB93-7F72-F0BFE9D8B204}"/>
              </a:ext>
            </a:extLst>
          </p:cNvPr>
          <p:cNvCxnSpPr/>
          <p:nvPr/>
        </p:nvCxnSpPr>
        <p:spPr>
          <a:xfrm>
            <a:off x="1911878" y="5081190"/>
            <a:ext cx="1190358" cy="0"/>
          </a:xfrm>
          <a:prstGeom prst="line">
            <a:avLst/>
          </a:prstGeom>
          <a:noFill/>
          <a:ln w="12700" cap="flat" cmpd="sng" algn="ctr">
            <a:solidFill>
              <a:schemeClr val="bg1"/>
            </a:solidFill>
            <a:prstDash val="solid"/>
            <a:tailEnd type="none"/>
          </a:ln>
          <a:effectLst/>
        </p:spPr>
      </p:cxnSp>
      <p:sp>
        <p:nvSpPr>
          <p:cNvPr id="83" name="Isosceles Triangle 82">
            <a:extLst>
              <a:ext uri="{FF2B5EF4-FFF2-40B4-BE49-F238E27FC236}">
                <a16:creationId xmlns:a16="http://schemas.microsoft.com/office/drawing/2014/main" id="{29186941-AE14-2FD6-01CF-2E962D2B5CA3}"/>
              </a:ext>
            </a:extLst>
          </p:cNvPr>
          <p:cNvSpPr/>
          <p:nvPr/>
        </p:nvSpPr>
        <p:spPr>
          <a:xfrm rot="5400000" flipH="1">
            <a:off x="2894476" y="5036248"/>
            <a:ext cx="105416" cy="89883"/>
          </a:xfrm>
          <a:prstGeom prst="triangle">
            <a:avLst/>
          </a:prstGeom>
          <a:solidFill>
            <a:schemeClr val="bg1"/>
          </a:solidFill>
          <a:ln w="12700" cap="flat" cmpd="sng" algn="ctr">
            <a:solidFill>
              <a:srgbClr val="333333"/>
            </a:solid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ea typeface="+mn-ea"/>
              <a:cs typeface="+mn-cs"/>
            </a:endParaRPr>
          </a:p>
        </p:txBody>
      </p:sp>
      <p:sp>
        <p:nvSpPr>
          <p:cNvPr id="84" name="TextBox 83">
            <a:extLst>
              <a:ext uri="{FF2B5EF4-FFF2-40B4-BE49-F238E27FC236}">
                <a16:creationId xmlns:a16="http://schemas.microsoft.com/office/drawing/2014/main" id="{C635D80D-CBB9-B9C5-5955-E2900EBFDD76}"/>
              </a:ext>
            </a:extLst>
          </p:cNvPr>
          <p:cNvSpPr txBox="1">
            <a:spLocks/>
          </p:cNvSpPr>
          <p:nvPr/>
        </p:nvSpPr>
        <p:spPr>
          <a:xfrm>
            <a:off x="9386538" y="4721653"/>
            <a:ext cx="1008871" cy="327150"/>
          </a:xfrm>
          <a:prstGeom prst="rect">
            <a:avLst/>
          </a:prstGeom>
          <a:noFill/>
          <a:ln w="9525" cap="flat" cmpd="sng" algn="ctr">
            <a:solidFill>
              <a:srgbClr val="C4C4CD"/>
            </a:solidFill>
            <a:prstDash val="lgDash"/>
            <a:round/>
            <a:headEnd type="none" w="med" len="med"/>
            <a:tailEnd type="none" w="med" len="med"/>
          </a:ln>
          <a:extLst>
            <a:ext uri="{909E8E84-426E-40DD-AFC4-6F175D3DCCD1}">
              <a14:hiddenFill xmlns:a14="http://schemas.microsoft.com/office/drawing/2010/main">
                <a:solidFill>
                  <a:srgbClr val="747480"/>
                </a:solidFill>
              </a14:hiddenFill>
            </a:ext>
          </a:extLst>
        </p:spPr>
        <p:txBody>
          <a:bodyPr wrap="square" lIns="91440" tIns="34290" rIns="34290" bIns="34290" rtlCol="0" anchor="ctr" anchorCtr="0">
            <a:noAutofit/>
          </a:bodyPr>
          <a:lstStyle>
            <a:defPPr>
              <a:defRPr lang="en-US"/>
            </a:defPPr>
            <a:lvl1pPr>
              <a:lnSpc>
                <a:spcPct val="85000"/>
              </a:lnSpc>
              <a:spcAft>
                <a:spcPts val="600"/>
              </a:spcAft>
              <a:buClr>
                <a:schemeClr val="accent2"/>
              </a:buClr>
              <a:buSzPct val="70000"/>
              <a:defRPr sz="900" b="1">
                <a:latin typeface="+mj-lt"/>
              </a:defRPr>
            </a:lvl1pPr>
          </a:lstStyle>
          <a:p>
            <a:pPr marL="0" marR="0" lvl="0" indent="0" defTabSz="914400" eaLnBrk="1" fontAlgn="auto" latinLnBrk="0" hangingPunct="1">
              <a:lnSpc>
                <a:spcPct val="100000"/>
              </a:lnSpc>
              <a:spcBef>
                <a:spcPts val="0"/>
              </a:spcBef>
              <a:spcAft>
                <a:spcPts val="0"/>
              </a:spcAft>
              <a:buClr>
                <a:srgbClr val="FFD200"/>
              </a:buClr>
              <a:buSzPct val="70000"/>
              <a:buFontTx/>
              <a:buNone/>
              <a:tabLst/>
              <a:defRPr/>
            </a:pPr>
            <a:r>
              <a:rPr kumimoji="0" lang="en-US" sz="800" b="1" i="0" u="none" strike="noStrike" kern="0" cap="none" spc="0" normalizeH="0" baseline="0" noProof="0" dirty="0">
                <a:ln>
                  <a:noFill/>
                </a:ln>
                <a:solidFill>
                  <a:schemeClr val="bg1"/>
                </a:solidFill>
                <a:effectLst/>
                <a:uLnTx/>
                <a:uFillTx/>
                <a:latin typeface="+mn-lt"/>
              </a:rPr>
              <a:t>Gathering and custody transfer</a:t>
            </a:r>
          </a:p>
        </p:txBody>
      </p:sp>
      <p:cxnSp>
        <p:nvCxnSpPr>
          <p:cNvPr id="85" name="Straight Connector 84">
            <a:extLst>
              <a:ext uri="{FF2B5EF4-FFF2-40B4-BE49-F238E27FC236}">
                <a16:creationId xmlns:a16="http://schemas.microsoft.com/office/drawing/2014/main" id="{F192C21A-8ABF-CE2F-B1ED-F1933949C0AA}"/>
              </a:ext>
            </a:extLst>
          </p:cNvPr>
          <p:cNvCxnSpPr/>
          <p:nvPr/>
        </p:nvCxnSpPr>
        <p:spPr>
          <a:xfrm flipV="1">
            <a:off x="9463735" y="5231639"/>
            <a:ext cx="0" cy="553029"/>
          </a:xfrm>
          <a:prstGeom prst="line">
            <a:avLst/>
          </a:prstGeom>
          <a:noFill/>
          <a:ln w="12700" cap="flat" cmpd="sng" algn="ctr">
            <a:solidFill>
              <a:srgbClr val="747480"/>
            </a:solidFill>
            <a:prstDash val="solid"/>
            <a:round/>
            <a:headEnd type="none" w="med" len="med"/>
            <a:tailEnd type="none" w="med" len="med"/>
          </a:ln>
          <a:effectLst/>
        </p:spPr>
      </p:cxnSp>
      <p:cxnSp>
        <p:nvCxnSpPr>
          <p:cNvPr id="86" name="Straight Connector 85">
            <a:extLst>
              <a:ext uri="{FF2B5EF4-FFF2-40B4-BE49-F238E27FC236}">
                <a16:creationId xmlns:a16="http://schemas.microsoft.com/office/drawing/2014/main" id="{87A79C13-C650-53F9-4C7D-B3C6EF01D181}"/>
              </a:ext>
            </a:extLst>
          </p:cNvPr>
          <p:cNvCxnSpPr/>
          <p:nvPr/>
        </p:nvCxnSpPr>
        <p:spPr>
          <a:xfrm>
            <a:off x="8574673" y="5791372"/>
            <a:ext cx="898115" cy="0"/>
          </a:xfrm>
          <a:prstGeom prst="line">
            <a:avLst/>
          </a:prstGeom>
          <a:noFill/>
          <a:ln w="12700" cap="flat" cmpd="sng" algn="ctr">
            <a:solidFill>
              <a:srgbClr val="747480"/>
            </a:solidFill>
            <a:prstDash val="solid"/>
            <a:round/>
            <a:headEnd type="none" w="med" len="med"/>
            <a:tailEnd type="none" w="med" len="med"/>
          </a:ln>
          <a:effectLst/>
        </p:spPr>
      </p:cxnSp>
      <p:cxnSp>
        <p:nvCxnSpPr>
          <p:cNvPr id="87" name="Straight Connector 86">
            <a:extLst>
              <a:ext uri="{FF2B5EF4-FFF2-40B4-BE49-F238E27FC236}">
                <a16:creationId xmlns:a16="http://schemas.microsoft.com/office/drawing/2014/main" id="{34A75D7A-397C-F7E8-1796-18F659051342}"/>
              </a:ext>
            </a:extLst>
          </p:cNvPr>
          <p:cNvCxnSpPr/>
          <p:nvPr/>
        </p:nvCxnSpPr>
        <p:spPr>
          <a:xfrm flipV="1">
            <a:off x="8446500" y="5334360"/>
            <a:ext cx="0" cy="1026225"/>
          </a:xfrm>
          <a:prstGeom prst="line">
            <a:avLst/>
          </a:prstGeom>
          <a:noFill/>
          <a:ln w="12700" cap="flat" cmpd="sng" algn="ctr">
            <a:solidFill>
              <a:srgbClr val="747480"/>
            </a:solidFill>
            <a:prstDash val="solid"/>
            <a:round/>
            <a:headEnd type="none" w="med" len="med"/>
            <a:tailEnd type="none" w="med" len="med"/>
          </a:ln>
          <a:effectLst/>
        </p:spPr>
      </p:cxnSp>
      <p:cxnSp>
        <p:nvCxnSpPr>
          <p:cNvPr id="88" name="Straight Connector 87">
            <a:extLst>
              <a:ext uri="{FF2B5EF4-FFF2-40B4-BE49-F238E27FC236}">
                <a16:creationId xmlns:a16="http://schemas.microsoft.com/office/drawing/2014/main" id="{85837491-FFD5-F093-04C1-207012C8EC19}"/>
              </a:ext>
            </a:extLst>
          </p:cNvPr>
          <p:cNvCxnSpPr/>
          <p:nvPr/>
        </p:nvCxnSpPr>
        <p:spPr>
          <a:xfrm>
            <a:off x="8446500" y="5338416"/>
            <a:ext cx="466643" cy="0"/>
          </a:xfrm>
          <a:prstGeom prst="line">
            <a:avLst/>
          </a:prstGeom>
          <a:noFill/>
          <a:ln w="12700" cap="flat" cmpd="sng" algn="ctr">
            <a:solidFill>
              <a:srgbClr val="747480"/>
            </a:solidFill>
            <a:prstDash val="solid"/>
            <a:round/>
            <a:headEnd type="none" w="med" len="med"/>
            <a:tailEnd type="none" w="med" len="med"/>
          </a:ln>
          <a:effectLst/>
        </p:spPr>
      </p:cxnSp>
      <p:cxnSp>
        <p:nvCxnSpPr>
          <p:cNvPr id="89" name="Straight Connector 88">
            <a:extLst>
              <a:ext uri="{FF2B5EF4-FFF2-40B4-BE49-F238E27FC236}">
                <a16:creationId xmlns:a16="http://schemas.microsoft.com/office/drawing/2014/main" id="{2F346346-61B4-02C4-B656-17643800E67E}"/>
              </a:ext>
            </a:extLst>
          </p:cNvPr>
          <p:cNvCxnSpPr/>
          <p:nvPr/>
        </p:nvCxnSpPr>
        <p:spPr>
          <a:xfrm>
            <a:off x="7818766" y="6360585"/>
            <a:ext cx="635733" cy="0"/>
          </a:xfrm>
          <a:prstGeom prst="line">
            <a:avLst/>
          </a:prstGeom>
          <a:noFill/>
          <a:ln w="12700" cap="flat" cmpd="sng" algn="ctr">
            <a:solidFill>
              <a:srgbClr val="747480"/>
            </a:solidFill>
            <a:prstDash val="solid"/>
            <a:round/>
            <a:headEnd type="none" w="med" len="med"/>
            <a:tailEnd type="none" w="med" len="med"/>
          </a:ln>
          <a:effectLst/>
        </p:spPr>
      </p:cxnSp>
      <p:sp>
        <p:nvSpPr>
          <p:cNvPr id="90" name="Isosceles Triangle 89">
            <a:extLst>
              <a:ext uri="{FF2B5EF4-FFF2-40B4-BE49-F238E27FC236}">
                <a16:creationId xmlns:a16="http://schemas.microsoft.com/office/drawing/2014/main" id="{03F47B73-C406-DD36-BE68-F49F3D5745E6}"/>
              </a:ext>
            </a:extLst>
          </p:cNvPr>
          <p:cNvSpPr>
            <a:spLocks/>
          </p:cNvSpPr>
          <p:nvPr/>
        </p:nvSpPr>
        <p:spPr>
          <a:xfrm rot="16200000">
            <a:off x="7120307" y="4202307"/>
            <a:ext cx="105416" cy="89883"/>
          </a:xfrm>
          <a:prstGeom prst="triangle">
            <a:avLst/>
          </a:prstGeom>
          <a:solidFill>
            <a:srgbClr val="FFE600"/>
          </a:solidFill>
          <a:ln w="6350" cap="flat" cmpd="sng" algn="ctr">
            <a:noFill/>
            <a:prstDash val="solid"/>
            <a:round/>
            <a:headEnd type="none" w="med" len="med"/>
            <a:tailEnd type="none" w="med" len="me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ea typeface="+mn-ea"/>
              <a:cs typeface="+mn-cs"/>
            </a:endParaRPr>
          </a:p>
        </p:txBody>
      </p:sp>
      <p:cxnSp>
        <p:nvCxnSpPr>
          <p:cNvPr id="91" name="Straight Connector 90">
            <a:extLst>
              <a:ext uri="{FF2B5EF4-FFF2-40B4-BE49-F238E27FC236}">
                <a16:creationId xmlns:a16="http://schemas.microsoft.com/office/drawing/2014/main" id="{21DD1120-CA61-A02B-1CB5-A4D86CFF845F}"/>
              </a:ext>
            </a:extLst>
          </p:cNvPr>
          <p:cNvCxnSpPr/>
          <p:nvPr/>
        </p:nvCxnSpPr>
        <p:spPr>
          <a:xfrm>
            <a:off x="9181102" y="6269065"/>
            <a:ext cx="741751" cy="0"/>
          </a:xfrm>
          <a:prstGeom prst="line">
            <a:avLst/>
          </a:prstGeom>
          <a:noFill/>
          <a:ln w="12700" cap="flat" cmpd="sng" algn="ctr">
            <a:solidFill>
              <a:srgbClr val="747480"/>
            </a:solidFill>
            <a:prstDash val="solid"/>
            <a:round/>
            <a:headEnd type="none" w="med" len="med"/>
            <a:tailEnd type="none" w="med" len="med"/>
          </a:ln>
          <a:effectLst/>
        </p:spPr>
      </p:cxnSp>
      <p:sp>
        <p:nvSpPr>
          <p:cNvPr id="92" name="Isosceles Triangle 91">
            <a:extLst>
              <a:ext uri="{FF2B5EF4-FFF2-40B4-BE49-F238E27FC236}">
                <a16:creationId xmlns:a16="http://schemas.microsoft.com/office/drawing/2014/main" id="{5C70B2EA-D158-FB82-AB3E-65CD104043D9}"/>
              </a:ext>
            </a:extLst>
          </p:cNvPr>
          <p:cNvSpPr/>
          <p:nvPr/>
        </p:nvSpPr>
        <p:spPr>
          <a:xfrm rot="5400000" flipH="1">
            <a:off x="9591076" y="6224122"/>
            <a:ext cx="105416" cy="89883"/>
          </a:xfrm>
          <a:prstGeom prst="triangle">
            <a:avLst/>
          </a:prstGeom>
          <a:solidFill>
            <a:srgbClr val="747480"/>
          </a:solidFill>
          <a:ln w="6350" cap="flat" cmpd="sng" algn="ctr">
            <a:noFill/>
            <a:prstDash val="solid"/>
            <a:round/>
            <a:headEnd type="none" w="med" len="med"/>
            <a:tailEnd type="none" w="med" len="me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ea typeface="+mn-ea"/>
              <a:cs typeface="+mn-cs"/>
            </a:endParaRPr>
          </a:p>
        </p:txBody>
      </p:sp>
      <p:sp>
        <p:nvSpPr>
          <p:cNvPr id="93" name="TextBox 92">
            <a:extLst>
              <a:ext uri="{FF2B5EF4-FFF2-40B4-BE49-F238E27FC236}">
                <a16:creationId xmlns:a16="http://schemas.microsoft.com/office/drawing/2014/main" id="{F27A94FC-1933-BE5F-34BE-46E34CE95373}"/>
              </a:ext>
            </a:extLst>
          </p:cNvPr>
          <p:cNvSpPr txBox="1"/>
          <p:nvPr/>
        </p:nvSpPr>
        <p:spPr>
          <a:xfrm>
            <a:off x="9598842" y="6506802"/>
            <a:ext cx="715256" cy="157323"/>
          </a:xfrm>
          <a:prstGeom prst="rect">
            <a:avLst/>
          </a:prstGeom>
          <a:noFill/>
        </p:spPr>
        <p:txBody>
          <a:bodyPr wrap="square" lIns="0" tIns="27432" rIns="0" bIns="0" rtlCol="0">
            <a:spAutoFit/>
          </a:bodyPr>
          <a:lstStyle/>
          <a:p>
            <a:pPr marL="0" marR="0" lvl="0" indent="0" defTabSz="914400" eaLnBrk="1" fontAlgn="auto" latinLnBrk="0" hangingPunct="1">
              <a:lnSpc>
                <a:spcPct val="85000"/>
              </a:lnSpc>
              <a:spcBef>
                <a:spcPts val="0"/>
              </a:spcBef>
              <a:spcAft>
                <a:spcPts val="450"/>
              </a:spcAft>
              <a:buClr>
                <a:srgbClr val="FFD200"/>
              </a:buClr>
              <a:buSzPct val="70000"/>
              <a:buFontTx/>
              <a:buNone/>
              <a:tabLst/>
              <a:defRPr/>
            </a:pPr>
            <a:r>
              <a:rPr kumimoji="0" lang="en-US" sz="800" b="0" i="0" u="none" strike="noStrike" kern="0" cap="none" spc="0" normalizeH="0" baseline="0" noProof="0" dirty="0">
                <a:ln>
                  <a:noFill/>
                </a:ln>
                <a:solidFill>
                  <a:srgbClr val="FFFFFF"/>
                </a:solidFill>
                <a:effectLst/>
                <a:uLnTx/>
                <a:uFillTx/>
              </a:rPr>
              <a:t>To pipeline</a:t>
            </a:r>
          </a:p>
        </p:txBody>
      </p:sp>
      <p:sp>
        <p:nvSpPr>
          <p:cNvPr id="94" name="TextBox 93">
            <a:extLst>
              <a:ext uri="{FF2B5EF4-FFF2-40B4-BE49-F238E27FC236}">
                <a16:creationId xmlns:a16="http://schemas.microsoft.com/office/drawing/2014/main" id="{90FEC4D9-3A2B-0C94-2A62-DE194A93C692}"/>
              </a:ext>
            </a:extLst>
          </p:cNvPr>
          <p:cNvSpPr txBox="1"/>
          <p:nvPr/>
        </p:nvSpPr>
        <p:spPr>
          <a:xfrm>
            <a:off x="4698522" y="5498908"/>
            <a:ext cx="737321" cy="281717"/>
          </a:xfrm>
          <a:prstGeom prst="rect">
            <a:avLst/>
          </a:prstGeom>
          <a:noFill/>
        </p:spPr>
        <p:txBody>
          <a:bodyPr wrap="square" lIns="0" tIns="27432" rIns="0" bIns="0" rtlCol="0">
            <a:spAutoFit/>
          </a:bodyPr>
          <a:lstStyle/>
          <a:p>
            <a:pPr marL="0" marR="0" lvl="0" indent="0" algn="r" defTabSz="914400" eaLnBrk="1" fontAlgn="auto" latinLnBrk="0" hangingPunct="1">
              <a:lnSpc>
                <a:spcPct val="85000"/>
              </a:lnSpc>
              <a:spcBef>
                <a:spcPts val="0"/>
              </a:spcBef>
              <a:spcAft>
                <a:spcPts val="450"/>
              </a:spcAft>
              <a:buClr>
                <a:srgbClr val="FFD200"/>
              </a:buClr>
              <a:buSzPct val="70000"/>
              <a:buFontTx/>
              <a:buNone/>
              <a:tabLst/>
              <a:defRPr/>
            </a:pPr>
            <a:r>
              <a:rPr kumimoji="0" lang="en-US" sz="800" b="0" i="0" u="none" strike="noStrike" kern="0" cap="none" spc="0" normalizeH="0" baseline="0" noProof="0" dirty="0">
                <a:ln>
                  <a:noFill/>
                </a:ln>
                <a:solidFill>
                  <a:srgbClr val="FFFFFF"/>
                </a:solidFill>
                <a:effectLst/>
                <a:uLnTx/>
                <a:uFillTx/>
              </a:rPr>
              <a:t>Water </a:t>
            </a:r>
            <a:br>
              <a:rPr kumimoji="0" lang="en-US" sz="800" b="0" i="0" u="none" strike="noStrike" kern="0" cap="none" spc="0" normalizeH="0" baseline="0" noProof="0" dirty="0">
                <a:ln>
                  <a:noFill/>
                </a:ln>
                <a:solidFill>
                  <a:srgbClr val="FFFFFF"/>
                </a:solidFill>
                <a:effectLst/>
                <a:uLnTx/>
                <a:uFillTx/>
              </a:rPr>
            </a:br>
            <a:r>
              <a:rPr kumimoji="0" lang="en-US" sz="800" b="0" i="0" u="none" strike="noStrike" kern="0" cap="none" spc="0" normalizeH="0" baseline="0" noProof="0" dirty="0">
                <a:ln>
                  <a:noFill/>
                </a:ln>
                <a:solidFill>
                  <a:srgbClr val="FFFFFF"/>
                </a:solidFill>
                <a:effectLst/>
                <a:uLnTx/>
                <a:uFillTx/>
              </a:rPr>
              <a:t>to disposal</a:t>
            </a:r>
          </a:p>
        </p:txBody>
      </p:sp>
      <p:cxnSp>
        <p:nvCxnSpPr>
          <p:cNvPr id="95" name="Straight Connector 94">
            <a:extLst>
              <a:ext uri="{FF2B5EF4-FFF2-40B4-BE49-F238E27FC236}">
                <a16:creationId xmlns:a16="http://schemas.microsoft.com/office/drawing/2014/main" id="{623C2762-9F78-1D72-9A17-DAD66674AC7D}"/>
              </a:ext>
            </a:extLst>
          </p:cNvPr>
          <p:cNvCxnSpPr/>
          <p:nvPr/>
        </p:nvCxnSpPr>
        <p:spPr>
          <a:xfrm rot="16200000">
            <a:off x="5167629" y="5691064"/>
            <a:ext cx="724596" cy="0"/>
          </a:xfrm>
          <a:prstGeom prst="line">
            <a:avLst/>
          </a:prstGeom>
          <a:noFill/>
          <a:ln w="12700" cap="flat" cmpd="sng" algn="ctr">
            <a:solidFill>
              <a:srgbClr val="C4C4CD"/>
            </a:solidFill>
            <a:prstDash val="solid"/>
            <a:round/>
            <a:headEnd type="none" w="med" len="med"/>
            <a:tailEnd type="none" w="med" len="med"/>
          </a:ln>
          <a:effectLst/>
        </p:spPr>
      </p:cxnSp>
      <p:sp>
        <p:nvSpPr>
          <p:cNvPr id="96" name="Isosceles Triangle 95">
            <a:extLst>
              <a:ext uri="{FF2B5EF4-FFF2-40B4-BE49-F238E27FC236}">
                <a16:creationId xmlns:a16="http://schemas.microsoft.com/office/drawing/2014/main" id="{2C6BEABA-924A-3DC9-1C58-A914544C75DB}"/>
              </a:ext>
            </a:extLst>
          </p:cNvPr>
          <p:cNvSpPr>
            <a:spLocks/>
          </p:cNvSpPr>
          <p:nvPr/>
        </p:nvSpPr>
        <p:spPr>
          <a:xfrm rot="10800000">
            <a:off x="5477659" y="6025010"/>
            <a:ext cx="104265" cy="90876"/>
          </a:xfrm>
          <a:prstGeom prst="triangle">
            <a:avLst/>
          </a:prstGeom>
          <a:solidFill>
            <a:srgbClr val="C4C4CD"/>
          </a:solidFill>
          <a:ln w="6350" cap="flat" cmpd="sng" algn="ctr">
            <a:noFill/>
            <a:prstDash val="solid"/>
            <a:round/>
            <a:headEnd type="none" w="med" len="med"/>
            <a:tailEnd type="none" w="med" len="me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ea typeface="+mn-ea"/>
              <a:cs typeface="+mn-cs"/>
            </a:endParaRPr>
          </a:p>
        </p:txBody>
      </p:sp>
      <p:sp>
        <p:nvSpPr>
          <p:cNvPr id="97" name="TextBox 96">
            <a:extLst>
              <a:ext uri="{FF2B5EF4-FFF2-40B4-BE49-F238E27FC236}">
                <a16:creationId xmlns:a16="http://schemas.microsoft.com/office/drawing/2014/main" id="{FA62E83E-6E72-3013-ADBF-5710AD5876CB}"/>
              </a:ext>
            </a:extLst>
          </p:cNvPr>
          <p:cNvSpPr txBox="1">
            <a:spLocks/>
          </p:cNvSpPr>
          <p:nvPr/>
        </p:nvSpPr>
        <p:spPr>
          <a:xfrm>
            <a:off x="6361328" y="5803391"/>
            <a:ext cx="1838179" cy="202781"/>
          </a:xfrm>
          <a:prstGeom prst="rect">
            <a:avLst/>
          </a:prstGeom>
          <a:noFill/>
          <a:ln w="9525" cap="flat" cmpd="sng" algn="ctr">
            <a:solidFill>
              <a:srgbClr val="C4C4CD"/>
            </a:solidFill>
            <a:prstDash val="lgDash"/>
            <a:round/>
            <a:headEnd type="none" w="med" len="med"/>
            <a:tailEnd type="none" w="med" len="med"/>
          </a:ln>
          <a:extLst>
            <a:ext uri="{909E8E84-426E-40DD-AFC4-6F175D3DCCD1}">
              <a14:hiddenFill xmlns:a14="http://schemas.microsoft.com/office/drawing/2010/main">
                <a:solidFill>
                  <a:srgbClr val="747480"/>
                </a:solidFill>
              </a14:hiddenFill>
            </a:ext>
          </a:extLst>
        </p:spPr>
        <p:txBody>
          <a:bodyPr wrap="square" lIns="34290" tIns="34290" rIns="34290" bIns="34290" rtlCol="0" anchor="ctr" anchorCtr="0">
            <a:noAutofit/>
          </a:bodyPr>
          <a:lstStyle>
            <a:defPPr>
              <a:defRPr lang="en-US"/>
            </a:defPPr>
            <a:lvl1pPr>
              <a:lnSpc>
                <a:spcPct val="85000"/>
              </a:lnSpc>
              <a:spcAft>
                <a:spcPts val="600"/>
              </a:spcAft>
              <a:buClr>
                <a:schemeClr val="accent2"/>
              </a:buClr>
              <a:buSzPct val="70000"/>
              <a:defRPr sz="900" b="1">
                <a:latin typeface="+mj-lt"/>
              </a:defRPr>
            </a:lvl1pPr>
          </a:lstStyle>
          <a:p>
            <a:pPr marL="0" marR="0" lvl="0" indent="0" algn="ctr" defTabSz="914400" eaLnBrk="1" fontAlgn="auto" latinLnBrk="0" hangingPunct="1">
              <a:lnSpc>
                <a:spcPct val="100000"/>
              </a:lnSpc>
              <a:spcBef>
                <a:spcPts val="0"/>
              </a:spcBef>
              <a:spcAft>
                <a:spcPts val="0"/>
              </a:spcAft>
              <a:buClr>
                <a:srgbClr val="FFD200"/>
              </a:buClr>
              <a:buSzPct val="70000"/>
              <a:buFontTx/>
              <a:buNone/>
              <a:tabLst/>
              <a:defRPr/>
            </a:pPr>
            <a:r>
              <a:rPr kumimoji="0" lang="en-US" sz="800" b="1" i="0" u="none" strike="noStrike" kern="0" cap="none" spc="0" normalizeH="0" baseline="0" noProof="0" dirty="0">
                <a:ln>
                  <a:noFill/>
                </a:ln>
                <a:solidFill>
                  <a:schemeClr val="bg1"/>
                </a:solidFill>
                <a:effectLst/>
                <a:uLnTx/>
                <a:uFillTx/>
                <a:latin typeface="+mn-lt"/>
              </a:rPr>
              <a:t>Oil treatment and storage</a:t>
            </a:r>
          </a:p>
        </p:txBody>
      </p:sp>
      <p:sp>
        <p:nvSpPr>
          <p:cNvPr id="98" name="TextBox 97">
            <a:extLst>
              <a:ext uri="{FF2B5EF4-FFF2-40B4-BE49-F238E27FC236}">
                <a16:creationId xmlns:a16="http://schemas.microsoft.com/office/drawing/2014/main" id="{7107AA39-981A-9360-3E89-425683E38E37}"/>
              </a:ext>
            </a:extLst>
          </p:cNvPr>
          <p:cNvSpPr txBox="1"/>
          <p:nvPr/>
        </p:nvSpPr>
        <p:spPr>
          <a:xfrm>
            <a:off x="3455862" y="4907190"/>
            <a:ext cx="972269" cy="157323"/>
          </a:xfrm>
          <a:prstGeom prst="rect">
            <a:avLst/>
          </a:prstGeom>
          <a:noFill/>
        </p:spPr>
        <p:txBody>
          <a:bodyPr wrap="square" lIns="0" tIns="27432" rIns="0" bIns="0" rtlCol="0">
            <a:spAutoFit/>
          </a:bodyPr>
          <a:lstStyle/>
          <a:p>
            <a:pPr marL="0" marR="0" lvl="0" indent="0" defTabSz="914400" eaLnBrk="1" fontAlgn="auto" latinLnBrk="0" hangingPunct="1">
              <a:lnSpc>
                <a:spcPct val="85000"/>
              </a:lnSpc>
              <a:spcBef>
                <a:spcPts val="0"/>
              </a:spcBef>
              <a:spcAft>
                <a:spcPts val="450"/>
              </a:spcAft>
              <a:buClr>
                <a:srgbClr val="FFD200"/>
              </a:buClr>
              <a:buSzPct val="70000"/>
              <a:buFontTx/>
              <a:buNone/>
              <a:tabLst/>
              <a:defRPr/>
            </a:pPr>
            <a:r>
              <a:rPr kumimoji="0" lang="en-US" sz="800" b="0" i="0" u="none" strike="noStrike" kern="0" cap="none" spc="0" normalizeH="0" baseline="0" noProof="0" dirty="0">
                <a:ln>
                  <a:noFill/>
                </a:ln>
                <a:solidFill>
                  <a:srgbClr val="FFFFFF"/>
                </a:solidFill>
                <a:effectLst/>
                <a:uLnTx/>
                <a:uFillTx/>
              </a:rPr>
              <a:t>Test separator</a:t>
            </a:r>
          </a:p>
        </p:txBody>
      </p:sp>
      <p:sp>
        <p:nvSpPr>
          <p:cNvPr id="99" name="TextBox 98">
            <a:extLst>
              <a:ext uri="{FF2B5EF4-FFF2-40B4-BE49-F238E27FC236}">
                <a16:creationId xmlns:a16="http://schemas.microsoft.com/office/drawing/2014/main" id="{7241EB85-A238-1E2E-9DF5-0FB6B2CD09BC}"/>
              </a:ext>
            </a:extLst>
          </p:cNvPr>
          <p:cNvSpPr txBox="1">
            <a:spLocks/>
          </p:cNvSpPr>
          <p:nvPr/>
        </p:nvSpPr>
        <p:spPr>
          <a:xfrm>
            <a:off x="5516568" y="1663966"/>
            <a:ext cx="2588215" cy="202781"/>
          </a:xfrm>
          <a:prstGeom prst="rect">
            <a:avLst/>
          </a:prstGeom>
          <a:noFill/>
          <a:ln w="9525" cap="flat" cmpd="sng" algn="ctr">
            <a:solidFill>
              <a:srgbClr val="C4C4CD"/>
            </a:solidFill>
            <a:prstDash val="lgDash"/>
            <a:round/>
            <a:headEnd type="none" w="med" len="med"/>
            <a:tailEnd type="none" w="med" len="med"/>
          </a:ln>
          <a:extLst>
            <a:ext uri="{909E8E84-426E-40DD-AFC4-6F175D3DCCD1}">
              <a14:hiddenFill xmlns:a14="http://schemas.microsoft.com/office/drawing/2010/main">
                <a:solidFill>
                  <a:srgbClr val="747480"/>
                </a:solidFill>
              </a14:hiddenFill>
            </a:ext>
          </a:extLst>
        </p:spPr>
        <p:txBody>
          <a:bodyPr wrap="square" lIns="34290" tIns="0" rIns="34290" bIns="0" rtlCol="0" anchor="ctr" anchorCtr="0">
            <a:noAutofit/>
          </a:bodyPr>
          <a:lstStyle>
            <a:defPPr>
              <a:defRPr lang="en-US"/>
            </a:defPPr>
            <a:lvl1pPr>
              <a:lnSpc>
                <a:spcPct val="85000"/>
              </a:lnSpc>
              <a:spcAft>
                <a:spcPts val="600"/>
              </a:spcAft>
              <a:buClr>
                <a:schemeClr val="accent2"/>
              </a:buClr>
              <a:buSzPct val="70000"/>
              <a:defRPr sz="900" b="1">
                <a:latin typeface="+mj-lt"/>
              </a:defRPr>
            </a:lvl1pPr>
          </a:lstStyle>
          <a:p>
            <a:pPr marL="0" marR="0" lvl="0" indent="0" algn="ctr" defTabSz="914400" eaLnBrk="1" fontAlgn="auto" latinLnBrk="0" hangingPunct="1">
              <a:lnSpc>
                <a:spcPct val="100000"/>
              </a:lnSpc>
              <a:spcBef>
                <a:spcPts val="0"/>
              </a:spcBef>
              <a:spcAft>
                <a:spcPts val="600"/>
              </a:spcAft>
              <a:buClr>
                <a:srgbClr val="FFD200"/>
              </a:buClr>
              <a:buSzPct val="70000"/>
              <a:buFontTx/>
              <a:buNone/>
              <a:tabLst/>
              <a:defRPr/>
            </a:pPr>
            <a:r>
              <a:rPr kumimoji="0" lang="en-US" sz="800" b="1" i="0" u="none" strike="noStrike" kern="0" cap="none" spc="0" normalizeH="0" baseline="0" noProof="0" dirty="0">
                <a:ln>
                  <a:noFill/>
                </a:ln>
                <a:solidFill>
                  <a:schemeClr val="bg1"/>
                </a:solidFill>
                <a:effectLst/>
                <a:uLnTx/>
                <a:uFillTx/>
                <a:latin typeface="+mn-lt"/>
              </a:rPr>
              <a:t>Natural gas treatment and compression</a:t>
            </a:r>
          </a:p>
        </p:txBody>
      </p:sp>
      <p:sp>
        <p:nvSpPr>
          <p:cNvPr id="100" name="TextBox 99">
            <a:extLst>
              <a:ext uri="{FF2B5EF4-FFF2-40B4-BE49-F238E27FC236}">
                <a16:creationId xmlns:a16="http://schemas.microsoft.com/office/drawing/2014/main" id="{0798DC09-9D17-0236-08C8-E264473C06F1}"/>
              </a:ext>
            </a:extLst>
          </p:cNvPr>
          <p:cNvSpPr txBox="1">
            <a:spLocks/>
          </p:cNvSpPr>
          <p:nvPr/>
        </p:nvSpPr>
        <p:spPr>
          <a:xfrm>
            <a:off x="621389" y="1663966"/>
            <a:ext cx="1838179" cy="202781"/>
          </a:xfrm>
          <a:prstGeom prst="rect">
            <a:avLst/>
          </a:prstGeom>
          <a:noFill/>
          <a:ln w="9525" cap="flat" cmpd="sng" algn="ctr">
            <a:solidFill>
              <a:srgbClr val="C4C4CD"/>
            </a:solidFill>
            <a:prstDash val="lgDash"/>
            <a:round/>
            <a:headEnd type="none" w="med" len="med"/>
            <a:tailEnd type="none" w="med" len="med"/>
          </a:ln>
          <a:extLst>
            <a:ext uri="{909E8E84-426E-40DD-AFC4-6F175D3DCCD1}">
              <a14:hiddenFill xmlns:a14="http://schemas.microsoft.com/office/drawing/2010/main">
                <a:solidFill>
                  <a:srgbClr val="747480"/>
                </a:solidFill>
              </a14:hiddenFill>
            </a:ext>
          </a:extLst>
        </p:spPr>
        <p:txBody>
          <a:bodyPr wrap="square" lIns="34290" tIns="34290" rIns="34290" bIns="34290" rtlCol="0" anchor="ctr" anchorCtr="0">
            <a:noAutofit/>
          </a:bodyPr>
          <a:lstStyle>
            <a:defPPr>
              <a:defRPr lang="en-US"/>
            </a:defPPr>
            <a:lvl1pPr>
              <a:lnSpc>
                <a:spcPct val="85000"/>
              </a:lnSpc>
              <a:spcAft>
                <a:spcPts val="600"/>
              </a:spcAft>
              <a:buClr>
                <a:schemeClr val="accent2"/>
              </a:buClr>
              <a:buSzPct val="70000"/>
              <a:defRPr sz="900" b="1">
                <a:latin typeface="+mj-lt"/>
              </a:defRPr>
            </a:lvl1pPr>
          </a:lstStyle>
          <a:p>
            <a:pPr marL="0" marR="0" lvl="0" indent="0" algn="ctr" defTabSz="914400" eaLnBrk="1" fontAlgn="auto" latinLnBrk="0" hangingPunct="1">
              <a:lnSpc>
                <a:spcPct val="100000"/>
              </a:lnSpc>
              <a:spcBef>
                <a:spcPts val="0"/>
              </a:spcBef>
              <a:spcAft>
                <a:spcPts val="600"/>
              </a:spcAft>
              <a:buClr>
                <a:srgbClr val="FFD200"/>
              </a:buClr>
              <a:buSzPct val="70000"/>
              <a:buFontTx/>
              <a:buNone/>
              <a:tabLst/>
              <a:defRPr/>
            </a:pPr>
            <a:r>
              <a:rPr kumimoji="0" lang="en-US" sz="800" b="1" i="0" u="none" strike="noStrike" kern="0" cap="none" spc="0" normalizeH="0" baseline="0" noProof="0" dirty="0">
                <a:ln>
                  <a:noFill/>
                </a:ln>
                <a:solidFill>
                  <a:schemeClr val="bg1"/>
                </a:solidFill>
                <a:effectLst/>
                <a:uLnTx/>
                <a:uFillTx/>
                <a:latin typeface="+mn-lt"/>
              </a:rPr>
              <a:t>Production management</a:t>
            </a:r>
          </a:p>
        </p:txBody>
      </p:sp>
      <p:sp>
        <p:nvSpPr>
          <p:cNvPr id="101" name="TextBox 100">
            <a:extLst>
              <a:ext uri="{FF2B5EF4-FFF2-40B4-BE49-F238E27FC236}">
                <a16:creationId xmlns:a16="http://schemas.microsoft.com/office/drawing/2014/main" id="{4B315A11-2072-9B47-2D7A-1C6133031F7E}"/>
              </a:ext>
            </a:extLst>
          </p:cNvPr>
          <p:cNvSpPr txBox="1"/>
          <p:nvPr/>
        </p:nvSpPr>
        <p:spPr>
          <a:xfrm>
            <a:off x="621389" y="4329629"/>
            <a:ext cx="683343" cy="281717"/>
          </a:xfrm>
          <a:prstGeom prst="rect">
            <a:avLst/>
          </a:prstGeom>
          <a:noFill/>
        </p:spPr>
        <p:txBody>
          <a:bodyPr wrap="square" lIns="0" tIns="27432" rIns="0" bIns="0" rtlCol="0">
            <a:spAutoFit/>
          </a:bodyPr>
          <a:lstStyle/>
          <a:p>
            <a:pPr marL="0" marR="0" lvl="0" indent="0" algn="r" defTabSz="914400" eaLnBrk="1" fontAlgn="auto" latinLnBrk="0" hangingPunct="1">
              <a:lnSpc>
                <a:spcPct val="85000"/>
              </a:lnSpc>
              <a:spcBef>
                <a:spcPts val="0"/>
              </a:spcBef>
              <a:spcAft>
                <a:spcPts val="450"/>
              </a:spcAft>
              <a:buClr>
                <a:srgbClr val="FFD200"/>
              </a:buClr>
              <a:buSzPct val="70000"/>
              <a:buFontTx/>
              <a:buNone/>
              <a:tabLst/>
              <a:defRPr/>
            </a:pPr>
            <a:r>
              <a:rPr kumimoji="0" lang="en-US" sz="800" b="0" i="0" u="none" strike="noStrike" kern="0" cap="none" spc="0" normalizeH="0" baseline="0" noProof="0" dirty="0">
                <a:ln>
                  <a:noFill/>
                </a:ln>
                <a:solidFill>
                  <a:srgbClr val="FFFFFF"/>
                </a:solidFill>
                <a:effectLst/>
                <a:uLnTx/>
                <a:uFillTx/>
              </a:rPr>
              <a:t>Oil and gas production</a:t>
            </a:r>
          </a:p>
        </p:txBody>
      </p:sp>
      <p:sp>
        <p:nvSpPr>
          <p:cNvPr id="102" name="TextBox 101">
            <a:extLst>
              <a:ext uri="{FF2B5EF4-FFF2-40B4-BE49-F238E27FC236}">
                <a16:creationId xmlns:a16="http://schemas.microsoft.com/office/drawing/2014/main" id="{2C0741F8-8EA3-9B74-2382-98482D5F8E6C}"/>
              </a:ext>
            </a:extLst>
          </p:cNvPr>
          <p:cNvSpPr txBox="1"/>
          <p:nvPr/>
        </p:nvSpPr>
        <p:spPr>
          <a:xfrm>
            <a:off x="847017" y="3414234"/>
            <a:ext cx="388489" cy="157323"/>
          </a:xfrm>
          <a:prstGeom prst="rect">
            <a:avLst/>
          </a:prstGeom>
          <a:noFill/>
        </p:spPr>
        <p:txBody>
          <a:bodyPr wrap="square" lIns="0" tIns="27432" rIns="0" bIns="0" rtlCol="0">
            <a:spAutoFit/>
          </a:bodyPr>
          <a:lstStyle/>
          <a:p>
            <a:pPr marL="0" marR="0" lvl="0" indent="0" algn="r" defTabSz="914400" eaLnBrk="1" fontAlgn="auto" latinLnBrk="0" hangingPunct="1">
              <a:lnSpc>
                <a:spcPct val="85000"/>
              </a:lnSpc>
              <a:spcBef>
                <a:spcPts val="0"/>
              </a:spcBef>
              <a:spcAft>
                <a:spcPts val="450"/>
              </a:spcAft>
              <a:buClr>
                <a:srgbClr val="FFD200"/>
              </a:buClr>
              <a:buSzPct val="70000"/>
              <a:buFontTx/>
              <a:buNone/>
              <a:tabLst/>
              <a:defRPr/>
            </a:pPr>
            <a:r>
              <a:rPr kumimoji="0" lang="en-US" sz="800" b="0" i="0" u="none" strike="noStrike" kern="0" cap="none" spc="0" normalizeH="0" baseline="0" noProof="0" dirty="0">
                <a:ln>
                  <a:noFill/>
                </a:ln>
                <a:solidFill>
                  <a:srgbClr val="FFFFFF"/>
                </a:solidFill>
                <a:effectLst/>
                <a:uLnTx/>
                <a:uFillTx/>
              </a:rPr>
              <a:t>Gas lift</a:t>
            </a:r>
          </a:p>
        </p:txBody>
      </p:sp>
      <p:sp>
        <p:nvSpPr>
          <p:cNvPr id="103" name="TextBox 102">
            <a:extLst>
              <a:ext uri="{FF2B5EF4-FFF2-40B4-BE49-F238E27FC236}">
                <a16:creationId xmlns:a16="http://schemas.microsoft.com/office/drawing/2014/main" id="{B1DD683F-253C-47F3-9B5B-BED7061E6787}"/>
              </a:ext>
            </a:extLst>
          </p:cNvPr>
          <p:cNvSpPr txBox="1"/>
          <p:nvPr/>
        </p:nvSpPr>
        <p:spPr>
          <a:xfrm>
            <a:off x="639394" y="2272288"/>
            <a:ext cx="877427" cy="281717"/>
          </a:xfrm>
          <a:prstGeom prst="rect">
            <a:avLst/>
          </a:prstGeom>
          <a:noFill/>
        </p:spPr>
        <p:txBody>
          <a:bodyPr wrap="square" lIns="0" tIns="27432" rIns="0" bIns="0" rtlCol="0">
            <a:spAutoFit/>
          </a:bodyPr>
          <a:lstStyle/>
          <a:p>
            <a:pPr marL="0" marR="0" lvl="0" indent="0" algn="r" defTabSz="914400" eaLnBrk="1" fontAlgn="auto" latinLnBrk="0" hangingPunct="1">
              <a:lnSpc>
                <a:spcPct val="85000"/>
              </a:lnSpc>
              <a:spcBef>
                <a:spcPts val="0"/>
              </a:spcBef>
              <a:spcAft>
                <a:spcPts val="450"/>
              </a:spcAft>
              <a:buClr>
                <a:srgbClr val="FFD200"/>
              </a:buClr>
              <a:buSzPct val="70000"/>
              <a:buFontTx/>
              <a:buNone/>
              <a:tabLst/>
              <a:defRPr/>
            </a:pPr>
            <a:r>
              <a:rPr kumimoji="0" lang="en-US" sz="800" b="0" i="0" u="none" strike="noStrike" kern="0" cap="none" spc="0" normalizeH="0" baseline="0" noProof="0" dirty="0">
                <a:ln>
                  <a:noFill/>
                </a:ln>
                <a:solidFill>
                  <a:srgbClr val="FFFFFF"/>
                </a:solidFill>
                <a:effectLst/>
                <a:uLnTx/>
                <a:uFillTx/>
              </a:rPr>
              <a:t>Gas </a:t>
            </a:r>
            <a:br>
              <a:rPr kumimoji="0" lang="en-US" sz="800" b="0" i="0" u="none" strike="noStrike" kern="0" cap="none" spc="0" normalizeH="0" baseline="0" noProof="0" dirty="0">
                <a:ln>
                  <a:noFill/>
                </a:ln>
                <a:solidFill>
                  <a:srgbClr val="FFFFFF"/>
                </a:solidFill>
                <a:effectLst/>
                <a:uLnTx/>
                <a:uFillTx/>
              </a:rPr>
            </a:br>
            <a:r>
              <a:rPr kumimoji="0" lang="en-US" sz="800" b="0" i="0" u="none" strike="noStrike" kern="0" cap="none" spc="0" normalizeH="0" baseline="0" noProof="0" dirty="0">
                <a:ln>
                  <a:noFill/>
                </a:ln>
                <a:solidFill>
                  <a:srgbClr val="FFFFFF"/>
                </a:solidFill>
                <a:effectLst/>
                <a:uLnTx/>
                <a:uFillTx/>
              </a:rPr>
              <a:t>injection</a:t>
            </a:r>
          </a:p>
        </p:txBody>
      </p:sp>
      <p:sp>
        <p:nvSpPr>
          <p:cNvPr id="104" name="TextBox 103">
            <a:extLst>
              <a:ext uri="{FF2B5EF4-FFF2-40B4-BE49-F238E27FC236}">
                <a16:creationId xmlns:a16="http://schemas.microsoft.com/office/drawing/2014/main" id="{3AC7194B-75F1-F788-519C-C5A08E36E23C}"/>
              </a:ext>
            </a:extLst>
          </p:cNvPr>
          <p:cNvSpPr txBox="1"/>
          <p:nvPr/>
        </p:nvSpPr>
        <p:spPr>
          <a:xfrm>
            <a:off x="4107009" y="2630969"/>
            <a:ext cx="877427" cy="157323"/>
          </a:xfrm>
          <a:prstGeom prst="rect">
            <a:avLst/>
          </a:prstGeom>
          <a:noFill/>
        </p:spPr>
        <p:txBody>
          <a:bodyPr wrap="square" lIns="0" tIns="27432" rIns="0" bIns="0" rtlCol="0">
            <a:spAutoFit/>
          </a:bodyPr>
          <a:lstStyle/>
          <a:p>
            <a:pPr marL="0" marR="0" lvl="0" indent="0" algn="ctr" defTabSz="914400" eaLnBrk="1" fontAlgn="auto" latinLnBrk="0" hangingPunct="1">
              <a:lnSpc>
                <a:spcPct val="85000"/>
              </a:lnSpc>
              <a:spcBef>
                <a:spcPts val="0"/>
              </a:spcBef>
              <a:spcAft>
                <a:spcPts val="450"/>
              </a:spcAft>
              <a:buClr>
                <a:srgbClr val="FFD200"/>
              </a:buClr>
              <a:buSzPct val="70000"/>
              <a:buFontTx/>
              <a:buNone/>
              <a:tabLst/>
              <a:defRPr/>
            </a:pPr>
            <a:r>
              <a:rPr kumimoji="0" lang="en-US" sz="800" b="0" i="0" u="none" strike="noStrike" kern="0" cap="none" spc="0" normalizeH="0" baseline="0" noProof="0" dirty="0">
                <a:ln>
                  <a:noFill/>
                </a:ln>
                <a:solidFill>
                  <a:srgbClr val="FFFFFF"/>
                </a:solidFill>
                <a:effectLst/>
                <a:uLnTx/>
                <a:uFillTx/>
              </a:rPr>
              <a:t>Compression</a:t>
            </a:r>
          </a:p>
        </p:txBody>
      </p:sp>
      <p:sp>
        <p:nvSpPr>
          <p:cNvPr id="105" name="TextBox 104">
            <a:extLst>
              <a:ext uri="{FF2B5EF4-FFF2-40B4-BE49-F238E27FC236}">
                <a16:creationId xmlns:a16="http://schemas.microsoft.com/office/drawing/2014/main" id="{0AC850BD-BD00-C684-2EE9-361E792BD6E9}"/>
              </a:ext>
            </a:extLst>
          </p:cNvPr>
          <p:cNvSpPr txBox="1"/>
          <p:nvPr/>
        </p:nvSpPr>
        <p:spPr>
          <a:xfrm>
            <a:off x="4107009" y="2954170"/>
            <a:ext cx="877427" cy="157323"/>
          </a:xfrm>
          <a:prstGeom prst="rect">
            <a:avLst/>
          </a:prstGeom>
          <a:noFill/>
        </p:spPr>
        <p:txBody>
          <a:bodyPr wrap="square" lIns="0" tIns="27432" rIns="0" bIns="0" rtlCol="0">
            <a:spAutoFit/>
          </a:bodyPr>
          <a:lstStyle/>
          <a:p>
            <a:pPr marL="0" marR="0" lvl="0" indent="0" algn="ctr" defTabSz="914400" eaLnBrk="1" fontAlgn="auto" latinLnBrk="0" hangingPunct="1">
              <a:lnSpc>
                <a:spcPct val="85000"/>
              </a:lnSpc>
              <a:spcBef>
                <a:spcPts val="0"/>
              </a:spcBef>
              <a:spcAft>
                <a:spcPts val="450"/>
              </a:spcAft>
              <a:buClr>
                <a:srgbClr val="FFD200"/>
              </a:buClr>
              <a:buSzPct val="70000"/>
              <a:buFontTx/>
              <a:buNone/>
              <a:tabLst/>
              <a:defRPr/>
            </a:pPr>
            <a:r>
              <a:rPr kumimoji="0" lang="en-US" sz="800" b="0" i="0" u="none" strike="noStrike" kern="0" cap="none" spc="0" normalizeH="0" baseline="0" noProof="0" dirty="0">
                <a:ln>
                  <a:noFill/>
                </a:ln>
                <a:solidFill>
                  <a:srgbClr val="FFFFFF"/>
                </a:solidFill>
                <a:effectLst/>
                <a:uLnTx/>
                <a:uFillTx/>
              </a:rPr>
              <a:t>Fuel gas</a:t>
            </a:r>
          </a:p>
        </p:txBody>
      </p:sp>
      <p:cxnSp>
        <p:nvCxnSpPr>
          <p:cNvPr id="106" name="Straight Connector 105">
            <a:extLst>
              <a:ext uri="{FF2B5EF4-FFF2-40B4-BE49-F238E27FC236}">
                <a16:creationId xmlns:a16="http://schemas.microsoft.com/office/drawing/2014/main" id="{35088365-DF71-317A-6415-C701F7284CA4}"/>
              </a:ext>
            </a:extLst>
          </p:cNvPr>
          <p:cNvCxnSpPr/>
          <p:nvPr/>
        </p:nvCxnSpPr>
        <p:spPr>
          <a:xfrm>
            <a:off x="621389" y="5081190"/>
            <a:ext cx="1112463" cy="0"/>
          </a:xfrm>
          <a:prstGeom prst="line">
            <a:avLst/>
          </a:prstGeom>
          <a:noFill/>
          <a:ln w="12700" cap="flat" cmpd="sng" algn="ctr">
            <a:solidFill>
              <a:schemeClr val="bg1"/>
            </a:solidFill>
            <a:prstDash val="solid"/>
            <a:tailEnd type="none"/>
          </a:ln>
          <a:effectLst/>
        </p:spPr>
      </p:cxnSp>
      <p:cxnSp>
        <p:nvCxnSpPr>
          <p:cNvPr id="107" name="Straight Connector 106">
            <a:extLst>
              <a:ext uri="{FF2B5EF4-FFF2-40B4-BE49-F238E27FC236}">
                <a16:creationId xmlns:a16="http://schemas.microsoft.com/office/drawing/2014/main" id="{340703FA-0FAA-A0A8-7000-F2161B874412}"/>
              </a:ext>
            </a:extLst>
          </p:cNvPr>
          <p:cNvCxnSpPr/>
          <p:nvPr/>
        </p:nvCxnSpPr>
        <p:spPr>
          <a:xfrm>
            <a:off x="2521393" y="2493006"/>
            <a:ext cx="0" cy="967595"/>
          </a:xfrm>
          <a:prstGeom prst="line">
            <a:avLst/>
          </a:prstGeom>
          <a:noFill/>
          <a:ln w="12700" cap="flat" cmpd="sng" algn="ctr">
            <a:solidFill>
              <a:schemeClr val="bg1"/>
            </a:solidFill>
            <a:prstDash val="solid"/>
            <a:tailEnd type="none"/>
          </a:ln>
          <a:effectLst/>
        </p:spPr>
      </p:cxnSp>
      <p:cxnSp>
        <p:nvCxnSpPr>
          <p:cNvPr id="108" name="Straight Connector 107">
            <a:extLst>
              <a:ext uri="{FF2B5EF4-FFF2-40B4-BE49-F238E27FC236}">
                <a16:creationId xmlns:a16="http://schemas.microsoft.com/office/drawing/2014/main" id="{F1FC1A71-5672-1AEE-7709-6046A967DC21}"/>
              </a:ext>
            </a:extLst>
          </p:cNvPr>
          <p:cNvCxnSpPr/>
          <p:nvPr/>
        </p:nvCxnSpPr>
        <p:spPr>
          <a:xfrm flipH="1">
            <a:off x="2034906" y="3454501"/>
            <a:ext cx="492522" cy="0"/>
          </a:xfrm>
          <a:prstGeom prst="line">
            <a:avLst/>
          </a:prstGeom>
          <a:noFill/>
          <a:ln w="12700" cap="flat" cmpd="sng" algn="ctr">
            <a:solidFill>
              <a:srgbClr val="FFFFFF"/>
            </a:solidFill>
            <a:prstDash val="solid"/>
            <a:tailEnd type="none"/>
          </a:ln>
          <a:effectLst/>
        </p:spPr>
      </p:cxnSp>
      <p:cxnSp>
        <p:nvCxnSpPr>
          <p:cNvPr id="109" name="Straight Connector 108">
            <a:extLst>
              <a:ext uri="{FF2B5EF4-FFF2-40B4-BE49-F238E27FC236}">
                <a16:creationId xmlns:a16="http://schemas.microsoft.com/office/drawing/2014/main" id="{1F38B5F7-3B59-696C-C541-8F24CD4D49AF}"/>
              </a:ext>
            </a:extLst>
          </p:cNvPr>
          <p:cNvCxnSpPr/>
          <p:nvPr/>
        </p:nvCxnSpPr>
        <p:spPr>
          <a:xfrm>
            <a:off x="1317382" y="3454501"/>
            <a:ext cx="0" cy="832888"/>
          </a:xfrm>
          <a:prstGeom prst="line">
            <a:avLst/>
          </a:prstGeom>
          <a:noFill/>
          <a:ln w="12700" cap="flat" cmpd="sng" algn="ctr">
            <a:solidFill>
              <a:schemeClr val="bg1"/>
            </a:solidFill>
            <a:prstDash val="solid"/>
            <a:tailEnd type="none"/>
          </a:ln>
          <a:effectLst/>
        </p:spPr>
      </p:cxnSp>
      <p:cxnSp>
        <p:nvCxnSpPr>
          <p:cNvPr id="110" name="Straight Connector 109">
            <a:extLst>
              <a:ext uri="{FF2B5EF4-FFF2-40B4-BE49-F238E27FC236}">
                <a16:creationId xmlns:a16="http://schemas.microsoft.com/office/drawing/2014/main" id="{BB06DC2E-B2E8-AC7C-C14C-47E954577713}"/>
              </a:ext>
            </a:extLst>
          </p:cNvPr>
          <p:cNvCxnSpPr/>
          <p:nvPr/>
        </p:nvCxnSpPr>
        <p:spPr>
          <a:xfrm flipH="1">
            <a:off x="1312789" y="3454501"/>
            <a:ext cx="442185" cy="0"/>
          </a:xfrm>
          <a:prstGeom prst="line">
            <a:avLst/>
          </a:prstGeom>
          <a:noFill/>
          <a:ln w="12700" cap="flat" cmpd="sng" algn="ctr">
            <a:solidFill>
              <a:schemeClr val="bg1"/>
            </a:solidFill>
            <a:prstDash val="solid"/>
            <a:tailEnd type="none"/>
          </a:ln>
          <a:effectLst/>
        </p:spPr>
      </p:cxnSp>
      <p:cxnSp>
        <p:nvCxnSpPr>
          <p:cNvPr id="111" name="Straight Connector 110">
            <a:extLst>
              <a:ext uri="{FF2B5EF4-FFF2-40B4-BE49-F238E27FC236}">
                <a16:creationId xmlns:a16="http://schemas.microsoft.com/office/drawing/2014/main" id="{11D440A2-5666-0C45-EDDB-E7892E4D9011}"/>
              </a:ext>
            </a:extLst>
          </p:cNvPr>
          <p:cNvCxnSpPr/>
          <p:nvPr/>
        </p:nvCxnSpPr>
        <p:spPr>
          <a:xfrm>
            <a:off x="1312607" y="4287388"/>
            <a:ext cx="306213" cy="0"/>
          </a:xfrm>
          <a:prstGeom prst="line">
            <a:avLst/>
          </a:prstGeom>
          <a:noFill/>
          <a:ln w="12700" cap="flat" cmpd="sng" algn="ctr">
            <a:solidFill>
              <a:schemeClr val="bg1"/>
            </a:solidFill>
            <a:prstDash val="solid"/>
            <a:tailEnd type="none"/>
          </a:ln>
          <a:effectLst/>
        </p:spPr>
      </p:cxnSp>
      <p:sp>
        <p:nvSpPr>
          <p:cNvPr id="112" name="TextBox 111">
            <a:extLst>
              <a:ext uri="{FF2B5EF4-FFF2-40B4-BE49-F238E27FC236}">
                <a16:creationId xmlns:a16="http://schemas.microsoft.com/office/drawing/2014/main" id="{3F5D697D-CCBB-AEF5-30AA-681486D6E089}"/>
              </a:ext>
            </a:extLst>
          </p:cNvPr>
          <p:cNvSpPr txBox="1"/>
          <p:nvPr/>
        </p:nvSpPr>
        <p:spPr>
          <a:xfrm>
            <a:off x="2152333" y="5211604"/>
            <a:ext cx="774621" cy="157323"/>
          </a:xfrm>
          <a:prstGeom prst="rect">
            <a:avLst/>
          </a:prstGeom>
          <a:noFill/>
        </p:spPr>
        <p:txBody>
          <a:bodyPr wrap="square" lIns="0" tIns="27432" rIns="0" bIns="0" rtlCol="0">
            <a:spAutoFit/>
          </a:bodyPr>
          <a:lstStyle/>
          <a:p>
            <a:pPr marL="0" marR="0" lvl="0" indent="0" defTabSz="914400" eaLnBrk="1" fontAlgn="auto" latinLnBrk="0" hangingPunct="1">
              <a:lnSpc>
                <a:spcPct val="85000"/>
              </a:lnSpc>
              <a:spcBef>
                <a:spcPts val="0"/>
              </a:spcBef>
              <a:spcAft>
                <a:spcPts val="450"/>
              </a:spcAft>
              <a:buClr>
                <a:srgbClr val="FFD200"/>
              </a:buClr>
              <a:buSzPct val="70000"/>
              <a:buFontTx/>
              <a:buNone/>
              <a:tabLst/>
              <a:defRPr/>
            </a:pPr>
            <a:r>
              <a:rPr kumimoji="0" lang="en-US" sz="800" b="0" i="0" u="none" strike="noStrike" kern="0" cap="none" spc="0" normalizeH="0" baseline="0" noProof="0" dirty="0">
                <a:ln>
                  <a:noFill/>
                </a:ln>
                <a:solidFill>
                  <a:srgbClr val="FFFFFF"/>
                </a:solidFill>
                <a:effectLst/>
                <a:uLnTx/>
                <a:uFillTx/>
              </a:rPr>
              <a:t>Line heater</a:t>
            </a:r>
          </a:p>
        </p:txBody>
      </p:sp>
      <p:sp>
        <p:nvSpPr>
          <p:cNvPr id="113" name="Isosceles Triangle 112">
            <a:extLst>
              <a:ext uri="{FF2B5EF4-FFF2-40B4-BE49-F238E27FC236}">
                <a16:creationId xmlns:a16="http://schemas.microsoft.com/office/drawing/2014/main" id="{F39F2808-4B13-6C53-42EC-92E0FC7D175D}"/>
              </a:ext>
            </a:extLst>
          </p:cNvPr>
          <p:cNvSpPr/>
          <p:nvPr/>
        </p:nvSpPr>
        <p:spPr>
          <a:xfrm rot="5400000" flipH="1">
            <a:off x="1443192" y="4242447"/>
            <a:ext cx="105416" cy="89883"/>
          </a:xfrm>
          <a:prstGeom prst="triangle">
            <a:avLst/>
          </a:prstGeom>
          <a:solidFill>
            <a:schemeClr val="bg1"/>
          </a:solidFill>
          <a:ln w="12700" cap="flat" cmpd="sng" algn="ctr">
            <a:solidFill>
              <a:srgbClr val="333333"/>
            </a:solid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ea typeface="+mn-ea"/>
              <a:cs typeface="+mn-cs"/>
            </a:endParaRPr>
          </a:p>
        </p:txBody>
      </p:sp>
      <p:sp>
        <p:nvSpPr>
          <p:cNvPr id="114" name="Freeform 515">
            <a:extLst>
              <a:ext uri="{FF2B5EF4-FFF2-40B4-BE49-F238E27FC236}">
                <a16:creationId xmlns:a16="http://schemas.microsoft.com/office/drawing/2014/main" id="{A5716946-7412-CA04-BDB0-FB18245308DC}"/>
              </a:ext>
            </a:extLst>
          </p:cNvPr>
          <p:cNvSpPr>
            <a:spLocks noEditPoints="1"/>
          </p:cNvSpPr>
          <p:nvPr/>
        </p:nvSpPr>
        <p:spPr bwMode="auto">
          <a:xfrm>
            <a:off x="5292860" y="4925712"/>
            <a:ext cx="473865" cy="422027"/>
          </a:xfrm>
          <a:custGeom>
            <a:avLst/>
            <a:gdLst>
              <a:gd name="T0" fmla="*/ 96 w 135"/>
              <a:gd name="T1" fmla="*/ 12 h 119"/>
              <a:gd name="T2" fmla="*/ 108 w 135"/>
              <a:gd name="T3" fmla="*/ 8 h 119"/>
              <a:gd name="T4" fmla="*/ 108 w 135"/>
              <a:gd name="T5" fmla="*/ 13 h 119"/>
              <a:gd name="T6" fmla="*/ 110 w 135"/>
              <a:gd name="T7" fmla="*/ 0 h 119"/>
              <a:gd name="T8" fmla="*/ 108 w 135"/>
              <a:gd name="T9" fmla="*/ 6 h 119"/>
              <a:gd name="T10" fmla="*/ 96 w 135"/>
              <a:gd name="T11" fmla="*/ 0 h 119"/>
              <a:gd name="T12" fmla="*/ 94 w 135"/>
              <a:gd name="T13" fmla="*/ 11 h 119"/>
              <a:gd name="T14" fmla="*/ 96 w 135"/>
              <a:gd name="T15" fmla="*/ 14 h 119"/>
              <a:gd name="T16" fmla="*/ 108 w 135"/>
              <a:gd name="T17" fmla="*/ 13 h 119"/>
              <a:gd name="T18" fmla="*/ 108 w 135"/>
              <a:gd name="T19" fmla="*/ 22 h 119"/>
              <a:gd name="T20" fmla="*/ 96 w 135"/>
              <a:gd name="T21" fmla="*/ 16 h 119"/>
              <a:gd name="T22" fmla="*/ 96 w 135"/>
              <a:gd name="T23" fmla="*/ 30 h 119"/>
              <a:gd name="T24" fmla="*/ 108 w 135"/>
              <a:gd name="T25" fmla="*/ 24 h 119"/>
              <a:gd name="T26" fmla="*/ 96 w 135"/>
              <a:gd name="T27" fmla="*/ 30 h 119"/>
              <a:gd name="T28" fmla="*/ 108 w 135"/>
              <a:gd name="T29" fmla="*/ 38 h 119"/>
              <a:gd name="T30" fmla="*/ 96 w 135"/>
              <a:gd name="T31" fmla="*/ 32 h 119"/>
              <a:gd name="T32" fmla="*/ 96 w 135"/>
              <a:gd name="T33" fmla="*/ 46 h 119"/>
              <a:gd name="T34" fmla="*/ 108 w 135"/>
              <a:gd name="T35" fmla="*/ 40 h 119"/>
              <a:gd name="T36" fmla="*/ 96 w 135"/>
              <a:gd name="T37" fmla="*/ 46 h 119"/>
              <a:gd name="T38" fmla="*/ 108 w 135"/>
              <a:gd name="T39" fmla="*/ 54 h 119"/>
              <a:gd name="T40" fmla="*/ 96 w 135"/>
              <a:gd name="T41" fmla="*/ 48 h 119"/>
              <a:gd name="T42" fmla="*/ 96 w 135"/>
              <a:gd name="T43" fmla="*/ 62 h 119"/>
              <a:gd name="T44" fmla="*/ 108 w 135"/>
              <a:gd name="T45" fmla="*/ 56 h 119"/>
              <a:gd name="T46" fmla="*/ 96 w 135"/>
              <a:gd name="T47" fmla="*/ 62 h 119"/>
              <a:gd name="T48" fmla="*/ 108 w 135"/>
              <a:gd name="T49" fmla="*/ 70 h 119"/>
              <a:gd name="T50" fmla="*/ 96 w 135"/>
              <a:gd name="T51" fmla="*/ 64 h 119"/>
              <a:gd name="T52" fmla="*/ 96 w 135"/>
              <a:gd name="T53" fmla="*/ 78 h 119"/>
              <a:gd name="T54" fmla="*/ 108 w 135"/>
              <a:gd name="T55" fmla="*/ 72 h 119"/>
              <a:gd name="T56" fmla="*/ 96 w 135"/>
              <a:gd name="T57" fmla="*/ 78 h 119"/>
              <a:gd name="T58" fmla="*/ 108 w 135"/>
              <a:gd name="T59" fmla="*/ 86 h 119"/>
              <a:gd name="T60" fmla="*/ 96 w 135"/>
              <a:gd name="T61" fmla="*/ 80 h 119"/>
              <a:gd name="T62" fmla="*/ 96 w 135"/>
              <a:gd name="T63" fmla="*/ 94 h 119"/>
              <a:gd name="T64" fmla="*/ 108 w 135"/>
              <a:gd name="T65" fmla="*/ 88 h 119"/>
              <a:gd name="T66" fmla="*/ 96 w 135"/>
              <a:gd name="T67" fmla="*/ 94 h 119"/>
              <a:gd name="T68" fmla="*/ 108 w 135"/>
              <a:gd name="T69" fmla="*/ 102 h 119"/>
              <a:gd name="T70" fmla="*/ 96 w 135"/>
              <a:gd name="T71" fmla="*/ 96 h 119"/>
              <a:gd name="T72" fmla="*/ 135 w 135"/>
              <a:gd name="T73" fmla="*/ 119 h 119"/>
              <a:gd name="T74" fmla="*/ 126 w 135"/>
              <a:gd name="T75" fmla="*/ 110 h 119"/>
              <a:gd name="T76" fmla="*/ 126 w 135"/>
              <a:gd name="T77" fmla="*/ 98 h 119"/>
              <a:gd name="T78" fmla="*/ 126 w 135"/>
              <a:gd name="T79" fmla="*/ 25 h 119"/>
              <a:gd name="T80" fmla="*/ 110 w 135"/>
              <a:gd name="T81" fmla="*/ 14 h 119"/>
              <a:gd name="T82" fmla="*/ 108 w 135"/>
              <a:gd name="T83" fmla="*/ 106 h 119"/>
              <a:gd name="T84" fmla="*/ 96 w 135"/>
              <a:gd name="T85" fmla="*/ 104 h 119"/>
              <a:gd name="T86" fmla="*/ 94 w 135"/>
              <a:gd name="T87" fmla="*/ 106 h 119"/>
              <a:gd name="T88" fmla="*/ 62 w 135"/>
              <a:gd name="T89" fmla="*/ 10 h 119"/>
              <a:gd name="T90" fmla="*/ 6 w 135"/>
              <a:gd name="T91" fmla="*/ 25 h 119"/>
              <a:gd name="T92" fmla="*/ 6 w 135"/>
              <a:gd name="T93" fmla="*/ 106 h 119"/>
              <a:gd name="T94" fmla="*/ 66 w 135"/>
              <a:gd name="T95" fmla="*/ 110 h 119"/>
              <a:gd name="T96" fmla="*/ 0 w 135"/>
              <a:gd name="T97" fmla="*/ 119 h 119"/>
              <a:gd name="T98" fmla="*/ 126 w 135"/>
              <a:gd name="T99"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5" h="119">
                <a:moveTo>
                  <a:pt x="108" y="13"/>
                </a:moveTo>
                <a:cubicBezTo>
                  <a:pt x="105" y="13"/>
                  <a:pt x="101" y="12"/>
                  <a:pt x="96" y="12"/>
                </a:cubicBezTo>
                <a:cubicBezTo>
                  <a:pt x="96" y="8"/>
                  <a:pt x="96" y="8"/>
                  <a:pt x="96" y="8"/>
                </a:cubicBezTo>
                <a:cubicBezTo>
                  <a:pt x="108" y="8"/>
                  <a:pt x="108" y="8"/>
                  <a:pt x="108" y="8"/>
                </a:cubicBezTo>
                <a:lnTo>
                  <a:pt x="108" y="13"/>
                </a:lnTo>
                <a:close/>
                <a:moveTo>
                  <a:pt x="108" y="13"/>
                </a:moveTo>
                <a:cubicBezTo>
                  <a:pt x="110" y="14"/>
                  <a:pt x="110" y="14"/>
                  <a:pt x="110" y="14"/>
                </a:cubicBezTo>
                <a:cubicBezTo>
                  <a:pt x="110" y="0"/>
                  <a:pt x="110" y="0"/>
                  <a:pt x="110" y="0"/>
                </a:cubicBezTo>
                <a:cubicBezTo>
                  <a:pt x="108" y="0"/>
                  <a:pt x="108" y="0"/>
                  <a:pt x="108" y="0"/>
                </a:cubicBezTo>
                <a:cubicBezTo>
                  <a:pt x="108" y="6"/>
                  <a:pt x="108" y="6"/>
                  <a:pt x="108" y="6"/>
                </a:cubicBezTo>
                <a:cubicBezTo>
                  <a:pt x="96" y="6"/>
                  <a:pt x="96" y="6"/>
                  <a:pt x="96" y="6"/>
                </a:cubicBezTo>
                <a:cubicBezTo>
                  <a:pt x="96" y="0"/>
                  <a:pt x="96" y="0"/>
                  <a:pt x="96" y="0"/>
                </a:cubicBezTo>
                <a:cubicBezTo>
                  <a:pt x="94" y="0"/>
                  <a:pt x="94" y="0"/>
                  <a:pt x="94" y="0"/>
                </a:cubicBezTo>
                <a:cubicBezTo>
                  <a:pt x="94" y="11"/>
                  <a:pt x="94" y="11"/>
                  <a:pt x="94" y="11"/>
                </a:cubicBezTo>
                <a:cubicBezTo>
                  <a:pt x="96" y="12"/>
                  <a:pt x="96" y="12"/>
                  <a:pt x="96" y="12"/>
                </a:cubicBezTo>
                <a:cubicBezTo>
                  <a:pt x="96" y="14"/>
                  <a:pt x="96" y="14"/>
                  <a:pt x="96" y="14"/>
                </a:cubicBezTo>
                <a:cubicBezTo>
                  <a:pt x="108" y="14"/>
                  <a:pt x="108" y="14"/>
                  <a:pt x="108" y="14"/>
                </a:cubicBezTo>
                <a:lnTo>
                  <a:pt x="108" y="13"/>
                </a:lnTo>
                <a:close/>
                <a:moveTo>
                  <a:pt x="96" y="22"/>
                </a:moveTo>
                <a:cubicBezTo>
                  <a:pt x="108" y="22"/>
                  <a:pt x="108" y="22"/>
                  <a:pt x="108" y="22"/>
                </a:cubicBezTo>
                <a:cubicBezTo>
                  <a:pt x="108" y="16"/>
                  <a:pt x="108" y="16"/>
                  <a:pt x="108" y="16"/>
                </a:cubicBezTo>
                <a:cubicBezTo>
                  <a:pt x="96" y="16"/>
                  <a:pt x="96" y="16"/>
                  <a:pt x="96" y="16"/>
                </a:cubicBezTo>
                <a:lnTo>
                  <a:pt x="96" y="22"/>
                </a:lnTo>
                <a:close/>
                <a:moveTo>
                  <a:pt x="96" y="30"/>
                </a:moveTo>
                <a:cubicBezTo>
                  <a:pt x="108" y="30"/>
                  <a:pt x="108" y="30"/>
                  <a:pt x="108" y="30"/>
                </a:cubicBezTo>
                <a:cubicBezTo>
                  <a:pt x="108" y="24"/>
                  <a:pt x="108" y="24"/>
                  <a:pt x="108" y="24"/>
                </a:cubicBezTo>
                <a:cubicBezTo>
                  <a:pt x="96" y="24"/>
                  <a:pt x="96" y="24"/>
                  <a:pt x="96" y="24"/>
                </a:cubicBezTo>
                <a:lnTo>
                  <a:pt x="96" y="30"/>
                </a:lnTo>
                <a:close/>
                <a:moveTo>
                  <a:pt x="96" y="38"/>
                </a:moveTo>
                <a:cubicBezTo>
                  <a:pt x="108" y="38"/>
                  <a:pt x="108" y="38"/>
                  <a:pt x="108" y="38"/>
                </a:cubicBezTo>
                <a:cubicBezTo>
                  <a:pt x="108" y="32"/>
                  <a:pt x="108" y="32"/>
                  <a:pt x="108" y="32"/>
                </a:cubicBezTo>
                <a:cubicBezTo>
                  <a:pt x="96" y="32"/>
                  <a:pt x="96" y="32"/>
                  <a:pt x="96" y="32"/>
                </a:cubicBezTo>
                <a:lnTo>
                  <a:pt x="96" y="38"/>
                </a:lnTo>
                <a:close/>
                <a:moveTo>
                  <a:pt x="96" y="46"/>
                </a:moveTo>
                <a:cubicBezTo>
                  <a:pt x="108" y="46"/>
                  <a:pt x="108" y="46"/>
                  <a:pt x="108" y="46"/>
                </a:cubicBezTo>
                <a:cubicBezTo>
                  <a:pt x="108" y="40"/>
                  <a:pt x="108" y="40"/>
                  <a:pt x="108" y="40"/>
                </a:cubicBezTo>
                <a:cubicBezTo>
                  <a:pt x="96" y="40"/>
                  <a:pt x="96" y="40"/>
                  <a:pt x="96" y="40"/>
                </a:cubicBezTo>
                <a:lnTo>
                  <a:pt x="96" y="46"/>
                </a:lnTo>
                <a:close/>
                <a:moveTo>
                  <a:pt x="96" y="54"/>
                </a:moveTo>
                <a:cubicBezTo>
                  <a:pt x="108" y="54"/>
                  <a:pt x="108" y="54"/>
                  <a:pt x="108" y="54"/>
                </a:cubicBezTo>
                <a:cubicBezTo>
                  <a:pt x="108" y="48"/>
                  <a:pt x="108" y="48"/>
                  <a:pt x="108" y="48"/>
                </a:cubicBezTo>
                <a:cubicBezTo>
                  <a:pt x="96" y="48"/>
                  <a:pt x="96" y="48"/>
                  <a:pt x="96" y="48"/>
                </a:cubicBezTo>
                <a:lnTo>
                  <a:pt x="96" y="54"/>
                </a:lnTo>
                <a:close/>
                <a:moveTo>
                  <a:pt x="96" y="62"/>
                </a:moveTo>
                <a:cubicBezTo>
                  <a:pt x="108" y="62"/>
                  <a:pt x="108" y="62"/>
                  <a:pt x="108" y="62"/>
                </a:cubicBezTo>
                <a:cubicBezTo>
                  <a:pt x="108" y="56"/>
                  <a:pt x="108" y="56"/>
                  <a:pt x="108" y="56"/>
                </a:cubicBezTo>
                <a:cubicBezTo>
                  <a:pt x="96" y="56"/>
                  <a:pt x="96" y="56"/>
                  <a:pt x="96" y="56"/>
                </a:cubicBezTo>
                <a:lnTo>
                  <a:pt x="96" y="62"/>
                </a:lnTo>
                <a:close/>
                <a:moveTo>
                  <a:pt x="96" y="70"/>
                </a:moveTo>
                <a:cubicBezTo>
                  <a:pt x="108" y="70"/>
                  <a:pt x="108" y="70"/>
                  <a:pt x="108" y="70"/>
                </a:cubicBezTo>
                <a:cubicBezTo>
                  <a:pt x="108" y="64"/>
                  <a:pt x="108" y="64"/>
                  <a:pt x="108" y="64"/>
                </a:cubicBezTo>
                <a:cubicBezTo>
                  <a:pt x="96" y="64"/>
                  <a:pt x="96" y="64"/>
                  <a:pt x="96" y="64"/>
                </a:cubicBezTo>
                <a:lnTo>
                  <a:pt x="96" y="70"/>
                </a:lnTo>
                <a:close/>
                <a:moveTo>
                  <a:pt x="96" y="78"/>
                </a:moveTo>
                <a:cubicBezTo>
                  <a:pt x="108" y="78"/>
                  <a:pt x="108" y="78"/>
                  <a:pt x="108" y="78"/>
                </a:cubicBezTo>
                <a:cubicBezTo>
                  <a:pt x="108" y="72"/>
                  <a:pt x="108" y="72"/>
                  <a:pt x="108" y="72"/>
                </a:cubicBezTo>
                <a:cubicBezTo>
                  <a:pt x="96" y="72"/>
                  <a:pt x="96" y="72"/>
                  <a:pt x="96" y="72"/>
                </a:cubicBezTo>
                <a:lnTo>
                  <a:pt x="96" y="78"/>
                </a:lnTo>
                <a:close/>
                <a:moveTo>
                  <a:pt x="96" y="86"/>
                </a:moveTo>
                <a:cubicBezTo>
                  <a:pt x="108" y="86"/>
                  <a:pt x="108" y="86"/>
                  <a:pt x="108" y="86"/>
                </a:cubicBezTo>
                <a:cubicBezTo>
                  <a:pt x="108" y="80"/>
                  <a:pt x="108" y="80"/>
                  <a:pt x="108" y="80"/>
                </a:cubicBezTo>
                <a:cubicBezTo>
                  <a:pt x="96" y="80"/>
                  <a:pt x="96" y="80"/>
                  <a:pt x="96" y="80"/>
                </a:cubicBezTo>
                <a:lnTo>
                  <a:pt x="96" y="86"/>
                </a:lnTo>
                <a:close/>
                <a:moveTo>
                  <a:pt x="96" y="94"/>
                </a:moveTo>
                <a:cubicBezTo>
                  <a:pt x="108" y="94"/>
                  <a:pt x="108" y="94"/>
                  <a:pt x="108" y="94"/>
                </a:cubicBezTo>
                <a:cubicBezTo>
                  <a:pt x="108" y="88"/>
                  <a:pt x="108" y="88"/>
                  <a:pt x="108" y="88"/>
                </a:cubicBezTo>
                <a:cubicBezTo>
                  <a:pt x="96" y="88"/>
                  <a:pt x="96" y="88"/>
                  <a:pt x="96" y="88"/>
                </a:cubicBezTo>
                <a:lnTo>
                  <a:pt x="96" y="94"/>
                </a:lnTo>
                <a:close/>
                <a:moveTo>
                  <a:pt x="96" y="102"/>
                </a:moveTo>
                <a:cubicBezTo>
                  <a:pt x="108" y="102"/>
                  <a:pt x="108" y="102"/>
                  <a:pt x="108" y="102"/>
                </a:cubicBezTo>
                <a:cubicBezTo>
                  <a:pt x="108" y="96"/>
                  <a:pt x="108" y="96"/>
                  <a:pt x="108" y="96"/>
                </a:cubicBezTo>
                <a:cubicBezTo>
                  <a:pt x="96" y="96"/>
                  <a:pt x="96" y="96"/>
                  <a:pt x="96" y="96"/>
                </a:cubicBezTo>
                <a:lnTo>
                  <a:pt x="96" y="102"/>
                </a:lnTo>
                <a:close/>
                <a:moveTo>
                  <a:pt x="135" y="119"/>
                </a:moveTo>
                <a:cubicBezTo>
                  <a:pt x="135" y="110"/>
                  <a:pt x="135" y="110"/>
                  <a:pt x="135" y="110"/>
                </a:cubicBezTo>
                <a:cubicBezTo>
                  <a:pt x="126" y="110"/>
                  <a:pt x="126" y="110"/>
                  <a:pt x="126" y="110"/>
                </a:cubicBezTo>
                <a:cubicBezTo>
                  <a:pt x="126" y="106"/>
                  <a:pt x="126" y="106"/>
                  <a:pt x="126" y="106"/>
                </a:cubicBezTo>
                <a:cubicBezTo>
                  <a:pt x="126" y="98"/>
                  <a:pt x="126" y="98"/>
                  <a:pt x="126" y="98"/>
                </a:cubicBezTo>
                <a:cubicBezTo>
                  <a:pt x="126" y="33"/>
                  <a:pt x="126" y="33"/>
                  <a:pt x="126" y="33"/>
                </a:cubicBezTo>
                <a:cubicBezTo>
                  <a:pt x="126" y="25"/>
                  <a:pt x="126" y="25"/>
                  <a:pt x="126" y="25"/>
                </a:cubicBezTo>
                <a:cubicBezTo>
                  <a:pt x="126" y="18"/>
                  <a:pt x="126" y="18"/>
                  <a:pt x="126" y="18"/>
                </a:cubicBezTo>
                <a:cubicBezTo>
                  <a:pt x="122" y="16"/>
                  <a:pt x="117" y="15"/>
                  <a:pt x="110" y="14"/>
                </a:cubicBezTo>
                <a:cubicBezTo>
                  <a:pt x="110" y="106"/>
                  <a:pt x="110" y="106"/>
                  <a:pt x="110" y="106"/>
                </a:cubicBezTo>
                <a:cubicBezTo>
                  <a:pt x="108" y="106"/>
                  <a:pt x="108" y="106"/>
                  <a:pt x="108" y="106"/>
                </a:cubicBezTo>
                <a:cubicBezTo>
                  <a:pt x="108" y="104"/>
                  <a:pt x="108" y="104"/>
                  <a:pt x="108" y="104"/>
                </a:cubicBezTo>
                <a:cubicBezTo>
                  <a:pt x="96" y="104"/>
                  <a:pt x="96" y="104"/>
                  <a:pt x="96" y="104"/>
                </a:cubicBezTo>
                <a:cubicBezTo>
                  <a:pt x="96" y="106"/>
                  <a:pt x="96" y="106"/>
                  <a:pt x="96" y="106"/>
                </a:cubicBezTo>
                <a:cubicBezTo>
                  <a:pt x="94" y="106"/>
                  <a:pt x="94" y="106"/>
                  <a:pt x="94" y="106"/>
                </a:cubicBezTo>
                <a:cubicBezTo>
                  <a:pt x="94" y="11"/>
                  <a:pt x="94" y="11"/>
                  <a:pt x="94" y="11"/>
                </a:cubicBezTo>
                <a:cubicBezTo>
                  <a:pt x="85" y="10"/>
                  <a:pt x="74" y="10"/>
                  <a:pt x="62" y="10"/>
                </a:cubicBezTo>
                <a:cubicBezTo>
                  <a:pt x="40" y="10"/>
                  <a:pt x="20" y="12"/>
                  <a:pt x="6" y="15"/>
                </a:cubicBezTo>
                <a:cubicBezTo>
                  <a:pt x="6" y="25"/>
                  <a:pt x="6" y="25"/>
                  <a:pt x="6" y="25"/>
                </a:cubicBezTo>
                <a:cubicBezTo>
                  <a:pt x="6" y="35"/>
                  <a:pt x="6" y="35"/>
                  <a:pt x="6" y="35"/>
                </a:cubicBezTo>
                <a:cubicBezTo>
                  <a:pt x="6" y="106"/>
                  <a:pt x="6" y="106"/>
                  <a:pt x="6" y="106"/>
                </a:cubicBezTo>
                <a:cubicBezTo>
                  <a:pt x="66" y="106"/>
                  <a:pt x="66" y="106"/>
                  <a:pt x="66" y="106"/>
                </a:cubicBezTo>
                <a:cubicBezTo>
                  <a:pt x="66" y="110"/>
                  <a:pt x="66" y="110"/>
                  <a:pt x="66" y="110"/>
                </a:cubicBezTo>
                <a:cubicBezTo>
                  <a:pt x="0" y="110"/>
                  <a:pt x="0" y="110"/>
                  <a:pt x="0" y="110"/>
                </a:cubicBezTo>
                <a:cubicBezTo>
                  <a:pt x="0" y="119"/>
                  <a:pt x="0" y="119"/>
                  <a:pt x="0" y="119"/>
                </a:cubicBezTo>
                <a:cubicBezTo>
                  <a:pt x="66" y="119"/>
                  <a:pt x="66" y="119"/>
                  <a:pt x="66" y="119"/>
                </a:cubicBezTo>
                <a:cubicBezTo>
                  <a:pt x="126" y="119"/>
                  <a:pt x="126" y="119"/>
                  <a:pt x="126" y="119"/>
                </a:cubicBezTo>
                <a:lnTo>
                  <a:pt x="135" y="119"/>
                </a:lnTo>
                <a:close/>
              </a:path>
            </a:pathLst>
          </a:custGeom>
          <a:solidFill>
            <a:schemeClr val="tx1"/>
          </a:solidFill>
          <a:ln>
            <a:solidFill>
              <a:schemeClr val="bg1"/>
            </a:solid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endParaRPr>
          </a:p>
        </p:txBody>
      </p:sp>
      <p:sp>
        <p:nvSpPr>
          <p:cNvPr id="115" name="TextBox 114">
            <a:extLst>
              <a:ext uri="{FF2B5EF4-FFF2-40B4-BE49-F238E27FC236}">
                <a16:creationId xmlns:a16="http://schemas.microsoft.com/office/drawing/2014/main" id="{612B9264-916F-85A7-0F13-A78B8BEB5DC6}"/>
              </a:ext>
            </a:extLst>
          </p:cNvPr>
          <p:cNvSpPr txBox="1"/>
          <p:nvPr/>
        </p:nvSpPr>
        <p:spPr>
          <a:xfrm>
            <a:off x="7215836" y="4327442"/>
            <a:ext cx="1002926" cy="157323"/>
          </a:xfrm>
          <a:prstGeom prst="rect">
            <a:avLst/>
          </a:prstGeom>
          <a:noFill/>
        </p:spPr>
        <p:txBody>
          <a:bodyPr wrap="square" lIns="0" tIns="27432" rIns="0" bIns="0" rtlCol="0">
            <a:spAutoFit/>
          </a:bodyPr>
          <a:lstStyle/>
          <a:p>
            <a:pPr marL="0" marR="0" lvl="0" indent="0" algn="ctr" defTabSz="914400" eaLnBrk="1" fontAlgn="auto" latinLnBrk="0" hangingPunct="1">
              <a:lnSpc>
                <a:spcPct val="85000"/>
              </a:lnSpc>
              <a:spcBef>
                <a:spcPts val="0"/>
              </a:spcBef>
              <a:spcAft>
                <a:spcPts val="450"/>
              </a:spcAft>
              <a:buClr>
                <a:srgbClr val="FFD200"/>
              </a:buClr>
              <a:buSzPct val="70000"/>
              <a:buFontTx/>
              <a:buNone/>
              <a:tabLst/>
              <a:defRPr/>
            </a:pPr>
            <a:r>
              <a:rPr kumimoji="0" lang="en-US" sz="800" b="0" i="0" u="none" strike="noStrike" kern="0" cap="none" spc="0" normalizeH="0" baseline="0" noProof="0" dirty="0">
                <a:ln>
                  <a:noFill/>
                </a:ln>
                <a:solidFill>
                  <a:srgbClr val="FFFFFF"/>
                </a:solidFill>
                <a:effectLst/>
                <a:uLnTx/>
                <a:uFillTx/>
              </a:rPr>
              <a:t>Vapor recovery</a:t>
            </a:r>
          </a:p>
        </p:txBody>
      </p:sp>
      <p:sp>
        <p:nvSpPr>
          <p:cNvPr id="116" name="Freeform 65">
            <a:extLst>
              <a:ext uri="{FF2B5EF4-FFF2-40B4-BE49-F238E27FC236}">
                <a16:creationId xmlns:a16="http://schemas.microsoft.com/office/drawing/2014/main" id="{5218C216-D6F1-4C6E-3EFC-74640F827B43}"/>
              </a:ext>
            </a:extLst>
          </p:cNvPr>
          <p:cNvSpPr>
            <a:spLocks/>
          </p:cNvSpPr>
          <p:nvPr/>
        </p:nvSpPr>
        <p:spPr bwMode="auto">
          <a:xfrm flipH="1">
            <a:off x="7470172" y="4146997"/>
            <a:ext cx="494254" cy="197299"/>
          </a:xfrm>
          <a:custGeom>
            <a:avLst/>
            <a:gdLst>
              <a:gd name="T0" fmla="*/ 0 w 309"/>
              <a:gd name="T1" fmla="*/ 27 h 122"/>
              <a:gd name="T2" fmla="*/ 109 w 309"/>
              <a:gd name="T3" fmla="*/ 27 h 122"/>
              <a:gd name="T4" fmla="*/ 109 w 309"/>
              <a:gd name="T5" fmla="*/ 0 h 122"/>
              <a:gd name="T6" fmla="*/ 309 w 309"/>
              <a:gd name="T7" fmla="*/ 40 h 122"/>
              <a:gd name="T8" fmla="*/ 309 w 309"/>
              <a:gd name="T9" fmla="*/ 82 h 122"/>
              <a:gd name="T10" fmla="*/ 109 w 309"/>
              <a:gd name="T11" fmla="*/ 122 h 122"/>
              <a:gd name="T12" fmla="*/ 109 w 309"/>
              <a:gd name="T13" fmla="*/ 95 h 122"/>
              <a:gd name="T14" fmla="*/ 0 w 309"/>
              <a:gd name="T15" fmla="*/ 95 h 122"/>
              <a:gd name="T16" fmla="*/ 0 w 309"/>
              <a:gd name="T17" fmla="*/ 27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122">
                <a:moveTo>
                  <a:pt x="0" y="27"/>
                </a:moveTo>
                <a:lnTo>
                  <a:pt x="109" y="27"/>
                </a:lnTo>
                <a:lnTo>
                  <a:pt x="109" y="0"/>
                </a:lnTo>
                <a:lnTo>
                  <a:pt x="309" y="40"/>
                </a:lnTo>
                <a:lnTo>
                  <a:pt x="309" y="82"/>
                </a:lnTo>
                <a:lnTo>
                  <a:pt x="109" y="122"/>
                </a:lnTo>
                <a:lnTo>
                  <a:pt x="109" y="95"/>
                </a:lnTo>
                <a:lnTo>
                  <a:pt x="0" y="95"/>
                </a:lnTo>
                <a:lnTo>
                  <a:pt x="0" y="27"/>
                </a:lnTo>
                <a:close/>
              </a:path>
            </a:pathLst>
          </a:custGeom>
          <a:solidFill>
            <a:schemeClr val="tx1"/>
          </a:solidFill>
          <a:ln>
            <a:solidFill>
              <a:schemeClr val="bg1"/>
            </a:solid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endParaRPr>
          </a:p>
        </p:txBody>
      </p:sp>
      <p:grpSp>
        <p:nvGrpSpPr>
          <p:cNvPr id="117" name="Group 116">
            <a:extLst>
              <a:ext uri="{FF2B5EF4-FFF2-40B4-BE49-F238E27FC236}">
                <a16:creationId xmlns:a16="http://schemas.microsoft.com/office/drawing/2014/main" id="{9E1EC1AC-3ABA-3C34-C386-C5DFD9FA5D72}"/>
              </a:ext>
            </a:extLst>
          </p:cNvPr>
          <p:cNvGrpSpPr/>
          <p:nvPr/>
        </p:nvGrpSpPr>
        <p:grpSpPr>
          <a:xfrm>
            <a:off x="5010709" y="3525804"/>
            <a:ext cx="728199" cy="298318"/>
            <a:chOff x="3960813" y="2502410"/>
            <a:chExt cx="574676" cy="232853"/>
          </a:xfrm>
          <a:solidFill>
            <a:schemeClr val="tx1"/>
          </a:solidFill>
        </p:grpSpPr>
        <p:sp>
          <p:nvSpPr>
            <p:cNvPr id="266" name="Rectangle 11">
              <a:extLst>
                <a:ext uri="{FF2B5EF4-FFF2-40B4-BE49-F238E27FC236}">
                  <a16:creationId xmlns:a16="http://schemas.microsoft.com/office/drawing/2014/main" id="{250060B7-5379-5F40-F119-0B1FEDECDE26}"/>
                </a:ext>
              </a:extLst>
            </p:cNvPr>
            <p:cNvSpPr>
              <a:spLocks noChangeArrowheads="1"/>
            </p:cNvSpPr>
            <p:nvPr/>
          </p:nvSpPr>
          <p:spPr bwMode="auto">
            <a:xfrm rot="16200000">
              <a:off x="4324966" y="2517690"/>
              <a:ext cx="89555" cy="58996"/>
            </a:xfrm>
            <a:prstGeom prst="rect">
              <a:avLst/>
            </a:prstGeom>
            <a:grpFill/>
            <a:ln>
              <a:solidFill>
                <a:schemeClr val="bg1"/>
              </a:solid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endParaRPr>
            </a:p>
          </p:txBody>
        </p:sp>
        <p:sp>
          <p:nvSpPr>
            <p:cNvPr id="267" name="Rectangle 294">
              <a:extLst>
                <a:ext uri="{FF2B5EF4-FFF2-40B4-BE49-F238E27FC236}">
                  <a16:creationId xmlns:a16="http://schemas.microsoft.com/office/drawing/2014/main" id="{C17B92AE-A0F2-8456-5E34-A125172ACED5}"/>
                </a:ext>
              </a:extLst>
            </p:cNvPr>
            <p:cNvSpPr>
              <a:spLocks noChangeArrowheads="1"/>
            </p:cNvSpPr>
            <p:nvPr/>
          </p:nvSpPr>
          <p:spPr bwMode="auto">
            <a:xfrm>
              <a:off x="4511676" y="2586038"/>
              <a:ext cx="23813" cy="46038"/>
            </a:xfrm>
            <a:prstGeom prst="rect">
              <a:avLst/>
            </a:prstGeom>
            <a:grpFill/>
            <a:ln>
              <a:solidFill>
                <a:schemeClr val="bg1"/>
              </a:solid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endParaRPr>
            </a:p>
          </p:txBody>
        </p:sp>
        <p:sp>
          <p:nvSpPr>
            <p:cNvPr id="268" name="Rectangle 295">
              <a:extLst>
                <a:ext uri="{FF2B5EF4-FFF2-40B4-BE49-F238E27FC236}">
                  <a16:creationId xmlns:a16="http://schemas.microsoft.com/office/drawing/2014/main" id="{04CB889A-47AC-6B1D-2A7D-383D1D2D900F}"/>
                </a:ext>
              </a:extLst>
            </p:cNvPr>
            <p:cNvSpPr>
              <a:spLocks noChangeArrowheads="1"/>
            </p:cNvSpPr>
            <p:nvPr/>
          </p:nvSpPr>
          <p:spPr bwMode="auto">
            <a:xfrm>
              <a:off x="3960813" y="2598738"/>
              <a:ext cx="61913" cy="22225"/>
            </a:xfrm>
            <a:prstGeom prst="rect">
              <a:avLst/>
            </a:prstGeom>
            <a:grpFill/>
            <a:ln>
              <a:solidFill>
                <a:schemeClr val="bg1"/>
              </a:solid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endParaRPr>
            </a:p>
          </p:txBody>
        </p:sp>
        <p:sp>
          <p:nvSpPr>
            <p:cNvPr id="269" name="Freeform 296">
              <a:extLst>
                <a:ext uri="{FF2B5EF4-FFF2-40B4-BE49-F238E27FC236}">
                  <a16:creationId xmlns:a16="http://schemas.microsoft.com/office/drawing/2014/main" id="{01115F62-F18A-2A63-361B-60E1749A52EE}"/>
                </a:ext>
              </a:extLst>
            </p:cNvPr>
            <p:cNvSpPr>
              <a:spLocks noEditPoints="1"/>
            </p:cNvSpPr>
            <p:nvPr/>
          </p:nvSpPr>
          <p:spPr bwMode="auto">
            <a:xfrm>
              <a:off x="3960813" y="2520950"/>
              <a:ext cx="574675" cy="214313"/>
            </a:xfrm>
            <a:custGeom>
              <a:avLst/>
              <a:gdLst>
                <a:gd name="T0" fmla="*/ 1462 w 1812"/>
                <a:gd name="T1" fmla="*/ 556 h 674"/>
                <a:gd name="T2" fmla="*/ 372 w 1812"/>
                <a:gd name="T3" fmla="*/ 556 h 674"/>
                <a:gd name="T4" fmla="*/ 916 w 1812"/>
                <a:gd name="T5" fmla="*/ 627 h 674"/>
                <a:gd name="T6" fmla="*/ 1508 w 1812"/>
                <a:gd name="T7" fmla="*/ 556 h 674"/>
                <a:gd name="T8" fmla="*/ 1812 w 1812"/>
                <a:gd name="T9" fmla="*/ 627 h 674"/>
                <a:gd name="T10" fmla="*/ 906 w 1812"/>
                <a:gd name="T11" fmla="*/ 674 h 674"/>
                <a:gd name="T12" fmla="*/ 0 w 1812"/>
                <a:gd name="T13" fmla="*/ 627 h 674"/>
                <a:gd name="T14" fmla="*/ 326 w 1812"/>
                <a:gd name="T15" fmla="*/ 556 h 674"/>
                <a:gd name="T16" fmla="*/ 232 w 1812"/>
                <a:gd name="T17" fmla="*/ 556 h 674"/>
                <a:gd name="T18" fmla="*/ 223 w 1812"/>
                <a:gd name="T19" fmla="*/ 551 h 674"/>
                <a:gd name="T20" fmla="*/ 206 w 1812"/>
                <a:gd name="T21" fmla="*/ 541 h 674"/>
                <a:gd name="T22" fmla="*/ 193 w 1812"/>
                <a:gd name="T23" fmla="*/ 530 h 674"/>
                <a:gd name="T24" fmla="*/ 177 w 1812"/>
                <a:gd name="T25" fmla="*/ 513 h 674"/>
                <a:gd name="T26" fmla="*/ 160 w 1812"/>
                <a:gd name="T27" fmla="*/ 490 h 674"/>
                <a:gd name="T28" fmla="*/ 143 w 1812"/>
                <a:gd name="T29" fmla="*/ 463 h 674"/>
                <a:gd name="T30" fmla="*/ 129 w 1812"/>
                <a:gd name="T31" fmla="*/ 435 h 674"/>
                <a:gd name="T32" fmla="*/ 108 w 1812"/>
                <a:gd name="T33" fmla="*/ 379 h 674"/>
                <a:gd name="T34" fmla="*/ 65 w 1812"/>
                <a:gd name="T35" fmla="*/ 353 h 674"/>
                <a:gd name="T36" fmla="*/ 99 w 1812"/>
                <a:gd name="T37" fmla="*/ 205 h 674"/>
                <a:gd name="T38" fmla="*/ 108 w 1812"/>
                <a:gd name="T39" fmla="*/ 179 h 674"/>
                <a:gd name="T40" fmla="*/ 123 w 1812"/>
                <a:gd name="T41" fmla="*/ 137 h 674"/>
                <a:gd name="T42" fmla="*/ 136 w 1812"/>
                <a:gd name="T43" fmla="*/ 108 h 674"/>
                <a:gd name="T44" fmla="*/ 152 w 1812"/>
                <a:gd name="T45" fmla="*/ 80 h 674"/>
                <a:gd name="T46" fmla="*/ 169 w 1812"/>
                <a:gd name="T47" fmla="*/ 54 h 674"/>
                <a:gd name="T48" fmla="*/ 185 w 1812"/>
                <a:gd name="T49" fmla="*/ 35 h 674"/>
                <a:gd name="T50" fmla="*/ 200 w 1812"/>
                <a:gd name="T51" fmla="*/ 21 h 674"/>
                <a:gd name="T52" fmla="*/ 213 w 1812"/>
                <a:gd name="T53" fmla="*/ 11 h 674"/>
                <a:gd name="T54" fmla="*/ 227 w 1812"/>
                <a:gd name="T55" fmla="*/ 3 h 674"/>
                <a:gd name="T56" fmla="*/ 235 w 1812"/>
                <a:gd name="T57" fmla="*/ 0 h 674"/>
                <a:gd name="T58" fmla="*/ 1617 w 1812"/>
                <a:gd name="T59" fmla="*/ 0 h 674"/>
                <a:gd name="T60" fmla="*/ 1626 w 1812"/>
                <a:gd name="T61" fmla="*/ 3 h 674"/>
                <a:gd name="T62" fmla="*/ 1635 w 1812"/>
                <a:gd name="T63" fmla="*/ 8 h 674"/>
                <a:gd name="T64" fmla="*/ 1653 w 1812"/>
                <a:gd name="T65" fmla="*/ 21 h 674"/>
                <a:gd name="T66" fmla="*/ 1667 w 1812"/>
                <a:gd name="T67" fmla="*/ 35 h 674"/>
                <a:gd name="T68" fmla="*/ 1684 w 1812"/>
                <a:gd name="T69" fmla="*/ 54 h 674"/>
                <a:gd name="T70" fmla="*/ 1701 w 1812"/>
                <a:gd name="T71" fmla="*/ 80 h 674"/>
                <a:gd name="T72" fmla="*/ 1718 w 1812"/>
                <a:gd name="T73" fmla="*/ 111 h 674"/>
                <a:gd name="T74" fmla="*/ 1738 w 1812"/>
                <a:gd name="T75" fmla="*/ 159 h 674"/>
                <a:gd name="T76" fmla="*/ 1753 w 1812"/>
                <a:gd name="T77" fmla="*/ 205 h 674"/>
                <a:gd name="T78" fmla="*/ 1762 w 1812"/>
                <a:gd name="T79" fmla="*/ 242 h 674"/>
                <a:gd name="T80" fmla="*/ 1768 w 1812"/>
                <a:gd name="T81" fmla="*/ 278 h 674"/>
                <a:gd name="T82" fmla="*/ 1762 w 1812"/>
                <a:gd name="T83" fmla="*/ 314 h 674"/>
                <a:gd name="T84" fmla="*/ 1753 w 1812"/>
                <a:gd name="T85" fmla="*/ 353 h 674"/>
                <a:gd name="T86" fmla="*/ 1744 w 1812"/>
                <a:gd name="T87" fmla="*/ 382 h 674"/>
                <a:gd name="T88" fmla="*/ 1733 w 1812"/>
                <a:gd name="T89" fmla="*/ 413 h 674"/>
                <a:gd name="T90" fmla="*/ 1718 w 1812"/>
                <a:gd name="T91" fmla="*/ 447 h 674"/>
                <a:gd name="T92" fmla="*/ 1701 w 1812"/>
                <a:gd name="T93" fmla="*/ 478 h 674"/>
                <a:gd name="T94" fmla="*/ 1684 w 1812"/>
                <a:gd name="T95" fmla="*/ 503 h 674"/>
                <a:gd name="T96" fmla="*/ 1667 w 1812"/>
                <a:gd name="T97" fmla="*/ 521 h 674"/>
                <a:gd name="T98" fmla="*/ 1653 w 1812"/>
                <a:gd name="T99" fmla="*/ 536 h 674"/>
                <a:gd name="T100" fmla="*/ 1640 w 1812"/>
                <a:gd name="T101" fmla="*/ 545 h 674"/>
                <a:gd name="T102" fmla="*/ 1626 w 1812"/>
                <a:gd name="T103" fmla="*/ 554 h 674"/>
                <a:gd name="T104" fmla="*/ 1617 w 1812"/>
                <a:gd name="T105" fmla="*/ 556 h 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12" h="674">
                  <a:moveTo>
                    <a:pt x="1462" y="627"/>
                  </a:moveTo>
                  <a:lnTo>
                    <a:pt x="1462" y="556"/>
                  </a:lnTo>
                  <a:lnTo>
                    <a:pt x="916" y="556"/>
                  </a:lnTo>
                  <a:lnTo>
                    <a:pt x="372" y="556"/>
                  </a:lnTo>
                  <a:lnTo>
                    <a:pt x="372" y="627"/>
                  </a:lnTo>
                  <a:lnTo>
                    <a:pt x="916" y="627"/>
                  </a:lnTo>
                  <a:lnTo>
                    <a:pt x="1462" y="627"/>
                  </a:lnTo>
                  <a:close/>
                  <a:moveTo>
                    <a:pt x="1508" y="556"/>
                  </a:moveTo>
                  <a:lnTo>
                    <a:pt x="1508" y="627"/>
                  </a:lnTo>
                  <a:lnTo>
                    <a:pt x="1812" y="627"/>
                  </a:lnTo>
                  <a:lnTo>
                    <a:pt x="1812" y="674"/>
                  </a:lnTo>
                  <a:lnTo>
                    <a:pt x="906" y="674"/>
                  </a:lnTo>
                  <a:lnTo>
                    <a:pt x="0" y="674"/>
                  </a:lnTo>
                  <a:lnTo>
                    <a:pt x="0" y="627"/>
                  </a:lnTo>
                  <a:lnTo>
                    <a:pt x="326" y="627"/>
                  </a:lnTo>
                  <a:lnTo>
                    <a:pt x="326" y="556"/>
                  </a:lnTo>
                  <a:lnTo>
                    <a:pt x="235" y="556"/>
                  </a:lnTo>
                  <a:lnTo>
                    <a:pt x="232" y="556"/>
                  </a:lnTo>
                  <a:lnTo>
                    <a:pt x="227" y="554"/>
                  </a:lnTo>
                  <a:lnTo>
                    <a:pt x="223" y="551"/>
                  </a:lnTo>
                  <a:lnTo>
                    <a:pt x="219" y="549"/>
                  </a:lnTo>
                  <a:lnTo>
                    <a:pt x="206" y="541"/>
                  </a:lnTo>
                  <a:lnTo>
                    <a:pt x="200" y="536"/>
                  </a:lnTo>
                  <a:lnTo>
                    <a:pt x="193" y="530"/>
                  </a:lnTo>
                  <a:lnTo>
                    <a:pt x="185" y="521"/>
                  </a:lnTo>
                  <a:lnTo>
                    <a:pt x="177" y="513"/>
                  </a:lnTo>
                  <a:lnTo>
                    <a:pt x="169" y="503"/>
                  </a:lnTo>
                  <a:lnTo>
                    <a:pt x="160" y="490"/>
                  </a:lnTo>
                  <a:lnTo>
                    <a:pt x="152" y="478"/>
                  </a:lnTo>
                  <a:lnTo>
                    <a:pt x="143" y="463"/>
                  </a:lnTo>
                  <a:lnTo>
                    <a:pt x="136" y="448"/>
                  </a:lnTo>
                  <a:lnTo>
                    <a:pt x="129" y="435"/>
                  </a:lnTo>
                  <a:lnTo>
                    <a:pt x="117" y="406"/>
                  </a:lnTo>
                  <a:lnTo>
                    <a:pt x="108" y="379"/>
                  </a:lnTo>
                  <a:lnTo>
                    <a:pt x="99" y="353"/>
                  </a:lnTo>
                  <a:lnTo>
                    <a:pt x="65" y="353"/>
                  </a:lnTo>
                  <a:lnTo>
                    <a:pt x="65" y="205"/>
                  </a:lnTo>
                  <a:lnTo>
                    <a:pt x="99" y="205"/>
                  </a:lnTo>
                  <a:lnTo>
                    <a:pt x="103" y="191"/>
                  </a:lnTo>
                  <a:lnTo>
                    <a:pt x="108" y="179"/>
                  </a:lnTo>
                  <a:lnTo>
                    <a:pt x="117" y="150"/>
                  </a:lnTo>
                  <a:lnTo>
                    <a:pt x="123" y="137"/>
                  </a:lnTo>
                  <a:lnTo>
                    <a:pt x="129" y="123"/>
                  </a:lnTo>
                  <a:lnTo>
                    <a:pt x="136" y="108"/>
                  </a:lnTo>
                  <a:lnTo>
                    <a:pt x="143" y="95"/>
                  </a:lnTo>
                  <a:lnTo>
                    <a:pt x="152" y="80"/>
                  </a:lnTo>
                  <a:lnTo>
                    <a:pt x="160" y="66"/>
                  </a:lnTo>
                  <a:lnTo>
                    <a:pt x="169" y="54"/>
                  </a:lnTo>
                  <a:lnTo>
                    <a:pt x="177" y="44"/>
                  </a:lnTo>
                  <a:lnTo>
                    <a:pt x="185" y="35"/>
                  </a:lnTo>
                  <a:lnTo>
                    <a:pt x="193" y="28"/>
                  </a:lnTo>
                  <a:lnTo>
                    <a:pt x="200" y="21"/>
                  </a:lnTo>
                  <a:lnTo>
                    <a:pt x="206" y="15"/>
                  </a:lnTo>
                  <a:lnTo>
                    <a:pt x="213" y="11"/>
                  </a:lnTo>
                  <a:lnTo>
                    <a:pt x="219" y="8"/>
                  </a:lnTo>
                  <a:lnTo>
                    <a:pt x="227" y="3"/>
                  </a:lnTo>
                  <a:lnTo>
                    <a:pt x="232" y="1"/>
                  </a:lnTo>
                  <a:lnTo>
                    <a:pt x="235" y="0"/>
                  </a:lnTo>
                  <a:lnTo>
                    <a:pt x="926" y="0"/>
                  </a:lnTo>
                  <a:lnTo>
                    <a:pt x="1617" y="0"/>
                  </a:lnTo>
                  <a:lnTo>
                    <a:pt x="1620" y="1"/>
                  </a:lnTo>
                  <a:lnTo>
                    <a:pt x="1626" y="3"/>
                  </a:lnTo>
                  <a:lnTo>
                    <a:pt x="1630" y="5"/>
                  </a:lnTo>
                  <a:lnTo>
                    <a:pt x="1635" y="8"/>
                  </a:lnTo>
                  <a:lnTo>
                    <a:pt x="1646" y="15"/>
                  </a:lnTo>
                  <a:lnTo>
                    <a:pt x="1653" y="21"/>
                  </a:lnTo>
                  <a:lnTo>
                    <a:pt x="1660" y="28"/>
                  </a:lnTo>
                  <a:lnTo>
                    <a:pt x="1667" y="35"/>
                  </a:lnTo>
                  <a:lnTo>
                    <a:pt x="1676" y="44"/>
                  </a:lnTo>
                  <a:lnTo>
                    <a:pt x="1684" y="54"/>
                  </a:lnTo>
                  <a:lnTo>
                    <a:pt x="1692" y="66"/>
                  </a:lnTo>
                  <a:lnTo>
                    <a:pt x="1701" y="80"/>
                  </a:lnTo>
                  <a:lnTo>
                    <a:pt x="1709" y="95"/>
                  </a:lnTo>
                  <a:lnTo>
                    <a:pt x="1718" y="111"/>
                  </a:lnTo>
                  <a:lnTo>
                    <a:pt x="1725" y="127"/>
                  </a:lnTo>
                  <a:lnTo>
                    <a:pt x="1738" y="159"/>
                  </a:lnTo>
                  <a:lnTo>
                    <a:pt x="1749" y="190"/>
                  </a:lnTo>
                  <a:lnTo>
                    <a:pt x="1753" y="205"/>
                  </a:lnTo>
                  <a:lnTo>
                    <a:pt x="1757" y="219"/>
                  </a:lnTo>
                  <a:lnTo>
                    <a:pt x="1762" y="242"/>
                  </a:lnTo>
                  <a:lnTo>
                    <a:pt x="1765" y="262"/>
                  </a:lnTo>
                  <a:lnTo>
                    <a:pt x="1768" y="278"/>
                  </a:lnTo>
                  <a:lnTo>
                    <a:pt x="1765" y="296"/>
                  </a:lnTo>
                  <a:lnTo>
                    <a:pt x="1762" y="314"/>
                  </a:lnTo>
                  <a:lnTo>
                    <a:pt x="1757" y="339"/>
                  </a:lnTo>
                  <a:lnTo>
                    <a:pt x="1753" y="353"/>
                  </a:lnTo>
                  <a:lnTo>
                    <a:pt x="1749" y="366"/>
                  </a:lnTo>
                  <a:lnTo>
                    <a:pt x="1744" y="382"/>
                  </a:lnTo>
                  <a:lnTo>
                    <a:pt x="1738" y="397"/>
                  </a:lnTo>
                  <a:lnTo>
                    <a:pt x="1733" y="413"/>
                  </a:lnTo>
                  <a:lnTo>
                    <a:pt x="1725" y="430"/>
                  </a:lnTo>
                  <a:lnTo>
                    <a:pt x="1718" y="447"/>
                  </a:lnTo>
                  <a:lnTo>
                    <a:pt x="1709" y="463"/>
                  </a:lnTo>
                  <a:lnTo>
                    <a:pt x="1701" y="478"/>
                  </a:lnTo>
                  <a:lnTo>
                    <a:pt x="1692" y="490"/>
                  </a:lnTo>
                  <a:lnTo>
                    <a:pt x="1684" y="503"/>
                  </a:lnTo>
                  <a:lnTo>
                    <a:pt x="1676" y="513"/>
                  </a:lnTo>
                  <a:lnTo>
                    <a:pt x="1667" y="521"/>
                  </a:lnTo>
                  <a:lnTo>
                    <a:pt x="1660" y="530"/>
                  </a:lnTo>
                  <a:lnTo>
                    <a:pt x="1653" y="536"/>
                  </a:lnTo>
                  <a:lnTo>
                    <a:pt x="1646" y="541"/>
                  </a:lnTo>
                  <a:lnTo>
                    <a:pt x="1640" y="545"/>
                  </a:lnTo>
                  <a:lnTo>
                    <a:pt x="1635" y="549"/>
                  </a:lnTo>
                  <a:lnTo>
                    <a:pt x="1626" y="554"/>
                  </a:lnTo>
                  <a:lnTo>
                    <a:pt x="1620" y="556"/>
                  </a:lnTo>
                  <a:lnTo>
                    <a:pt x="1617" y="556"/>
                  </a:lnTo>
                  <a:lnTo>
                    <a:pt x="1508" y="556"/>
                  </a:lnTo>
                  <a:close/>
                </a:path>
              </a:pathLst>
            </a:custGeom>
            <a:grpFill/>
            <a:ln>
              <a:solidFill>
                <a:schemeClr val="bg1"/>
              </a:solid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endParaRPr>
            </a:p>
          </p:txBody>
        </p:sp>
      </p:grpSp>
      <p:sp>
        <p:nvSpPr>
          <p:cNvPr id="293" name="Freeform: Shape 292">
            <a:extLst>
              <a:ext uri="{FF2B5EF4-FFF2-40B4-BE49-F238E27FC236}">
                <a16:creationId xmlns:a16="http://schemas.microsoft.com/office/drawing/2014/main" id="{103E25DA-3201-45A1-CFC4-F034F4B168BC}"/>
              </a:ext>
            </a:extLst>
          </p:cNvPr>
          <p:cNvSpPr>
            <a:spLocks noChangeArrowheads="1"/>
          </p:cNvSpPr>
          <p:nvPr/>
        </p:nvSpPr>
        <p:spPr bwMode="auto">
          <a:xfrm>
            <a:off x="8209608" y="2341249"/>
            <a:ext cx="861626" cy="257340"/>
          </a:xfrm>
          <a:custGeom>
            <a:avLst/>
            <a:gdLst>
              <a:gd name="connsiteX0" fmla="*/ 586901 w 861626"/>
              <a:gd name="connsiteY0" fmla="*/ 0 h 257340"/>
              <a:gd name="connsiteX1" fmla="*/ 621661 w 861626"/>
              <a:gd name="connsiteY1" fmla="*/ 0 h 257340"/>
              <a:gd name="connsiteX2" fmla="*/ 621661 w 861626"/>
              <a:gd name="connsiteY2" fmla="*/ 28909 h 257340"/>
              <a:gd name="connsiteX3" fmla="*/ 764064 w 861626"/>
              <a:gd name="connsiteY3" fmla="*/ 28909 h 257340"/>
              <a:gd name="connsiteX4" fmla="*/ 774122 w 861626"/>
              <a:gd name="connsiteY4" fmla="*/ 29926 h 257340"/>
              <a:gd name="connsiteX5" fmla="*/ 783174 w 861626"/>
              <a:gd name="connsiteY5" fmla="*/ 30943 h 257340"/>
              <a:gd name="connsiteX6" fmla="*/ 793232 w 861626"/>
              <a:gd name="connsiteY6" fmla="*/ 33993 h 257340"/>
              <a:gd name="connsiteX7" fmla="*/ 801278 w 861626"/>
              <a:gd name="connsiteY7" fmla="*/ 37044 h 257340"/>
              <a:gd name="connsiteX8" fmla="*/ 810330 w 861626"/>
              <a:gd name="connsiteY8" fmla="*/ 41112 h 257340"/>
              <a:gd name="connsiteX9" fmla="*/ 818377 w 861626"/>
              <a:gd name="connsiteY9" fmla="*/ 46196 h 257340"/>
              <a:gd name="connsiteX10" fmla="*/ 825417 w 861626"/>
              <a:gd name="connsiteY10" fmla="*/ 51281 h 257340"/>
              <a:gd name="connsiteX11" fmla="*/ 832458 w 861626"/>
              <a:gd name="connsiteY11" fmla="*/ 57382 h 257340"/>
              <a:gd name="connsiteX12" fmla="*/ 839498 w 861626"/>
              <a:gd name="connsiteY12" fmla="*/ 64501 h 257340"/>
              <a:gd name="connsiteX13" fmla="*/ 842516 w 861626"/>
              <a:gd name="connsiteY13" fmla="*/ 68568 h 257340"/>
              <a:gd name="connsiteX14" fmla="*/ 844527 w 861626"/>
              <a:gd name="connsiteY14" fmla="*/ 72636 h 257340"/>
              <a:gd name="connsiteX15" fmla="*/ 847545 w 861626"/>
              <a:gd name="connsiteY15" fmla="*/ 76704 h 257340"/>
              <a:gd name="connsiteX16" fmla="*/ 849556 w 861626"/>
              <a:gd name="connsiteY16" fmla="*/ 80771 h 257340"/>
              <a:gd name="connsiteX17" fmla="*/ 853580 w 861626"/>
              <a:gd name="connsiteY17" fmla="*/ 88907 h 257340"/>
              <a:gd name="connsiteX18" fmla="*/ 857603 w 861626"/>
              <a:gd name="connsiteY18" fmla="*/ 98059 h 257340"/>
              <a:gd name="connsiteX19" fmla="*/ 859614 w 861626"/>
              <a:gd name="connsiteY19" fmla="*/ 107211 h 257340"/>
              <a:gd name="connsiteX20" fmla="*/ 860620 w 861626"/>
              <a:gd name="connsiteY20" fmla="*/ 112296 h 257340"/>
              <a:gd name="connsiteX21" fmla="*/ 860620 w 861626"/>
              <a:gd name="connsiteY21" fmla="*/ 116364 h 257340"/>
              <a:gd name="connsiteX22" fmla="*/ 861626 w 861626"/>
              <a:gd name="connsiteY22" fmla="*/ 126533 h 257340"/>
              <a:gd name="connsiteX23" fmla="*/ 860620 w 861626"/>
              <a:gd name="connsiteY23" fmla="*/ 136702 h 257340"/>
              <a:gd name="connsiteX24" fmla="*/ 860620 w 861626"/>
              <a:gd name="connsiteY24" fmla="*/ 141786 h 257340"/>
              <a:gd name="connsiteX25" fmla="*/ 859614 w 861626"/>
              <a:gd name="connsiteY25" fmla="*/ 146871 h 257340"/>
              <a:gd name="connsiteX26" fmla="*/ 857603 w 861626"/>
              <a:gd name="connsiteY26" fmla="*/ 156023 h 257340"/>
              <a:gd name="connsiteX27" fmla="*/ 853580 w 861626"/>
              <a:gd name="connsiteY27" fmla="*/ 165175 h 257340"/>
              <a:gd name="connsiteX28" fmla="*/ 849556 w 861626"/>
              <a:gd name="connsiteY28" fmla="*/ 173311 h 257340"/>
              <a:gd name="connsiteX29" fmla="*/ 844527 w 861626"/>
              <a:gd name="connsiteY29" fmla="*/ 181446 h 257340"/>
              <a:gd name="connsiteX30" fmla="*/ 839498 w 861626"/>
              <a:gd name="connsiteY30" fmla="*/ 188564 h 257340"/>
              <a:gd name="connsiteX31" fmla="*/ 836481 w 861626"/>
              <a:gd name="connsiteY31" fmla="*/ 192632 h 257340"/>
              <a:gd name="connsiteX32" fmla="*/ 832458 w 861626"/>
              <a:gd name="connsiteY32" fmla="*/ 195683 h 257340"/>
              <a:gd name="connsiteX33" fmla="*/ 825417 w 861626"/>
              <a:gd name="connsiteY33" fmla="*/ 201784 h 257340"/>
              <a:gd name="connsiteX34" fmla="*/ 818377 w 861626"/>
              <a:gd name="connsiteY34" fmla="*/ 207886 h 257340"/>
              <a:gd name="connsiteX35" fmla="*/ 810330 w 861626"/>
              <a:gd name="connsiteY35" fmla="*/ 212970 h 257340"/>
              <a:gd name="connsiteX36" fmla="*/ 801278 w 861626"/>
              <a:gd name="connsiteY36" fmla="*/ 217038 h 257340"/>
              <a:gd name="connsiteX37" fmla="*/ 793232 w 861626"/>
              <a:gd name="connsiteY37" fmla="*/ 220088 h 257340"/>
              <a:gd name="connsiteX38" fmla="*/ 783174 w 861626"/>
              <a:gd name="connsiteY38" fmla="*/ 222122 h 257340"/>
              <a:gd name="connsiteX39" fmla="*/ 774122 w 861626"/>
              <a:gd name="connsiteY39" fmla="*/ 224156 h 257340"/>
              <a:gd name="connsiteX40" fmla="*/ 764064 w 861626"/>
              <a:gd name="connsiteY40" fmla="*/ 224156 h 257340"/>
              <a:gd name="connsiteX41" fmla="*/ 645296 w 861626"/>
              <a:gd name="connsiteY41" fmla="*/ 224156 h 257340"/>
              <a:gd name="connsiteX42" fmla="*/ 645296 w 861626"/>
              <a:gd name="connsiteY42" fmla="*/ 257340 h 257340"/>
              <a:gd name="connsiteX43" fmla="*/ 570539 w 861626"/>
              <a:gd name="connsiteY43" fmla="*/ 257340 h 257340"/>
              <a:gd name="connsiteX44" fmla="*/ 570539 w 861626"/>
              <a:gd name="connsiteY44" fmla="*/ 224156 h 257340"/>
              <a:gd name="connsiteX45" fmla="*/ 117336 w 861626"/>
              <a:gd name="connsiteY45" fmla="*/ 224156 h 257340"/>
              <a:gd name="connsiteX46" fmla="*/ 107278 w 861626"/>
              <a:gd name="connsiteY46" fmla="*/ 224156 h 257340"/>
              <a:gd name="connsiteX47" fmla="*/ 98225 w 861626"/>
              <a:gd name="connsiteY47" fmla="*/ 222122 h 257340"/>
              <a:gd name="connsiteX48" fmla="*/ 88168 w 861626"/>
              <a:gd name="connsiteY48" fmla="*/ 220088 h 257340"/>
              <a:gd name="connsiteX49" fmla="*/ 80121 w 861626"/>
              <a:gd name="connsiteY49" fmla="*/ 217038 h 257340"/>
              <a:gd name="connsiteX50" fmla="*/ 71069 w 861626"/>
              <a:gd name="connsiteY50" fmla="*/ 212970 h 257340"/>
              <a:gd name="connsiteX51" fmla="*/ 63023 w 861626"/>
              <a:gd name="connsiteY51" fmla="*/ 207886 h 257340"/>
              <a:gd name="connsiteX52" fmla="*/ 55982 w 861626"/>
              <a:gd name="connsiteY52" fmla="*/ 201784 h 257340"/>
              <a:gd name="connsiteX53" fmla="*/ 48941 w 861626"/>
              <a:gd name="connsiteY53" fmla="*/ 195683 h 257340"/>
              <a:gd name="connsiteX54" fmla="*/ 41901 w 861626"/>
              <a:gd name="connsiteY54" fmla="*/ 188564 h 257340"/>
              <a:gd name="connsiteX55" fmla="*/ 38883 w 861626"/>
              <a:gd name="connsiteY55" fmla="*/ 185513 h 257340"/>
              <a:gd name="connsiteX56" fmla="*/ 36872 w 861626"/>
              <a:gd name="connsiteY56" fmla="*/ 181446 h 257340"/>
              <a:gd name="connsiteX57" fmla="*/ 33854 w 861626"/>
              <a:gd name="connsiteY57" fmla="*/ 177378 h 257340"/>
              <a:gd name="connsiteX58" fmla="*/ 31843 w 861626"/>
              <a:gd name="connsiteY58" fmla="*/ 173311 h 257340"/>
              <a:gd name="connsiteX59" fmla="*/ 27820 w 861626"/>
              <a:gd name="connsiteY59" fmla="*/ 165175 h 257340"/>
              <a:gd name="connsiteX60" fmla="*/ 27446 w 861626"/>
              <a:gd name="connsiteY60" fmla="*/ 164324 h 257340"/>
              <a:gd name="connsiteX61" fmla="*/ 0 w 861626"/>
              <a:gd name="connsiteY61" fmla="*/ 164324 h 257340"/>
              <a:gd name="connsiteX62" fmla="*/ 0 w 861626"/>
              <a:gd name="connsiteY62" fmla="*/ 88741 h 257340"/>
              <a:gd name="connsiteX63" fmla="*/ 27902 w 861626"/>
              <a:gd name="connsiteY63" fmla="*/ 88741 h 257340"/>
              <a:gd name="connsiteX64" fmla="*/ 31843 w 861626"/>
              <a:gd name="connsiteY64" fmla="*/ 80771 h 257340"/>
              <a:gd name="connsiteX65" fmla="*/ 36872 w 861626"/>
              <a:gd name="connsiteY65" fmla="*/ 72636 h 257340"/>
              <a:gd name="connsiteX66" fmla="*/ 41901 w 861626"/>
              <a:gd name="connsiteY66" fmla="*/ 64501 h 257340"/>
              <a:gd name="connsiteX67" fmla="*/ 44918 w 861626"/>
              <a:gd name="connsiteY67" fmla="*/ 61450 h 257340"/>
              <a:gd name="connsiteX68" fmla="*/ 48941 w 861626"/>
              <a:gd name="connsiteY68" fmla="*/ 57382 h 257340"/>
              <a:gd name="connsiteX69" fmla="*/ 55982 w 861626"/>
              <a:gd name="connsiteY69" fmla="*/ 51281 h 257340"/>
              <a:gd name="connsiteX70" fmla="*/ 63023 w 861626"/>
              <a:gd name="connsiteY70" fmla="*/ 46196 h 257340"/>
              <a:gd name="connsiteX71" fmla="*/ 71069 w 861626"/>
              <a:gd name="connsiteY71" fmla="*/ 41112 h 257340"/>
              <a:gd name="connsiteX72" fmla="*/ 80121 w 861626"/>
              <a:gd name="connsiteY72" fmla="*/ 37044 h 257340"/>
              <a:gd name="connsiteX73" fmla="*/ 88168 w 861626"/>
              <a:gd name="connsiteY73" fmla="*/ 33993 h 257340"/>
              <a:gd name="connsiteX74" fmla="*/ 98225 w 861626"/>
              <a:gd name="connsiteY74" fmla="*/ 30943 h 257340"/>
              <a:gd name="connsiteX75" fmla="*/ 107278 w 861626"/>
              <a:gd name="connsiteY75" fmla="*/ 29926 h 257340"/>
              <a:gd name="connsiteX76" fmla="*/ 117336 w 861626"/>
              <a:gd name="connsiteY76" fmla="*/ 28909 h 257340"/>
              <a:gd name="connsiteX77" fmla="*/ 586901 w 861626"/>
              <a:gd name="connsiteY77" fmla="*/ 28909 h 257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861626" h="257340">
                <a:moveTo>
                  <a:pt x="586901" y="0"/>
                </a:moveTo>
                <a:lnTo>
                  <a:pt x="621661" y="0"/>
                </a:lnTo>
                <a:lnTo>
                  <a:pt x="621661" y="28909"/>
                </a:lnTo>
                <a:lnTo>
                  <a:pt x="764064" y="28909"/>
                </a:lnTo>
                <a:lnTo>
                  <a:pt x="774122" y="29926"/>
                </a:lnTo>
                <a:lnTo>
                  <a:pt x="783174" y="30943"/>
                </a:lnTo>
                <a:lnTo>
                  <a:pt x="793232" y="33993"/>
                </a:lnTo>
                <a:lnTo>
                  <a:pt x="801278" y="37044"/>
                </a:lnTo>
                <a:lnTo>
                  <a:pt x="810330" y="41112"/>
                </a:lnTo>
                <a:lnTo>
                  <a:pt x="818377" y="46196"/>
                </a:lnTo>
                <a:lnTo>
                  <a:pt x="825417" y="51281"/>
                </a:lnTo>
                <a:lnTo>
                  <a:pt x="832458" y="57382"/>
                </a:lnTo>
                <a:lnTo>
                  <a:pt x="839498" y="64501"/>
                </a:lnTo>
                <a:lnTo>
                  <a:pt x="842516" y="68568"/>
                </a:lnTo>
                <a:lnTo>
                  <a:pt x="844527" y="72636"/>
                </a:lnTo>
                <a:lnTo>
                  <a:pt x="847545" y="76704"/>
                </a:lnTo>
                <a:lnTo>
                  <a:pt x="849556" y="80771"/>
                </a:lnTo>
                <a:lnTo>
                  <a:pt x="853580" y="88907"/>
                </a:lnTo>
                <a:lnTo>
                  <a:pt x="857603" y="98059"/>
                </a:lnTo>
                <a:lnTo>
                  <a:pt x="859614" y="107211"/>
                </a:lnTo>
                <a:lnTo>
                  <a:pt x="860620" y="112296"/>
                </a:lnTo>
                <a:lnTo>
                  <a:pt x="860620" y="116364"/>
                </a:lnTo>
                <a:lnTo>
                  <a:pt x="861626" y="126533"/>
                </a:lnTo>
                <a:lnTo>
                  <a:pt x="860620" y="136702"/>
                </a:lnTo>
                <a:lnTo>
                  <a:pt x="860620" y="141786"/>
                </a:lnTo>
                <a:lnTo>
                  <a:pt x="859614" y="146871"/>
                </a:lnTo>
                <a:lnTo>
                  <a:pt x="857603" y="156023"/>
                </a:lnTo>
                <a:lnTo>
                  <a:pt x="853580" y="165175"/>
                </a:lnTo>
                <a:lnTo>
                  <a:pt x="849556" y="173311"/>
                </a:lnTo>
                <a:lnTo>
                  <a:pt x="844527" y="181446"/>
                </a:lnTo>
                <a:lnTo>
                  <a:pt x="839498" y="188564"/>
                </a:lnTo>
                <a:lnTo>
                  <a:pt x="836481" y="192632"/>
                </a:lnTo>
                <a:lnTo>
                  <a:pt x="832458" y="195683"/>
                </a:lnTo>
                <a:lnTo>
                  <a:pt x="825417" y="201784"/>
                </a:lnTo>
                <a:lnTo>
                  <a:pt x="818377" y="207886"/>
                </a:lnTo>
                <a:lnTo>
                  <a:pt x="810330" y="212970"/>
                </a:lnTo>
                <a:lnTo>
                  <a:pt x="801278" y="217038"/>
                </a:lnTo>
                <a:lnTo>
                  <a:pt x="793232" y="220088"/>
                </a:lnTo>
                <a:lnTo>
                  <a:pt x="783174" y="222122"/>
                </a:lnTo>
                <a:lnTo>
                  <a:pt x="774122" y="224156"/>
                </a:lnTo>
                <a:lnTo>
                  <a:pt x="764064" y="224156"/>
                </a:lnTo>
                <a:lnTo>
                  <a:pt x="645296" y="224156"/>
                </a:lnTo>
                <a:lnTo>
                  <a:pt x="645296" y="257340"/>
                </a:lnTo>
                <a:lnTo>
                  <a:pt x="570539" y="257340"/>
                </a:lnTo>
                <a:lnTo>
                  <a:pt x="570539" y="224156"/>
                </a:lnTo>
                <a:lnTo>
                  <a:pt x="117336" y="224156"/>
                </a:lnTo>
                <a:lnTo>
                  <a:pt x="107278" y="224156"/>
                </a:lnTo>
                <a:lnTo>
                  <a:pt x="98225" y="222122"/>
                </a:lnTo>
                <a:lnTo>
                  <a:pt x="88168" y="220088"/>
                </a:lnTo>
                <a:lnTo>
                  <a:pt x="80121" y="217038"/>
                </a:lnTo>
                <a:lnTo>
                  <a:pt x="71069" y="212970"/>
                </a:lnTo>
                <a:lnTo>
                  <a:pt x="63023" y="207886"/>
                </a:lnTo>
                <a:lnTo>
                  <a:pt x="55982" y="201784"/>
                </a:lnTo>
                <a:lnTo>
                  <a:pt x="48941" y="195683"/>
                </a:lnTo>
                <a:lnTo>
                  <a:pt x="41901" y="188564"/>
                </a:lnTo>
                <a:lnTo>
                  <a:pt x="38883" y="185513"/>
                </a:lnTo>
                <a:lnTo>
                  <a:pt x="36872" y="181446"/>
                </a:lnTo>
                <a:lnTo>
                  <a:pt x="33854" y="177378"/>
                </a:lnTo>
                <a:lnTo>
                  <a:pt x="31843" y="173311"/>
                </a:lnTo>
                <a:lnTo>
                  <a:pt x="27820" y="165175"/>
                </a:lnTo>
                <a:lnTo>
                  <a:pt x="27446" y="164324"/>
                </a:lnTo>
                <a:lnTo>
                  <a:pt x="0" y="164324"/>
                </a:lnTo>
                <a:lnTo>
                  <a:pt x="0" y="88741"/>
                </a:lnTo>
                <a:lnTo>
                  <a:pt x="27902" y="88741"/>
                </a:lnTo>
                <a:lnTo>
                  <a:pt x="31843" y="80771"/>
                </a:lnTo>
                <a:lnTo>
                  <a:pt x="36872" y="72636"/>
                </a:lnTo>
                <a:lnTo>
                  <a:pt x="41901" y="64501"/>
                </a:lnTo>
                <a:lnTo>
                  <a:pt x="44918" y="61450"/>
                </a:lnTo>
                <a:lnTo>
                  <a:pt x="48941" y="57382"/>
                </a:lnTo>
                <a:lnTo>
                  <a:pt x="55982" y="51281"/>
                </a:lnTo>
                <a:lnTo>
                  <a:pt x="63023" y="46196"/>
                </a:lnTo>
                <a:lnTo>
                  <a:pt x="71069" y="41112"/>
                </a:lnTo>
                <a:lnTo>
                  <a:pt x="80121" y="37044"/>
                </a:lnTo>
                <a:lnTo>
                  <a:pt x="88168" y="33993"/>
                </a:lnTo>
                <a:lnTo>
                  <a:pt x="98225" y="30943"/>
                </a:lnTo>
                <a:lnTo>
                  <a:pt x="107278" y="29926"/>
                </a:lnTo>
                <a:lnTo>
                  <a:pt x="117336" y="28909"/>
                </a:lnTo>
                <a:lnTo>
                  <a:pt x="586901" y="28909"/>
                </a:lnTo>
                <a:close/>
              </a:path>
            </a:pathLst>
          </a:custGeom>
          <a:solidFill>
            <a:schemeClr val="tx1"/>
          </a:solidFill>
          <a:ln>
            <a:solidFill>
              <a:schemeClr val="bg1"/>
            </a:solidFill>
          </a:ln>
        </p:spPr>
        <p:txBody>
          <a:bodyPr vert="horz" wrap="square" lIns="68580" tIns="34290" rIns="68580" bIns="3429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endParaRPr>
          </a:p>
        </p:txBody>
      </p:sp>
      <p:grpSp>
        <p:nvGrpSpPr>
          <p:cNvPr id="120" name="Group 119">
            <a:extLst>
              <a:ext uri="{FF2B5EF4-FFF2-40B4-BE49-F238E27FC236}">
                <a16:creationId xmlns:a16="http://schemas.microsoft.com/office/drawing/2014/main" id="{88F00570-E131-D564-E38C-DB8176B25532}"/>
              </a:ext>
            </a:extLst>
          </p:cNvPr>
          <p:cNvGrpSpPr/>
          <p:nvPr/>
        </p:nvGrpSpPr>
        <p:grpSpPr>
          <a:xfrm>
            <a:off x="3456785" y="4603597"/>
            <a:ext cx="728199" cy="274566"/>
            <a:chOff x="2752725" y="3254375"/>
            <a:chExt cx="574676" cy="214313"/>
          </a:xfrm>
          <a:solidFill>
            <a:schemeClr val="tx1"/>
          </a:solidFill>
        </p:grpSpPr>
        <p:sp>
          <p:nvSpPr>
            <p:cNvPr id="255" name="Rectangle 306">
              <a:extLst>
                <a:ext uri="{FF2B5EF4-FFF2-40B4-BE49-F238E27FC236}">
                  <a16:creationId xmlns:a16="http://schemas.microsoft.com/office/drawing/2014/main" id="{CEF59F81-07C9-208C-5D42-1CE5066E602C}"/>
                </a:ext>
              </a:extLst>
            </p:cNvPr>
            <p:cNvSpPr>
              <a:spLocks noChangeArrowheads="1"/>
            </p:cNvSpPr>
            <p:nvPr/>
          </p:nvSpPr>
          <p:spPr bwMode="auto">
            <a:xfrm>
              <a:off x="3303588" y="3319463"/>
              <a:ext cx="23813" cy="46038"/>
            </a:xfrm>
            <a:prstGeom prst="rect">
              <a:avLst/>
            </a:prstGeom>
            <a:grpFill/>
            <a:ln>
              <a:solidFill>
                <a:schemeClr val="bg1"/>
              </a:solid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endParaRPr>
            </a:p>
          </p:txBody>
        </p:sp>
        <p:sp>
          <p:nvSpPr>
            <p:cNvPr id="256" name="Rectangle 307">
              <a:extLst>
                <a:ext uri="{FF2B5EF4-FFF2-40B4-BE49-F238E27FC236}">
                  <a16:creationId xmlns:a16="http://schemas.microsoft.com/office/drawing/2014/main" id="{BE62B1DD-9F68-A5E8-E274-C940211F9CDE}"/>
                </a:ext>
              </a:extLst>
            </p:cNvPr>
            <p:cNvSpPr>
              <a:spLocks noChangeArrowheads="1"/>
            </p:cNvSpPr>
            <p:nvPr/>
          </p:nvSpPr>
          <p:spPr bwMode="auto">
            <a:xfrm>
              <a:off x="2752725" y="3332163"/>
              <a:ext cx="61913" cy="22225"/>
            </a:xfrm>
            <a:prstGeom prst="rect">
              <a:avLst/>
            </a:prstGeom>
            <a:grpFill/>
            <a:ln>
              <a:solidFill>
                <a:schemeClr val="bg1"/>
              </a:solid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endParaRPr>
            </a:p>
          </p:txBody>
        </p:sp>
        <p:sp>
          <p:nvSpPr>
            <p:cNvPr id="257" name="Freeform 308">
              <a:extLst>
                <a:ext uri="{FF2B5EF4-FFF2-40B4-BE49-F238E27FC236}">
                  <a16:creationId xmlns:a16="http://schemas.microsoft.com/office/drawing/2014/main" id="{825DEB72-082E-A116-C3EE-7BA69F1C82F0}"/>
                </a:ext>
              </a:extLst>
            </p:cNvPr>
            <p:cNvSpPr>
              <a:spLocks noEditPoints="1"/>
            </p:cNvSpPr>
            <p:nvPr/>
          </p:nvSpPr>
          <p:spPr bwMode="auto">
            <a:xfrm>
              <a:off x="2752725" y="3254375"/>
              <a:ext cx="574675" cy="214313"/>
            </a:xfrm>
            <a:custGeom>
              <a:avLst/>
              <a:gdLst>
                <a:gd name="T0" fmla="*/ 1462 w 1812"/>
                <a:gd name="T1" fmla="*/ 556 h 674"/>
                <a:gd name="T2" fmla="*/ 372 w 1812"/>
                <a:gd name="T3" fmla="*/ 556 h 674"/>
                <a:gd name="T4" fmla="*/ 916 w 1812"/>
                <a:gd name="T5" fmla="*/ 627 h 674"/>
                <a:gd name="T6" fmla="*/ 1508 w 1812"/>
                <a:gd name="T7" fmla="*/ 556 h 674"/>
                <a:gd name="T8" fmla="*/ 1812 w 1812"/>
                <a:gd name="T9" fmla="*/ 627 h 674"/>
                <a:gd name="T10" fmla="*/ 906 w 1812"/>
                <a:gd name="T11" fmla="*/ 674 h 674"/>
                <a:gd name="T12" fmla="*/ 0 w 1812"/>
                <a:gd name="T13" fmla="*/ 627 h 674"/>
                <a:gd name="T14" fmla="*/ 326 w 1812"/>
                <a:gd name="T15" fmla="*/ 556 h 674"/>
                <a:gd name="T16" fmla="*/ 232 w 1812"/>
                <a:gd name="T17" fmla="*/ 556 h 674"/>
                <a:gd name="T18" fmla="*/ 223 w 1812"/>
                <a:gd name="T19" fmla="*/ 551 h 674"/>
                <a:gd name="T20" fmla="*/ 206 w 1812"/>
                <a:gd name="T21" fmla="*/ 541 h 674"/>
                <a:gd name="T22" fmla="*/ 193 w 1812"/>
                <a:gd name="T23" fmla="*/ 530 h 674"/>
                <a:gd name="T24" fmla="*/ 177 w 1812"/>
                <a:gd name="T25" fmla="*/ 513 h 674"/>
                <a:gd name="T26" fmla="*/ 160 w 1812"/>
                <a:gd name="T27" fmla="*/ 490 h 674"/>
                <a:gd name="T28" fmla="*/ 143 w 1812"/>
                <a:gd name="T29" fmla="*/ 463 h 674"/>
                <a:gd name="T30" fmla="*/ 129 w 1812"/>
                <a:gd name="T31" fmla="*/ 435 h 674"/>
                <a:gd name="T32" fmla="*/ 108 w 1812"/>
                <a:gd name="T33" fmla="*/ 379 h 674"/>
                <a:gd name="T34" fmla="*/ 65 w 1812"/>
                <a:gd name="T35" fmla="*/ 353 h 674"/>
                <a:gd name="T36" fmla="*/ 99 w 1812"/>
                <a:gd name="T37" fmla="*/ 205 h 674"/>
                <a:gd name="T38" fmla="*/ 108 w 1812"/>
                <a:gd name="T39" fmla="*/ 179 h 674"/>
                <a:gd name="T40" fmla="*/ 123 w 1812"/>
                <a:gd name="T41" fmla="*/ 137 h 674"/>
                <a:gd name="T42" fmla="*/ 136 w 1812"/>
                <a:gd name="T43" fmla="*/ 108 h 674"/>
                <a:gd name="T44" fmla="*/ 152 w 1812"/>
                <a:gd name="T45" fmla="*/ 80 h 674"/>
                <a:gd name="T46" fmla="*/ 169 w 1812"/>
                <a:gd name="T47" fmla="*/ 54 h 674"/>
                <a:gd name="T48" fmla="*/ 185 w 1812"/>
                <a:gd name="T49" fmla="*/ 35 h 674"/>
                <a:gd name="T50" fmla="*/ 200 w 1812"/>
                <a:gd name="T51" fmla="*/ 21 h 674"/>
                <a:gd name="T52" fmla="*/ 213 w 1812"/>
                <a:gd name="T53" fmla="*/ 11 h 674"/>
                <a:gd name="T54" fmla="*/ 227 w 1812"/>
                <a:gd name="T55" fmla="*/ 3 h 674"/>
                <a:gd name="T56" fmla="*/ 235 w 1812"/>
                <a:gd name="T57" fmla="*/ 0 h 674"/>
                <a:gd name="T58" fmla="*/ 1617 w 1812"/>
                <a:gd name="T59" fmla="*/ 0 h 674"/>
                <a:gd name="T60" fmla="*/ 1626 w 1812"/>
                <a:gd name="T61" fmla="*/ 3 h 674"/>
                <a:gd name="T62" fmla="*/ 1635 w 1812"/>
                <a:gd name="T63" fmla="*/ 8 h 674"/>
                <a:gd name="T64" fmla="*/ 1653 w 1812"/>
                <a:gd name="T65" fmla="*/ 21 h 674"/>
                <a:gd name="T66" fmla="*/ 1667 w 1812"/>
                <a:gd name="T67" fmla="*/ 35 h 674"/>
                <a:gd name="T68" fmla="*/ 1684 w 1812"/>
                <a:gd name="T69" fmla="*/ 54 h 674"/>
                <a:gd name="T70" fmla="*/ 1701 w 1812"/>
                <a:gd name="T71" fmla="*/ 80 h 674"/>
                <a:gd name="T72" fmla="*/ 1718 w 1812"/>
                <a:gd name="T73" fmla="*/ 111 h 674"/>
                <a:gd name="T74" fmla="*/ 1738 w 1812"/>
                <a:gd name="T75" fmla="*/ 159 h 674"/>
                <a:gd name="T76" fmla="*/ 1753 w 1812"/>
                <a:gd name="T77" fmla="*/ 205 h 674"/>
                <a:gd name="T78" fmla="*/ 1762 w 1812"/>
                <a:gd name="T79" fmla="*/ 242 h 674"/>
                <a:gd name="T80" fmla="*/ 1768 w 1812"/>
                <a:gd name="T81" fmla="*/ 278 h 674"/>
                <a:gd name="T82" fmla="*/ 1762 w 1812"/>
                <a:gd name="T83" fmla="*/ 314 h 674"/>
                <a:gd name="T84" fmla="*/ 1753 w 1812"/>
                <a:gd name="T85" fmla="*/ 353 h 674"/>
                <a:gd name="T86" fmla="*/ 1744 w 1812"/>
                <a:gd name="T87" fmla="*/ 382 h 674"/>
                <a:gd name="T88" fmla="*/ 1733 w 1812"/>
                <a:gd name="T89" fmla="*/ 413 h 674"/>
                <a:gd name="T90" fmla="*/ 1718 w 1812"/>
                <a:gd name="T91" fmla="*/ 447 h 674"/>
                <a:gd name="T92" fmla="*/ 1701 w 1812"/>
                <a:gd name="T93" fmla="*/ 478 h 674"/>
                <a:gd name="T94" fmla="*/ 1684 w 1812"/>
                <a:gd name="T95" fmla="*/ 503 h 674"/>
                <a:gd name="T96" fmla="*/ 1667 w 1812"/>
                <a:gd name="T97" fmla="*/ 521 h 674"/>
                <a:gd name="T98" fmla="*/ 1653 w 1812"/>
                <a:gd name="T99" fmla="*/ 536 h 674"/>
                <a:gd name="T100" fmla="*/ 1640 w 1812"/>
                <a:gd name="T101" fmla="*/ 545 h 674"/>
                <a:gd name="T102" fmla="*/ 1626 w 1812"/>
                <a:gd name="T103" fmla="*/ 554 h 674"/>
                <a:gd name="T104" fmla="*/ 1617 w 1812"/>
                <a:gd name="T105" fmla="*/ 556 h 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12" h="674">
                  <a:moveTo>
                    <a:pt x="1462" y="627"/>
                  </a:moveTo>
                  <a:lnTo>
                    <a:pt x="1462" y="556"/>
                  </a:lnTo>
                  <a:lnTo>
                    <a:pt x="916" y="556"/>
                  </a:lnTo>
                  <a:lnTo>
                    <a:pt x="372" y="556"/>
                  </a:lnTo>
                  <a:lnTo>
                    <a:pt x="372" y="627"/>
                  </a:lnTo>
                  <a:lnTo>
                    <a:pt x="916" y="627"/>
                  </a:lnTo>
                  <a:lnTo>
                    <a:pt x="1462" y="627"/>
                  </a:lnTo>
                  <a:close/>
                  <a:moveTo>
                    <a:pt x="1508" y="556"/>
                  </a:moveTo>
                  <a:lnTo>
                    <a:pt x="1508" y="627"/>
                  </a:lnTo>
                  <a:lnTo>
                    <a:pt x="1812" y="627"/>
                  </a:lnTo>
                  <a:lnTo>
                    <a:pt x="1812" y="674"/>
                  </a:lnTo>
                  <a:lnTo>
                    <a:pt x="906" y="674"/>
                  </a:lnTo>
                  <a:lnTo>
                    <a:pt x="0" y="674"/>
                  </a:lnTo>
                  <a:lnTo>
                    <a:pt x="0" y="627"/>
                  </a:lnTo>
                  <a:lnTo>
                    <a:pt x="326" y="627"/>
                  </a:lnTo>
                  <a:lnTo>
                    <a:pt x="326" y="556"/>
                  </a:lnTo>
                  <a:lnTo>
                    <a:pt x="235" y="556"/>
                  </a:lnTo>
                  <a:lnTo>
                    <a:pt x="232" y="556"/>
                  </a:lnTo>
                  <a:lnTo>
                    <a:pt x="227" y="554"/>
                  </a:lnTo>
                  <a:lnTo>
                    <a:pt x="223" y="551"/>
                  </a:lnTo>
                  <a:lnTo>
                    <a:pt x="219" y="549"/>
                  </a:lnTo>
                  <a:lnTo>
                    <a:pt x="206" y="541"/>
                  </a:lnTo>
                  <a:lnTo>
                    <a:pt x="200" y="536"/>
                  </a:lnTo>
                  <a:lnTo>
                    <a:pt x="193" y="530"/>
                  </a:lnTo>
                  <a:lnTo>
                    <a:pt x="185" y="521"/>
                  </a:lnTo>
                  <a:lnTo>
                    <a:pt x="177" y="513"/>
                  </a:lnTo>
                  <a:lnTo>
                    <a:pt x="169" y="503"/>
                  </a:lnTo>
                  <a:lnTo>
                    <a:pt x="160" y="490"/>
                  </a:lnTo>
                  <a:lnTo>
                    <a:pt x="152" y="478"/>
                  </a:lnTo>
                  <a:lnTo>
                    <a:pt x="143" y="463"/>
                  </a:lnTo>
                  <a:lnTo>
                    <a:pt x="136" y="448"/>
                  </a:lnTo>
                  <a:lnTo>
                    <a:pt x="129" y="435"/>
                  </a:lnTo>
                  <a:lnTo>
                    <a:pt x="117" y="406"/>
                  </a:lnTo>
                  <a:lnTo>
                    <a:pt x="108" y="379"/>
                  </a:lnTo>
                  <a:lnTo>
                    <a:pt x="99" y="353"/>
                  </a:lnTo>
                  <a:lnTo>
                    <a:pt x="65" y="353"/>
                  </a:lnTo>
                  <a:lnTo>
                    <a:pt x="65" y="205"/>
                  </a:lnTo>
                  <a:lnTo>
                    <a:pt x="99" y="205"/>
                  </a:lnTo>
                  <a:lnTo>
                    <a:pt x="103" y="191"/>
                  </a:lnTo>
                  <a:lnTo>
                    <a:pt x="108" y="179"/>
                  </a:lnTo>
                  <a:lnTo>
                    <a:pt x="117" y="150"/>
                  </a:lnTo>
                  <a:lnTo>
                    <a:pt x="123" y="137"/>
                  </a:lnTo>
                  <a:lnTo>
                    <a:pt x="129" y="123"/>
                  </a:lnTo>
                  <a:lnTo>
                    <a:pt x="136" y="108"/>
                  </a:lnTo>
                  <a:lnTo>
                    <a:pt x="143" y="95"/>
                  </a:lnTo>
                  <a:lnTo>
                    <a:pt x="152" y="80"/>
                  </a:lnTo>
                  <a:lnTo>
                    <a:pt x="160" y="66"/>
                  </a:lnTo>
                  <a:lnTo>
                    <a:pt x="169" y="54"/>
                  </a:lnTo>
                  <a:lnTo>
                    <a:pt x="177" y="44"/>
                  </a:lnTo>
                  <a:lnTo>
                    <a:pt x="185" y="35"/>
                  </a:lnTo>
                  <a:lnTo>
                    <a:pt x="193" y="28"/>
                  </a:lnTo>
                  <a:lnTo>
                    <a:pt x="200" y="21"/>
                  </a:lnTo>
                  <a:lnTo>
                    <a:pt x="206" y="15"/>
                  </a:lnTo>
                  <a:lnTo>
                    <a:pt x="213" y="11"/>
                  </a:lnTo>
                  <a:lnTo>
                    <a:pt x="219" y="8"/>
                  </a:lnTo>
                  <a:lnTo>
                    <a:pt x="227" y="3"/>
                  </a:lnTo>
                  <a:lnTo>
                    <a:pt x="232" y="1"/>
                  </a:lnTo>
                  <a:lnTo>
                    <a:pt x="235" y="0"/>
                  </a:lnTo>
                  <a:lnTo>
                    <a:pt x="926" y="0"/>
                  </a:lnTo>
                  <a:lnTo>
                    <a:pt x="1617" y="0"/>
                  </a:lnTo>
                  <a:lnTo>
                    <a:pt x="1620" y="1"/>
                  </a:lnTo>
                  <a:lnTo>
                    <a:pt x="1626" y="3"/>
                  </a:lnTo>
                  <a:lnTo>
                    <a:pt x="1630" y="5"/>
                  </a:lnTo>
                  <a:lnTo>
                    <a:pt x="1635" y="8"/>
                  </a:lnTo>
                  <a:lnTo>
                    <a:pt x="1646" y="15"/>
                  </a:lnTo>
                  <a:lnTo>
                    <a:pt x="1653" y="21"/>
                  </a:lnTo>
                  <a:lnTo>
                    <a:pt x="1660" y="28"/>
                  </a:lnTo>
                  <a:lnTo>
                    <a:pt x="1667" y="35"/>
                  </a:lnTo>
                  <a:lnTo>
                    <a:pt x="1676" y="44"/>
                  </a:lnTo>
                  <a:lnTo>
                    <a:pt x="1684" y="54"/>
                  </a:lnTo>
                  <a:lnTo>
                    <a:pt x="1692" y="66"/>
                  </a:lnTo>
                  <a:lnTo>
                    <a:pt x="1701" y="80"/>
                  </a:lnTo>
                  <a:lnTo>
                    <a:pt x="1709" y="95"/>
                  </a:lnTo>
                  <a:lnTo>
                    <a:pt x="1718" y="111"/>
                  </a:lnTo>
                  <a:lnTo>
                    <a:pt x="1725" y="127"/>
                  </a:lnTo>
                  <a:lnTo>
                    <a:pt x="1738" y="159"/>
                  </a:lnTo>
                  <a:lnTo>
                    <a:pt x="1749" y="190"/>
                  </a:lnTo>
                  <a:lnTo>
                    <a:pt x="1753" y="205"/>
                  </a:lnTo>
                  <a:lnTo>
                    <a:pt x="1757" y="219"/>
                  </a:lnTo>
                  <a:lnTo>
                    <a:pt x="1762" y="242"/>
                  </a:lnTo>
                  <a:lnTo>
                    <a:pt x="1765" y="262"/>
                  </a:lnTo>
                  <a:lnTo>
                    <a:pt x="1768" y="278"/>
                  </a:lnTo>
                  <a:lnTo>
                    <a:pt x="1765" y="296"/>
                  </a:lnTo>
                  <a:lnTo>
                    <a:pt x="1762" y="314"/>
                  </a:lnTo>
                  <a:lnTo>
                    <a:pt x="1757" y="339"/>
                  </a:lnTo>
                  <a:lnTo>
                    <a:pt x="1753" y="353"/>
                  </a:lnTo>
                  <a:lnTo>
                    <a:pt x="1749" y="366"/>
                  </a:lnTo>
                  <a:lnTo>
                    <a:pt x="1744" y="382"/>
                  </a:lnTo>
                  <a:lnTo>
                    <a:pt x="1738" y="397"/>
                  </a:lnTo>
                  <a:lnTo>
                    <a:pt x="1733" y="413"/>
                  </a:lnTo>
                  <a:lnTo>
                    <a:pt x="1725" y="430"/>
                  </a:lnTo>
                  <a:lnTo>
                    <a:pt x="1718" y="447"/>
                  </a:lnTo>
                  <a:lnTo>
                    <a:pt x="1709" y="463"/>
                  </a:lnTo>
                  <a:lnTo>
                    <a:pt x="1701" y="478"/>
                  </a:lnTo>
                  <a:lnTo>
                    <a:pt x="1692" y="490"/>
                  </a:lnTo>
                  <a:lnTo>
                    <a:pt x="1684" y="503"/>
                  </a:lnTo>
                  <a:lnTo>
                    <a:pt x="1676" y="513"/>
                  </a:lnTo>
                  <a:lnTo>
                    <a:pt x="1667" y="521"/>
                  </a:lnTo>
                  <a:lnTo>
                    <a:pt x="1660" y="530"/>
                  </a:lnTo>
                  <a:lnTo>
                    <a:pt x="1653" y="536"/>
                  </a:lnTo>
                  <a:lnTo>
                    <a:pt x="1646" y="541"/>
                  </a:lnTo>
                  <a:lnTo>
                    <a:pt x="1640" y="545"/>
                  </a:lnTo>
                  <a:lnTo>
                    <a:pt x="1635" y="549"/>
                  </a:lnTo>
                  <a:lnTo>
                    <a:pt x="1626" y="554"/>
                  </a:lnTo>
                  <a:lnTo>
                    <a:pt x="1620" y="556"/>
                  </a:lnTo>
                  <a:lnTo>
                    <a:pt x="1617" y="556"/>
                  </a:lnTo>
                  <a:lnTo>
                    <a:pt x="1508" y="556"/>
                  </a:lnTo>
                  <a:close/>
                </a:path>
              </a:pathLst>
            </a:custGeom>
            <a:grpFill/>
            <a:ln>
              <a:solidFill>
                <a:schemeClr val="bg1"/>
              </a:solid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endParaRPr>
            </a:p>
          </p:txBody>
        </p:sp>
      </p:grpSp>
      <p:grpSp>
        <p:nvGrpSpPr>
          <p:cNvPr id="121" name="Group 120">
            <a:extLst>
              <a:ext uri="{FF2B5EF4-FFF2-40B4-BE49-F238E27FC236}">
                <a16:creationId xmlns:a16="http://schemas.microsoft.com/office/drawing/2014/main" id="{A8CF897D-92E9-7571-4466-231F32ED49DA}"/>
              </a:ext>
            </a:extLst>
          </p:cNvPr>
          <p:cNvGrpSpPr/>
          <p:nvPr/>
        </p:nvGrpSpPr>
        <p:grpSpPr>
          <a:xfrm>
            <a:off x="8699927" y="5025302"/>
            <a:ext cx="473865" cy="422027"/>
            <a:chOff x="7417262" y="4000776"/>
            <a:chExt cx="398627" cy="355020"/>
          </a:xfrm>
          <a:solidFill>
            <a:schemeClr val="tx1"/>
          </a:solidFill>
        </p:grpSpPr>
        <p:sp>
          <p:nvSpPr>
            <p:cNvPr id="253" name="Rectangle 252">
              <a:extLst>
                <a:ext uri="{FF2B5EF4-FFF2-40B4-BE49-F238E27FC236}">
                  <a16:creationId xmlns:a16="http://schemas.microsoft.com/office/drawing/2014/main" id="{B5B6B5EA-FB4A-A29B-13AC-971A1B5321AD}"/>
                </a:ext>
              </a:extLst>
            </p:cNvPr>
            <p:cNvSpPr/>
            <p:nvPr/>
          </p:nvSpPr>
          <p:spPr>
            <a:xfrm>
              <a:off x="7655135" y="4114459"/>
              <a:ext cx="108853" cy="146303"/>
            </a:xfrm>
            <a:prstGeom prst="rect">
              <a:avLst/>
            </a:prstGeom>
            <a:grpFill/>
            <a:ln w="9525" cap="flat" cmpd="sng" algn="ctr">
              <a:solidFill>
                <a:schemeClr val="bg1"/>
              </a:solid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ea typeface="+mn-ea"/>
                <a:cs typeface="+mn-cs"/>
              </a:endParaRPr>
            </a:p>
          </p:txBody>
        </p:sp>
        <p:sp>
          <p:nvSpPr>
            <p:cNvPr id="254" name="Freeform 515">
              <a:extLst>
                <a:ext uri="{FF2B5EF4-FFF2-40B4-BE49-F238E27FC236}">
                  <a16:creationId xmlns:a16="http://schemas.microsoft.com/office/drawing/2014/main" id="{A2FFEC0C-4DE3-E9B4-8B79-82F8D70B57E8}"/>
                </a:ext>
              </a:extLst>
            </p:cNvPr>
            <p:cNvSpPr>
              <a:spLocks noEditPoints="1"/>
            </p:cNvSpPr>
            <p:nvPr/>
          </p:nvSpPr>
          <p:spPr bwMode="auto">
            <a:xfrm>
              <a:off x="7417262" y="4000776"/>
              <a:ext cx="398627" cy="355020"/>
            </a:xfrm>
            <a:custGeom>
              <a:avLst/>
              <a:gdLst>
                <a:gd name="T0" fmla="*/ 96 w 135"/>
                <a:gd name="T1" fmla="*/ 12 h 119"/>
                <a:gd name="T2" fmla="*/ 108 w 135"/>
                <a:gd name="T3" fmla="*/ 8 h 119"/>
                <a:gd name="T4" fmla="*/ 108 w 135"/>
                <a:gd name="T5" fmla="*/ 13 h 119"/>
                <a:gd name="T6" fmla="*/ 110 w 135"/>
                <a:gd name="T7" fmla="*/ 0 h 119"/>
                <a:gd name="T8" fmla="*/ 108 w 135"/>
                <a:gd name="T9" fmla="*/ 6 h 119"/>
                <a:gd name="T10" fmla="*/ 96 w 135"/>
                <a:gd name="T11" fmla="*/ 0 h 119"/>
                <a:gd name="T12" fmla="*/ 94 w 135"/>
                <a:gd name="T13" fmla="*/ 11 h 119"/>
                <a:gd name="T14" fmla="*/ 96 w 135"/>
                <a:gd name="T15" fmla="*/ 14 h 119"/>
                <a:gd name="T16" fmla="*/ 108 w 135"/>
                <a:gd name="T17" fmla="*/ 13 h 119"/>
                <a:gd name="T18" fmla="*/ 108 w 135"/>
                <a:gd name="T19" fmla="*/ 22 h 119"/>
                <a:gd name="T20" fmla="*/ 96 w 135"/>
                <a:gd name="T21" fmla="*/ 16 h 119"/>
                <a:gd name="T22" fmla="*/ 96 w 135"/>
                <a:gd name="T23" fmla="*/ 30 h 119"/>
                <a:gd name="T24" fmla="*/ 108 w 135"/>
                <a:gd name="T25" fmla="*/ 24 h 119"/>
                <a:gd name="T26" fmla="*/ 96 w 135"/>
                <a:gd name="T27" fmla="*/ 30 h 119"/>
                <a:gd name="T28" fmla="*/ 108 w 135"/>
                <a:gd name="T29" fmla="*/ 38 h 119"/>
                <a:gd name="T30" fmla="*/ 96 w 135"/>
                <a:gd name="T31" fmla="*/ 32 h 119"/>
                <a:gd name="T32" fmla="*/ 96 w 135"/>
                <a:gd name="T33" fmla="*/ 46 h 119"/>
                <a:gd name="T34" fmla="*/ 108 w 135"/>
                <a:gd name="T35" fmla="*/ 40 h 119"/>
                <a:gd name="T36" fmla="*/ 96 w 135"/>
                <a:gd name="T37" fmla="*/ 46 h 119"/>
                <a:gd name="T38" fmla="*/ 108 w 135"/>
                <a:gd name="T39" fmla="*/ 54 h 119"/>
                <a:gd name="T40" fmla="*/ 96 w 135"/>
                <a:gd name="T41" fmla="*/ 48 h 119"/>
                <a:gd name="T42" fmla="*/ 96 w 135"/>
                <a:gd name="T43" fmla="*/ 62 h 119"/>
                <a:gd name="T44" fmla="*/ 108 w 135"/>
                <a:gd name="T45" fmla="*/ 56 h 119"/>
                <a:gd name="T46" fmla="*/ 96 w 135"/>
                <a:gd name="T47" fmla="*/ 62 h 119"/>
                <a:gd name="T48" fmla="*/ 108 w 135"/>
                <a:gd name="T49" fmla="*/ 70 h 119"/>
                <a:gd name="T50" fmla="*/ 96 w 135"/>
                <a:gd name="T51" fmla="*/ 64 h 119"/>
                <a:gd name="T52" fmla="*/ 96 w 135"/>
                <a:gd name="T53" fmla="*/ 78 h 119"/>
                <a:gd name="T54" fmla="*/ 108 w 135"/>
                <a:gd name="T55" fmla="*/ 72 h 119"/>
                <a:gd name="T56" fmla="*/ 96 w 135"/>
                <a:gd name="T57" fmla="*/ 78 h 119"/>
                <a:gd name="T58" fmla="*/ 108 w 135"/>
                <a:gd name="T59" fmla="*/ 86 h 119"/>
                <a:gd name="T60" fmla="*/ 96 w 135"/>
                <a:gd name="T61" fmla="*/ 80 h 119"/>
                <a:gd name="T62" fmla="*/ 96 w 135"/>
                <a:gd name="T63" fmla="*/ 94 h 119"/>
                <a:gd name="T64" fmla="*/ 108 w 135"/>
                <a:gd name="T65" fmla="*/ 88 h 119"/>
                <a:gd name="T66" fmla="*/ 96 w 135"/>
                <a:gd name="T67" fmla="*/ 94 h 119"/>
                <a:gd name="T68" fmla="*/ 108 w 135"/>
                <a:gd name="T69" fmla="*/ 102 h 119"/>
                <a:gd name="T70" fmla="*/ 96 w 135"/>
                <a:gd name="T71" fmla="*/ 96 h 119"/>
                <a:gd name="T72" fmla="*/ 135 w 135"/>
                <a:gd name="T73" fmla="*/ 119 h 119"/>
                <a:gd name="T74" fmla="*/ 126 w 135"/>
                <a:gd name="T75" fmla="*/ 110 h 119"/>
                <a:gd name="T76" fmla="*/ 126 w 135"/>
                <a:gd name="T77" fmla="*/ 98 h 119"/>
                <a:gd name="T78" fmla="*/ 126 w 135"/>
                <a:gd name="T79" fmla="*/ 25 h 119"/>
                <a:gd name="T80" fmla="*/ 110 w 135"/>
                <a:gd name="T81" fmla="*/ 14 h 119"/>
                <a:gd name="T82" fmla="*/ 108 w 135"/>
                <a:gd name="T83" fmla="*/ 106 h 119"/>
                <a:gd name="T84" fmla="*/ 96 w 135"/>
                <a:gd name="T85" fmla="*/ 104 h 119"/>
                <a:gd name="T86" fmla="*/ 94 w 135"/>
                <a:gd name="T87" fmla="*/ 106 h 119"/>
                <a:gd name="T88" fmla="*/ 62 w 135"/>
                <a:gd name="T89" fmla="*/ 10 h 119"/>
                <a:gd name="T90" fmla="*/ 6 w 135"/>
                <a:gd name="T91" fmla="*/ 25 h 119"/>
                <a:gd name="T92" fmla="*/ 6 w 135"/>
                <a:gd name="T93" fmla="*/ 106 h 119"/>
                <a:gd name="T94" fmla="*/ 66 w 135"/>
                <a:gd name="T95" fmla="*/ 110 h 119"/>
                <a:gd name="T96" fmla="*/ 0 w 135"/>
                <a:gd name="T97" fmla="*/ 119 h 119"/>
                <a:gd name="T98" fmla="*/ 126 w 135"/>
                <a:gd name="T99"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5" h="119">
                  <a:moveTo>
                    <a:pt x="108" y="13"/>
                  </a:moveTo>
                  <a:cubicBezTo>
                    <a:pt x="105" y="13"/>
                    <a:pt x="101" y="12"/>
                    <a:pt x="96" y="12"/>
                  </a:cubicBezTo>
                  <a:cubicBezTo>
                    <a:pt x="96" y="8"/>
                    <a:pt x="96" y="8"/>
                    <a:pt x="96" y="8"/>
                  </a:cubicBezTo>
                  <a:cubicBezTo>
                    <a:pt x="108" y="8"/>
                    <a:pt x="108" y="8"/>
                    <a:pt x="108" y="8"/>
                  </a:cubicBezTo>
                  <a:lnTo>
                    <a:pt x="108" y="13"/>
                  </a:lnTo>
                  <a:close/>
                  <a:moveTo>
                    <a:pt x="108" y="13"/>
                  </a:moveTo>
                  <a:cubicBezTo>
                    <a:pt x="110" y="14"/>
                    <a:pt x="110" y="14"/>
                    <a:pt x="110" y="14"/>
                  </a:cubicBezTo>
                  <a:cubicBezTo>
                    <a:pt x="110" y="0"/>
                    <a:pt x="110" y="0"/>
                    <a:pt x="110" y="0"/>
                  </a:cubicBezTo>
                  <a:cubicBezTo>
                    <a:pt x="108" y="0"/>
                    <a:pt x="108" y="0"/>
                    <a:pt x="108" y="0"/>
                  </a:cubicBezTo>
                  <a:cubicBezTo>
                    <a:pt x="108" y="6"/>
                    <a:pt x="108" y="6"/>
                    <a:pt x="108" y="6"/>
                  </a:cubicBezTo>
                  <a:cubicBezTo>
                    <a:pt x="96" y="6"/>
                    <a:pt x="96" y="6"/>
                    <a:pt x="96" y="6"/>
                  </a:cubicBezTo>
                  <a:cubicBezTo>
                    <a:pt x="96" y="0"/>
                    <a:pt x="96" y="0"/>
                    <a:pt x="96" y="0"/>
                  </a:cubicBezTo>
                  <a:cubicBezTo>
                    <a:pt x="94" y="0"/>
                    <a:pt x="94" y="0"/>
                    <a:pt x="94" y="0"/>
                  </a:cubicBezTo>
                  <a:cubicBezTo>
                    <a:pt x="94" y="11"/>
                    <a:pt x="94" y="11"/>
                    <a:pt x="94" y="11"/>
                  </a:cubicBezTo>
                  <a:cubicBezTo>
                    <a:pt x="96" y="12"/>
                    <a:pt x="96" y="12"/>
                    <a:pt x="96" y="12"/>
                  </a:cubicBezTo>
                  <a:cubicBezTo>
                    <a:pt x="96" y="14"/>
                    <a:pt x="96" y="14"/>
                    <a:pt x="96" y="14"/>
                  </a:cubicBezTo>
                  <a:cubicBezTo>
                    <a:pt x="108" y="14"/>
                    <a:pt x="108" y="14"/>
                    <a:pt x="108" y="14"/>
                  </a:cubicBezTo>
                  <a:lnTo>
                    <a:pt x="108" y="13"/>
                  </a:lnTo>
                  <a:close/>
                  <a:moveTo>
                    <a:pt x="96" y="22"/>
                  </a:moveTo>
                  <a:cubicBezTo>
                    <a:pt x="108" y="22"/>
                    <a:pt x="108" y="22"/>
                    <a:pt x="108" y="22"/>
                  </a:cubicBezTo>
                  <a:cubicBezTo>
                    <a:pt x="108" y="16"/>
                    <a:pt x="108" y="16"/>
                    <a:pt x="108" y="16"/>
                  </a:cubicBezTo>
                  <a:cubicBezTo>
                    <a:pt x="96" y="16"/>
                    <a:pt x="96" y="16"/>
                    <a:pt x="96" y="16"/>
                  </a:cubicBezTo>
                  <a:lnTo>
                    <a:pt x="96" y="22"/>
                  </a:lnTo>
                  <a:close/>
                  <a:moveTo>
                    <a:pt x="96" y="30"/>
                  </a:moveTo>
                  <a:cubicBezTo>
                    <a:pt x="108" y="30"/>
                    <a:pt x="108" y="30"/>
                    <a:pt x="108" y="30"/>
                  </a:cubicBezTo>
                  <a:cubicBezTo>
                    <a:pt x="108" y="24"/>
                    <a:pt x="108" y="24"/>
                    <a:pt x="108" y="24"/>
                  </a:cubicBezTo>
                  <a:cubicBezTo>
                    <a:pt x="96" y="24"/>
                    <a:pt x="96" y="24"/>
                    <a:pt x="96" y="24"/>
                  </a:cubicBezTo>
                  <a:lnTo>
                    <a:pt x="96" y="30"/>
                  </a:lnTo>
                  <a:close/>
                  <a:moveTo>
                    <a:pt x="96" y="38"/>
                  </a:moveTo>
                  <a:cubicBezTo>
                    <a:pt x="108" y="38"/>
                    <a:pt x="108" y="38"/>
                    <a:pt x="108" y="38"/>
                  </a:cubicBezTo>
                  <a:cubicBezTo>
                    <a:pt x="108" y="32"/>
                    <a:pt x="108" y="32"/>
                    <a:pt x="108" y="32"/>
                  </a:cubicBezTo>
                  <a:cubicBezTo>
                    <a:pt x="96" y="32"/>
                    <a:pt x="96" y="32"/>
                    <a:pt x="96" y="32"/>
                  </a:cubicBezTo>
                  <a:lnTo>
                    <a:pt x="96" y="38"/>
                  </a:lnTo>
                  <a:close/>
                  <a:moveTo>
                    <a:pt x="96" y="46"/>
                  </a:moveTo>
                  <a:cubicBezTo>
                    <a:pt x="108" y="46"/>
                    <a:pt x="108" y="46"/>
                    <a:pt x="108" y="46"/>
                  </a:cubicBezTo>
                  <a:cubicBezTo>
                    <a:pt x="108" y="40"/>
                    <a:pt x="108" y="40"/>
                    <a:pt x="108" y="40"/>
                  </a:cubicBezTo>
                  <a:cubicBezTo>
                    <a:pt x="96" y="40"/>
                    <a:pt x="96" y="40"/>
                    <a:pt x="96" y="40"/>
                  </a:cubicBezTo>
                  <a:lnTo>
                    <a:pt x="96" y="46"/>
                  </a:lnTo>
                  <a:close/>
                  <a:moveTo>
                    <a:pt x="96" y="54"/>
                  </a:moveTo>
                  <a:cubicBezTo>
                    <a:pt x="108" y="54"/>
                    <a:pt x="108" y="54"/>
                    <a:pt x="108" y="54"/>
                  </a:cubicBezTo>
                  <a:cubicBezTo>
                    <a:pt x="108" y="48"/>
                    <a:pt x="108" y="48"/>
                    <a:pt x="108" y="48"/>
                  </a:cubicBezTo>
                  <a:cubicBezTo>
                    <a:pt x="96" y="48"/>
                    <a:pt x="96" y="48"/>
                    <a:pt x="96" y="48"/>
                  </a:cubicBezTo>
                  <a:lnTo>
                    <a:pt x="96" y="54"/>
                  </a:lnTo>
                  <a:close/>
                  <a:moveTo>
                    <a:pt x="96" y="62"/>
                  </a:moveTo>
                  <a:cubicBezTo>
                    <a:pt x="108" y="62"/>
                    <a:pt x="108" y="62"/>
                    <a:pt x="108" y="62"/>
                  </a:cubicBezTo>
                  <a:cubicBezTo>
                    <a:pt x="108" y="56"/>
                    <a:pt x="108" y="56"/>
                    <a:pt x="108" y="56"/>
                  </a:cubicBezTo>
                  <a:cubicBezTo>
                    <a:pt x="96" y="56"/>
                    <a:pt x="96" y="56"/>
                    <a:pt x="96" y="56"/>
                  </a:cubicBezTo>
                  <a:lnTo>
                    <a:pt x="96" y="62"/>
                  </a:lnTo>
                  <a:close/>
                  <a:moveTo>
                    <a:pt x="96" y="70"/>
                  </a:moveTo>
                  <a:cubicBezTo>
                    <a:pt x="108" y="70"/>
                    <a:pt x="108" y="70"/>
                    <a:pt x="108" y="70"/>
                  </a:cubicBezTo>
                  <a:cubicBezTo>
                    <a:pt x="108" y="64"/>
                    <a:pt x="108" y="64"/>
                    <a:pt x="108" y="64"/>
                  </a:cubicBezTo>
                  <a:cubicBezTo>
                    <a:pt x="96" y="64"/>
                    <a:pt x="96" y="64"/>
                    <a:pt x="96" y="64"/>
                  </a:cubicBezTo>
                  <a:lnTo>
                    <a:pt x="96" y="70"/>
                  </a:lnTo>
                  <a:close/>
                  <a:moveTo>
                    <a:pt x="96" y="78"/>
                  </a:moveTo>
                  <a:cubicBezTo>
                    <a:pt x="108" y="78"/>
                    <a:pt x="108" y="78"/>
                    <a:pt x="108" y="78"/>
                  </a:cubicBezTo>
                  <a:cubicBezTo>
                    <a:pt x="108" y="72"/>
                    <a:pt x="108" y="72"/>
                    <a:pt x="108" y="72"/>
                  </a:cubicBezTo>
                  <a:cubicBezTo>
                    <a:pt x="96" y="72"/>
                    <a:pt x="96" y="72"/>
                    <a:pt x="96" y="72"/>
                  </a:cubicBezTo>
                  <a:lnTo>
                    <a:pt x="96" y="78"/>
                  </a:lnTo>
                  <a:close/>
                  <a:moveTo>
                    <a:pt x="96" y="86"/>
                  </a:moveTo>
                  <a:cubicBezTo>
                    <a:pt x="108" y="86"/>
                    <a:pt x="108" y="86"/>
                    <a:pt x="108" y="86"/>
                  </a:cubicBezTo>
                  <a:cubicBezTo>
                    <a:pt x="108" y="80"/>
                    <a:pt x="108" y="80"/>
                    <a:pt x="108" y="80"/>
                  </a:cubicBezTo>
                  <a:cubicBezTo>
                    <a:pt x="96" y="80"/>
                    <a:pt x="96" y="80"/>
                    <a:pt x="96" y="80"/>
                  </a:cubicBezTo>
                  <a:lnTo>
                    <a:pt x="96" y="86"/>
                  </a:lnTo>
                  <a:close/>
                  <a:moveTo>
                    <a:pt x="96" y="94"/>
                  </a:moveTo>
                  <a:cubicBezTo>
                    <a:pt x="108" y="94"/>
                    <a:pt x="108" y="94"/>
                    <a:pt x="108" y="94"/>
                  </a:cubicBezTo>
                  <a:cubicBezTo>
                    <a:pt x="108" y="88"/>
                    <a:pt x="108" y="88"/>
                    <a:pt x="108" y="88"/>
                  </a:cubicBezTo>
                  <a:cubicBezTo>
                    <a:pt x="96" y="88"/>
                    <a:pt x="96" y="88"/>
                    <a:pt x="96" y="88"/>
                  </a:cubicBezTo>
                  <a:lnTo>
                    <a:pt x="96" y="94"/>
                  </a:lnTo>
                  <a:close/>
                  <a:moveTo>
                    <a:pt x="96" y="102"/>
                  </a:moveTo>
                  <a:cubicBezTo>
                    <a:pt x="108" y="102"/>
                    <a:pt x="108" y="102"/>
                    <a:pt x="108" y="102"/>
                  </a:cubicBezTo>
                  <a:cubicBezTo>
                    <a:pt x="108" y="96"/>
                    <a:pt x="108" y="96"/>
                    <a:pt x="108" y="96"/>
                  </a:cubicBezTo>
                  <a:cubicBezTo>
                    <a:pt x="96" y="96"/>
                    <a:pt x="96" y="96"/>
                    <a:pt x="96" y="96"/>
                  </a:cubicBezTo>
                  <a:lnTo>
                    <a:pt x="96" y="102"/>
                  </a:lnTo>
                  <a:close/>
                  <a:moveTo>
                    <a:pt x="135" y="119"/>
                  </a:moveTo>
                  <a:cubicBezTo>
                    <a:pt x="135" y="110"/>
                    <a:pt x="135" y="110"/>
                    <a:pt x="135" y="110"/>
                  </a:cubicBezTo>
                  <a:cubicBezTo>
                    <a:pt x="126" y="110"/>
                    <a:pt x="126" y="110"/>
                    <a:pt x="126" y="110"/>
                  </a:cubicBezTo>
                  <a:cubicBezTo>
                    <a:pt x="126" y="106"/>
                    <a:pt x="126" y="106"/>
                    <a:pt x="126" y="106"/>
                  </a:cubicBezTo>
                  <a:cubicBezTo>
                    <a:pt x="126" y="98"/>
                    <a:pt x="126" y="98"/>
                    <a:pt x="126" y="98"/>
                  </a:cubicBezTo>
                  <a:cubicBezTo>
                    <a:pt x="126" y="33"/>
                    <a:pt x="126" y="33"/>
                    <a:pt x="126" y="33"/>
                  </a:cubicBezTo>
                  <a:cubicBezTo>
                    <a:pt x="126" y="25"/>
                    <a:pt x="126" y="25"/>
                    <a:pt x="126" y="25"/>
                  </a:cubicBezTo>
                  <a:cubicBezTo>
                    <a:pt x="126" y="18"/>
                    <a:pt x="126" y="18"/>
                    <a:pt x="126" y="18"/>
                  </a:cubicBezTo>
                  <a:cubicBezTo>
                    <a:pt x="122" y="16"/>
                    <a:pt x="117" y="15"/>
                    <a:pt x="110" y="14"/>
                  </a:cubicBezTo>
                  <a:cubicBezTo>
                    <a:pt x="110" y="106"/>
                    <a:pt x="110" y="106"/>
                    <a:pt x="110" y="106"/>
                  </a:cubicBezTo>
                  <a:cubicBezTo>
                    <a:pt x="108" y="106"/>
                    <a:pt x="108" y="106"/>
                    <a:pt x="108" y="106"/>
                  </a:cubicBezTo>
                  <a:cubicBezTo>
                    <a:pt x="108" y="104"/>
                    <a:pt x="108" y="104"/>
                    <a:pt x="108" y="104"/>
                  </a:cubicBezTo>
                  <a:cubicBezTo>
                    <a:pt x="96" y="104"/>
                    <a:pt x="96" y="104"/>
                    <a:pt x="96" y="104"/>
                  </a:cubicBezTo>
                  <a:cubicBezTo>
                    <a:pt x="96" y="106"/>
                    <a:pt x="96" y="106"/>
                    <a:pt x="96" y="106"/>
                  </a:cubicBezTo>
                  <a:cubicBezTo>
                    <a:pt x="94" y="106"/>
                    <a:pt x="94" y="106"/>
                    <a:pt x="94" y="106"/>
                  </a:cubicBezTo>
                  <a:cubicBezTo>
                    <a:pt x="94" y="11"/>
                    <a:pt x="94" y="11"/>
                    <a:pt x="94" y="11"/>
                  </a:cubicBezTo>
                  <a:cubicBezTo>
                    <a:pt x="85" y="10"/>
                    <a:pt x="74" y="10"/>
                    <a:pt x="62" y="10"/>
                  </a:cubicBezTo>
                  <a:cubicBezTo>
                    <a:pt x="40" y="10"/>
                    <a:pt x="20" y="12"/>
                    <a:pt x="6" y="15"/>
                  </a:cubicBezTo>
                  <a:cubicBezTo>
                    <a:pt x="6" y="25"/>
                    <a:pt x="6" y="25"/>
                    <a:pt x="6" y="25"/>
                  </a:cubicBezTo>
                  <a:cubicBezTo>
                    <a:pt x="6" y="35"/>
                    <a:pt x="6" y="35"/>
                    <a:pt x="6" y="35"/>
                  </a:cubicBezTo>
                  <a:cubicBezTo>
                    <a:pt x="6" y="106"/>
                    <a:pt x="6" y="106"/>
                    <a:pt x="6" y="106"/>
                  </a:cubicBezTo>
                  <a:cubicBezTo>
                    <a:pt x="66" y="106"/>
                    <a:pt x="66" y="106"/>
                    <a:pt x="66" y="106"/>
                  </a:cubicBezTo>
                  <a:cubicBezTo>
                    <a:pt x="66" y="110"/>
                    <a:pt x="66" y="110"/>
                    <a:pt x="66" y="110"/>
                  </a:cubicBezTo>
                  <a:cubicBezTo>
                    <a:pt x="0" y="110"/>
                    <a:pt x="0" y="110"/>
                    <a:pt x="0" y="110"/>
                  </a:cubicBezTo>
                  <a:cubicBezTo>
                    <a:pt x="0" y="119"/>
                    <a:pt x="0" y="119"/>
                    <a:pt x="0" y="119"/>
                  </a:cubicBezTo>
                  <a:cubicBezTo>
                    <a:pt x="66" y="119"/>
                    <a:pt x="66" y="119"/>
                    <a:pt x="66" y="119"/>
                  </a:cubicBezTo>
                  <a:cubicBezTo>
                    <a:pt x="126" y="119"/>
                    <a:pt x="126" y="119"/>
                    <a:pt x="126" y="119"/>
                  </a:cubicBezTo>
                  <a:lnTo>
                    <a:pt x="135" y="119"/>
                  </a:lnTo>
                  <a:close/>
                </a:path>
              </a:pathLst>
            </a:custGeom>
            <a:grpFill/>
            <a:ln>
              <a:solidFill>
                <a:schemeClr val="bg1"/>
              </a:solid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endParaRPr>
            </a:p>
          </p:txBody>
        </p:sp>
      </p:grpSp>
      <p:sp>
        <p:nvSpPr>
          <p:cNvPr id="298" name="Freeform: Shape 297">
            <a:extLst>
              <a:ext uri="{FF2B5EF4-FFF2-40B4-BE49-F238E27FC236}">
                <a16:creationId xmlns:a16="http://schemas.microsoft.com/office/drawing/2014/main" id="{4F7233AC-4B2A-3E6F-DDD2-4E208ABAF0CC}"/>
              </a:ext>
            </a:extLst>
          </p:cNvPr>
          <p:cNvSpPr>
            <a:spLocks noChangeArrowheads="1"/>
          </p:cNvSpPr>
          <p:nvPr/>
        </p:nvSpPr>
        <p:spPr bwMode="auto">
          <a:xfrm>
            <a:off x="7978849" y="3290356"/>
            <a:ext cx="490654" cy="135716"/>
          </a:xfrm>
          <a:custGeom>
            <a:avLst/>
            <a:gdLst>
              <a:gd name="connsiteX0" fmla="*/ 90819 w 490654"/>
              <a:gd name="connsiteY0" fmla="*/ 0 h 135716"/>
              <a:gd name="connsiteX1" fmla="*/ 399835 w 490654"/>
              <a:gd name="connsiteY1" fmla="*/ 0 h 135716"/>
              <a:gd name="connsiteX2" fmla="*/ 406827 w 490654"/>
              <a:gd name="connsiteY2" fmla="*/ 707 h 135716"/>
              <a:gd name="connsiteX3" fmla="*/ 413119 w 490654"/>
              <a:gd name="connsiteY3" fmla="*/ 1414 h 135716"/>
              <a:gd name="connsiteX4" fmla="*/ 420110 w 490654"/>
              <a:gd name="connsiteY4" fmla="*/ 3534 h 135716"/>
              <a:gd name="connsiteX5" fmla="*/ 425703 w 490654"/>
              <a:gd name="connsiteY5" fmla="*/ 5655 h 135716"/>
              <a:gd name="connsiteX6" fmla="*/ 431995 w 490654"/>
              <a:gd name="connsiteY6" fmla="*/ 8482 h 135716"/>
              <a:gd name="connsiteX7" fmla="*/ 437588 w 490654"/>
              <a:gd name="connsiteY7" fmla="*/ 12016 h 135716"/>
              <a:gd name="connsiteX8" fmla="*/ 442482 w 490654"/>
              <a:gd name="connsiteY8" fmla="*/ 15551 h 135716"/>
              <a:gd name="connsiteX9" fmla="*/ 447376 w 490654"/>
              <a:gd name="connsiteY9" fmla="*/ 19792 h 135716"/>
              <a:gd name="connsiteX10" fmla="*/ 452270 w 490654"/>
              <a:gd name="connsiteY10" fmla="*/ 24740 h 135716"/>
              <a:gd name="connsiteX11" fmla="*/ 454367 w 490654"/>
              <a:gd name="connsiteY11" fmla="*/ 27567 h 135716"/>
              <a:gd name="connsiteX12" fmla="*/ 455766 w 490654"/>
              <a:gd name="connsiteY12" fmla="*/ 30395 h 135716"/>
              <a:gd name="connsiteX13" fmla="*/ 457863 w 490654"/>
              <a:gd name="connsiteY13" fmla="*/ 33222 h 135716"/>
              <a:gd name="connsiteX14" fmla="*/ 459261 w 490654"/>
              <a:gd name="connsiteY14" fmla="*/ 36049 h 135716"/>
              <a:gd name="connsiteX15" fmla="*/ 462058 w 490654"/>
              <a:gd name="connsiteY15" fmla="*/ 41704 h 135716"/>
              <a:gd name="connsiteX16" fmla="*/ 463255 w 490654"/>
              <a:gd name="connsiteY16" fmla="*/ 44428 h 135716"/>
              <a:gd name="connsiteX17" fmla="*/ 490654 w 490654"/>
              <a:gd name="connsiteY17" fmla="*/ 44428 h 135716"/>
              <a:gd name="connsiteX18" fmla="*/ 490654 w 490654"/>
              <a:gd name="connsiteY18" fmla="*/ 91287 h 135716"/>
              <a:gd name="connsiteX19" fmla="*/ 463566 w 490654"/>
              <a:gd name="connsiteY19" fmla="*/ 91287 h 135716"/>
              <a:gd name="connsiteX20" fmla="*/ 462058 w 490654"/>
              <a:gd name="connsiteY20" fmla="*/ 94719 h 135716"/>
              <a:gd name="connsiteX21" fmla="*/ 459261 w 490654"/>
              <a:gd name="connsiteY21" fmla="*/ 100373 h 135716"/>
              <a:gd name="connsiteX22" fmla="*/ 455766 w 490654"/>
              <a:gd name="connsiteY22" fmla="*/ 106028 h 135716"/>
              <a:gd name="connsiteX23" fmla="*/ 452270 w 490654"/>
              <a:gd name="connsiteY23" fmla="*/ 110976 h 135716"/>
              <a:gd name="connsiteX24" fmla="*/ 450173 w 490654"/>
              <a:gd name="connsiteY24" fmla="*/ 113804 h 135716"/>
              <a:gd name="connsiteX25" fmla="*/ 447376 w 490654"/>
              <a:gd name="connsiteY25" fmla="*/ 115924 h 135716"/>
              <a:gd name="connsiteX26" fmla="*/ 442482 w 490654"/>
              <a:gd name="connsiteY26" fmla="*/ 120165 h 135716"/>
              <a:gd name="connsiteX27" fmla="*/ 437588 w 490654"/>
              <a:gd name="connsiteY27" fmla="*/ 124406 h 135716"/>
              <a:gd name="connsiteX28" fmla="*/ 431995 w 490654"/>
              <a:gd name="connsiteY28" fmla="*/ 127941 h 135716"/>
              <a:gd name="connsiteX29" fmla="*/ 425703 w 490654"/>
              <a:gd name="connsiteY29" fmla="*/ 130768 h 135716"/>
              <a:gd name="connsiteX30" fmla="*/ 420110 w 490654"/>
              <a:gd name="connsiteY30" fmla="*/ 132889 h 135716"/>
              <a:gd name="connsiteX31" fmla="*/ 413119 w 490654"/>
              <a:gd name="connsiteY31" fmla="*/ 134302 h 135716"/>
              <a:gd name="connsiteX32" fmla="*/ 406827 w 490654"/>
              <a:gd name="connsiteY32" fmla="*/ 135716 h 135716"/>
              <a:gd name="connsiteX33" fmla="*/ 399835 w 490654"/>
              <a:gd name="connsiteY33" fmla="*/ 135716 h 135716"/>
              <a:gd name="connsiteX34" fmla="*/ 90819 w 490654"/>
              <a:gd name="connsiteY34" fmla="*/ 135716 h 135716"/>
              <a:gd name="connsiteX35" fmla="*/ 83828 w 490654"/>
              <a:gd name="connsiteY35" fmla="*/ 135716 h 135716"/>
              <a:gd name="connsiteX36" fmla="*/ 77536 w 490654"/>
              <a:gd name="connsiteY36" fmla="*/ 134302 h 135716"/>
              <a:gd name="connsiteX37" fmla="*/ 70544 w 490654"/>
              <a:gd name="connsiteY37" fmla="*/ 132889 h 135716"/>
              <a:gd name="connsiteX38" fmla="*/ 64951 w 490654"/>
              <a:gd name="connsiteY38" fmla="*/ 130768 h 135716"/>
              <a:gd name="connsiteX39" fmla="*/ 58659 w 490654"/>
              <a:gd name="connsiteY39" fmla="*/ 127941 h 135716"/>
              <a:gd name="connsiteX40" fmla="*/ 53066 w 490654"/>
              <a:gd name="connsiteY40" fmla="*/ 124406 h 135716"/>
              <a:gd name="connsiteX41" fmla="*/ 48172 w 490654"/>
              <a:gd name="connsiteY41" fmla="*/ 120165 h 135716"/>
              <a:gd name="connsiteX42" fmla="*/ 43278 w 490654"/>
              <a:gd name="connsiteY42" fmla="*/ 115924 h 135716"/>
              <a:gd name="connsiteX43" fmla="*/ 38384 w 490654"/>
              <a:gd name="connsiteY43" fmla="*/ 110976 h 135716"/>
              <a:gd name="connsiteX44" fmla="*/ 36287 w 490654"/>
              <a:gd name="connsiteY44" fmla="*/ 108856 h 135716"/>
              <a:gd name="connsiteX45" fmla="*/ 34888 w 490654"/>
              <a:gd name="connsiteY45" fmla="*/ 106028 h 135716"/>
              <a:gd name="connsiteX46" fmla="*/ 32791 w 490654"/>
              <a:gd name="connsiteY46" fmla="*/ 103201 h 135716"/>
              <a:gd name="connsiteX47" fmla="*/ 31393 w 490654"/>
              <a:gd name="connsiteY47" fmla="*/ 100373 h 135716"/>
              <a:gd name="connsiteX48" fmla="*/ 28596 w 490654"/>
              <a:gd name="connsiteY48" fmla="*/ 94719 h 135716"/>
              <a:gd name="connsiteX49" fmla="*/ 27088 w 490654"/>
              <a:gd name="connsiteY49" fmla="*/ 91287 h 135716"/>
              <a:gd name="connsiteX50" fmla="*/ 0 w 490654"/>
              <a:gd name="connsiteY50" fmla="*/ 91287 h 135716"/>
              <a:gd name="connsiteX51" fmla="*/ 0 w 490654"/>
              <a:gd name="connsiteY51" fmla="*/ 44428 h 135716"/>
              <a:gd name="connsiteX52" fmla="*/ 27399 w 490654"/>
              <a:gd name="connsiteY52" fmla="*/ 44428 h 135716"/>
              <a:gd name="connsiteX53" fmla="*/ 28596 w 490654"/>
              <a:gd name="connsiteY53" fmla="*/ 41704 h 135716"/>
              <a:gd name="connsiteX54" fmla="*/ 31393 w 490654"/>
              <a:gd name="connsiteY54" fmla="*/ 36049 h 135716"/>
              <a:gd name="connsiteX55" fmla="*/ 34888 w 490654"/>
              <a:gd name="connsiteY55" fmla="*/ 30395 h 135716"/>
              <a:gd name="connsiteX56" fmla="*/ 38384 w 490654"/>
              <a:gd name="connsiteY56" fmla="*/ 24740 h 135716"/>
              <a:gd name="connsiteX57" fmla="*/ 40482 w 490654"/>
              <a:gd name="connsiteY57" fmla="*/ 22619 h 135716"/>
              <a:gd name="connsiteX58" fmla="*/ 43278 w 490654"/>
              <a:gd name="connsiteY58" fmla="*/ 19792 h 135716"/>
              <a:gd name="connsiteX59" fmla="*/ 48172 w 490654"/>
              <a:gd name="connsiteY59" fmla="*/ 15551 h 135716"/>
              <a:gd name="connsiteX60" fmla="*/ 53066 w 490654"/>
              <a:gd name="connsiteY60" fmla="*/ 12016 h 135716"/>
              <a:gd name="connsiteX61" fmla="*/ 58659 w 490654"/>
              <a:gd name="connsiteY61" fmla="*/ 8482 h 135716"/>
              <a:gd name="connsiteX62" fmla="*/ 64951 w 490654"/>
              <a:gd name="connsiteY62" fmla="*/ 5655 h 135716"/>
              <a:gd name="connsiteX63" fmla="*/ 70544 w 490654"/>
              <a:gd name="connsiteY63" fmla="*/ 3534 h 135716"/>
              <a:gd name="connsiteX64" fmla="*/ 77536 w 490654"/>
              <a:gd name="connsiteY64" fmla="*/ 1414 h 135716"/>
              <a:gd name="connsiteX65" fmla="*/ 83828 w 490654"/>
              <a:gd name="connsiteY65" fmla="*/ 707 h 135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490654" h="135716">
                <a:moveTo>
                  <a:pt x="90819" y="0"/>
                </a:moveTo>
                <a:lnTo>
                  <a:pt x="399835" y="0"/>
                </a:lnTo>
                <a:lnTo>
                  <a:pt x="406827" y="707"/>
                </a:lnTo>
                <a:lnTo>
                  <a:pt x="413119" y="1414"/>
                </a:lnTo>
                <a:lnTo>
                  <a:pt x="420110" y="3534"/>
                </a:lnTo>
                <a:lnTo>
                  <a:pt x="425703" y="5655"/>
                </a:lnTo>
                <a:lnTo>
                  <a:pt x="431995" y="8482"/>
                </a:lnTo>
                <a:lnTo>
                  <a:pt x="437588" y="12016"/>
                </a:lnTo>
                <a:lnTo>
                  <a:pt x="442482" y="15551"/>
                </a:lnTo>
                <a:lnTo>
                  <a:pt x="447376" y="19792"/>
                </a:lnTo>
                <a:lnTo>
                  <a:pt x="452270" y="24740"/>
                </a:lnTo>
                <a:lnTo>
                  <a:pt x="454367" y="27567"/>
                </a:lnTo>
                <a:lnTo>
                  <a:pt x="455766" y="30395"/>
                </a:lnTo>
                <a:lnTo>
                  <a:pt x="457863" y="33222"/>
                </a:lnTo>
                <a:lnTo>
                  <a:pt x="459261" y="36049"/>
                </a:lnTo>
                <a:lnTo>
                  <a:pt x="462058" y="41704"/>
                </a:lnTo>
                <a:lnTo>
                  <a:pt x="463255" y="44428"/>
                </a:lnTo>
                <a:lnTo>
                  <a:pt x="490654" y="44428"/>
                </a:lnTo>
                <a:lnTo>
                  <a:pt x="490654" y="91287"/>
                </a:lnTo>
                <a:lnTo>
                  <a:pt x="463566" y="91287"/>
                </a:lnTo>
                <a:lnTo>
                  <a:pt x="462058" y="94719"/>
                </a:lnTo>
                <a:lnTo>
                  <a:pt x="459261" y="100373"/>
                </a:lnTo>
                <a:lnTo>
                  <a:pt x="455766" y="106028"/>
                </a:lnTo>
                <a:lnTo>
                  <a:pt x="452270" y="110976"/>
                </a:lnTo>
                <a:lnTo>
                  <a:pt x="450173" y="113804"/>
                </a:lnTo>
                <a:lnTo>
                  <a:pt x="447376" y="115924"/>
                </a:lnTo>
                <a:lnTo>
                  <a:pt x="442482" y="120165"/>
                </a:lnTo>
                <a:lnTo>
                  <a:pt x="437588" y="124406"/>
                </a:lnTo>
                <a:lnTo>
                  <a:pt x="431995" y="127941"/>
                </a:lnTo>
                <a:lnTo>
                  <a:pt x="425703" y="130768"/>
                </a:lnTo>
                <a:lnTo>
                  <a:pt x="420110" y="132889"/>
                </a:lnTo>
                <a:lnTo>
                  <a:pt x="413119" y="134302"/>
                </a:lnTo>
                <a:lnTo>
                  <a:pt x="406827" y="135716"/>
                </a:lnTo>
                <a:lnTo>
                  <a:pt x="399835" y="135716"/>
                </a:lnTo>
                <a:lnTo>
                  <a:pt x="90819" y="135716"/>
                </a:lnTo>
                <a:lnTo>
                  <a:pt x="83828" y="135716"/>
                </a:lnTo>
                <a:lnTo>
                  <a:pt x="77536" y="134302"/>
                </a:lnTo>
                <a:lnTo>
                  <a:pt x="70544" y="132889"/>
                </a:lnTo>
                <a:lnTo>
                  <a:pt x="64951" y="130768"/>
                </a:lnTo>
                <a:lnTo>
                  <a:pt x="58659" y="127941"/>
                </a:lnTo>
                <a:lnTo>
                  <a:pt x="53066" y="124406"/>
                </a:lnTo>
                <a:lnTo>
                  <a:pt x="48172" y="120165"/>
                </a:lnTo>
                <a:lnTo>
                  <a:pt x="43278" y="115924"/>
                </a:lnTo>
                <a:lnTo>
                  <a:pt x="38384" y="110976"/>
                </a:lnTo>
                <a:lnTo>
                  <a:pt x="36287" y="108856"/>
                </a:lnTo>
                <a:lnTo>
                  <a:pt x="34888" y="106028"/>
                </a:lnTo>
                <a:lnTo>
                  <a:pt x="32791" y="103201"/>
                </a:lnTo>
                <a:lnTo>
                  <a:pt x="31393" y="100373"/>
                </a:lnTo>
                <a:lnTo>
                  <a:pt x="28596" y="94719"/>
                </a:lnTo>
                <a:lnTo>
                  <a:pt x="27088" y="91287"/>
                </a:lnTo>
                <a:lnTo>
                  <a:pt x="0" y="91287"/>
                </a:lnTo>
                <a:lnTo>
                  <a:pt x="0" y="44428"/>
                </a:lnTo>
                <a:lnTo>
                  <a:pt x="27399" y="44428"/>
                </a:lnTo>
                <a:lnTo>
                  <a:pt x="28596" y="41704"/>
                </a:lnTo>
                <a:lnTo>
                  <a:pt x="31393" y="36049"/>
                </a:lnTo>
                <a:lnTo>
                  <a:pt x="34888" y="30395"/>
                </a:lnTo>
                <a:lnTo>
                  <a:pt x="38384" y="24740"/>
                </a:lnTo>
                <a:lnTo>
                  <a:pt x="40482" y="22619"/>
                </a:lnTo>
                <a:lnTo>
                  <a:pt x="43278" y="19792"/>
                </a:lnTo>
                <a:lnTo>
                  <a:pt x="48172" y="15551"/>
                </a:lnTo>
                <a:lnTo>
                  <a:pt x="53066" y="12016"/>
                </a:lnTo>
                <a:lnTo>
                  <a:pt x="58659" y="8482"/>
                </a:lnTo>
                <a:lnTo>
                  <a:pt x="64951" y="5655"/>
                </a:lnTo>
                <a:lnTo>
                  <a:pt x="70544" y="3534"/>
                </a:lnTo>
                <a:lnTo>
                  <a:pt x="77536" y="1414"/>
                </a:lnTo>
                <a:lnTo>
                  <a:pt x="83828" y="707"/>
                </a:lnTo>
                <a:close/>
              </a:path>
            </a:pathLst>
          </a:custGeom>
          <a:solidFill>
            <a:schemeClr val="tx1"/>
          </a:solidFill>
          <a:ln w="9525">
            <a:solidFill>
              <a:schemeClr val="bg1"/>
            </a:solidFill>
            <a:miter lim="800000"/>
            <a:headEnd/>
            <a:tailEnd/>
          </a:ln>
        </p:spPr>
        <p:txBody>
          <a:bodyPr vert="horz" wrap="square" lIns="68580" tIns="34290" rIns="68580" bIns="3429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endParaRPr>
          </a:p>
        </p:txBody>
      </p:sp>
      <p:sp>
        <p:nvSpPr>
          <p:cNvPr id="320" name="Freeform: Shape 319">
            <a:extLst>
              <a:ext uri="{FF2B5EF4-FFF2-40B4-BE49-F238E27FC236}">
                <a16:creationId xmlns:a16="http://schemas.microsoft.com/office/drawing/2014/main" id="{0398B5C7-A68D-28EE-E776-A9B9B2BBF017}"/>
              </a:ext>
            </a:extLst>
          </p:cNvPr>
          <p:cNvSpPr>
            <a:spLocks/>
          </p:cNvSpPr>
          <p:nvPr/>
        </p:nvSpPr>
        <p:spPr bwMode="auto">
          <a:xfrm>
            <a:off x="2193534" y="3403983"/>
            <a:ext cx="168885" cy="107910"/>
          </a:xfrm>
          <a:custGeom>
            <a:avLst/>
            <a:gdLst>
              <a:gd name="connsiteX0" fmla="*/ 66098 w 168885"/>
              <a:gd name="connsiteY0" fmla="*/ 0 h 107910"/>
              <a:gd name="connsiteX1" fmla="*/ 102787 w 168885"/>
              <a:gd name="connsiteY1" fmla="*/ 0 h 107910"/>
              <a:gd name="connsiteX2" fmla="*/ 108345 w 168885"/>
              <a:gd name="connsiteY2" fmla="*/ 562 h 107910"/>
              <a:gd name="connsiteX3" fmla="*/ 113349 w 168885"/>
              <a:gd name="connsiteY3" fmla="*/ 1124 h 107910"/>
              <a:gd name="connsiteX4" fmla="*/ 118907 w 168885"/>
              <a:gd name="connsiteY4" fmla="*/ 2810 h 107910"/>
              <a:gd name="connsiteX5" fmla="*/ 123355 w 168885"/>
              <a:gd name="connsiteY5" fmla="*/ 4496 h 107910"/>
              <a:gd name="connsiteX6" fmla="*/ 128358 w 168885"/>
              <a:gd name="connsiteY6" fmla="*/ 6745 h 107910"/>
              <a:gd name="connsiteX7" fmla="*/ 132805 w 168885"/>
              <a:gd name="connsiteY7" fmla="*/ 9555 h 107910"/>
              <a:gd name="connsiteX8" fmla="*/ 136696 w 168885"/>
              <a:gd name="connsiteY8" fmla="*/ 12365 h 107910"/>
              <a:gd name="connsiteX9" fmla="*/ 140587 w 168885"/>
              <a:gd name="connsiteY9" fmla="*/ 15737 h 107910"/>
              <a:gd name="connsiteX10" fmla="*/ 144479 w 168885"/>
              <a:gd name="connsiteY10" fmla="*/ 19671 h 107910"/>
              <a:gd name="connsiteX11" fmla="*/ 146146 w 168885"/>
              <a:gd name="connsiteY11" fmla="*/ 21919 h 107910"/>
              <a:gd name="connsiteX12" fmla="*/ 147258 w 168885"/>
              <a:gd name="connsiteY12" fmla="*/ 24167 h 107910"/>
              <a:gd name="connsiteX13" fmla="*/ 147618 w 168885"/>
              <a:gd name="connsiteY13" fmla="*/ 24653 h 107910"/>
              <a:gd name="connsiteX14" fmla="*/ 168885 w 168885"/>
              <a:gd name="connsiteY14" fmla="*/ 24653 h 107910"/>
              <a:gd name="connsiteX15" fmla="*/ 168885 w 168885"/>
              <a:gd name="connsiteY15" fmla="*/ 83225 h 107910"/>
              <a:gd name="connsiteX16" fmla="*/ 147925 w 168885"/>
              <a:gd name="connsiteY16" fmla="*/ 83225 h 107910"/>
              <a:gd name="connsiteX17" fmla="*/ 147258 w 168885"/>
              <a:gd name="connsiteY17" fmla="*/ 84305 h 107910"/>
              <a:gd name="connsiteX18" fmla="*/ 144479 w 168885"/>
              <a:gd name="connsiteY18" fmla="*/ 88239 h 107910"/>
              <a:gd name="connsiteX19" fmla="*/ 142811 w 168885"/>
              <a:gd name="connsiteY19" fmla="*/ 90487 h 107910"/>
              <a:gd name="connsiteX20" fmla="*/ 140587 w 168885"/>
              <a:gd name="connsiteY20" fmla="*/ 92173 h 107910"/>
              <a:gd name="connsiteX21" fmla="*/ 136696 w 168885"/>
              <a:gd name="connsiteY21" fmla="*/ 95545 h 107910"/>
              <a:gd name="connsiteX22" fmla="*/ 132805 w 168885"/>
              <a:gd name="connsiteY22" fmla="*/ 98918 h 107910"/>
              <a:gd name="connsiteX23" fmla="*/ 128358 w 168885"/>
              <a:gd name="connsiteY23" fmla="*/ 101728 h 107910"/>
              <a:gd name="connsiteX24" fmla="*/ 123355 w 168885"/>
              <a:gd name="connsiteY24" fmla="*/ 103976 h 107910"/>
              <a:gd name="connsiteX25" fmla="*/ 118907 w 168885"/>
              <a:gd name="connsiteY25" fmla="*/ 105662 h 107910"/>
              <a:gd name="connsiteX26" fmla="*/ 113349 w 168885"/>
              <a:gd name="connsiteY26" fmla="*/ 106786 h 107910"/>
              <a:gd name="connsiteX27" fmla="*/ 108345 w 168885"/>
              <a:gd name="connsiteY27" fmla="*/ 107910 h 107910"/>
              <a:gd name="connsiteX28" fmla="*/ 102787 w 168885"/>
              <a:gd name="connsiteY28" fmla="*/ 107910 h 107910"/>
              <a:gd name="connsiteX29" fmla="*/ 66098 w 168885"/>
              <a:gd name="connsiteY29" fmla="*/ 107910 h 107910"/>
              <a:gd name="connsiteX30" fmla="*/ 60539 w 168885"/>
              <a:gd name="connsiteY30" fmla="*/ 107910 h 107910"/>
              <a:gd name="connsiteX31" fmla="*/ 55536 w 168885"/>
              <a:gd name="connsiteY31" fmla="*/ 106786 h 107910"/>
              <a:gd name="connsiteX32" fmla="*/ 49977 w 168885"/>
              <a:gd name="connsiteY32" fmla="*/ 105662 h 107910"/>
              <a:gd name="connsiteX33" fmla="*/ 45530 w 168885"/>
              <a:gd name="connsiteY33" fmla="*/ 103976 h 107910"/>
              <a:gd name="connsiteX34" fmla="*/ 40527 w 168885"/>
              <a:gd name="connsiteY34" fmla="*/ 101728 h 107910"/>
              <a:gd name="connsiteX35" fmla="*/ 36079 w 168885"/>
              <a:gd name="connsiteY35" fmla="*/ 98918 h 107910"/>
              <a:gd name="connsiteX36" fmla="*/ 32188 w 168885"/>
              <a:gd name="connsiteY36" fmla="*/ 95545 h 107910"/>
              <a:gd name="connsiteX37" fmla="*/ 28297 w 168885"/>
              <a:gd name="connsiteY37" fmla="*/ 92173 h 107910"/>
              <a:gd name="connsiteX38" fmla="*/ 24406 w 168885"/>
              <a:gd name="connsiteY38" fmla="*/ 88239 h 107910"/>
              <a:gd name="connsiteX39" fmla="*/ 22738 w 168885"/>
              <a:gd name="connsiteY39" fmla="*/ 86553 h 107910"/>
              <a:gd name="connsiteX40" fmla="*/ 21626 w 168885"/>
              <a:gd name="connsiteY40" fmla="*/ 84305 h 107910"/>
              <a:gd name="connsiteX41" fmla="*/ 20825 w 168885"/>
              <a:gd name="connsiteY41" fmla="*/ 83225 h 107910"/>
              <a:gd name="connsiteX42" fmla="*/ 0 w 168885"/>
              <a:gd name="connsiteY42" fmla="*/ 83225 h 107910"/>
              <a:gd name="connsiteX43" fmla="*/ 0 w 168885"/>
              <a:gd name="connsiteY43" fmla="*/ 24653 h 107910"/>
              <a:gd name="connsiteX44" fmla="*/ 21326 w 168885"/>
              <a:gd name="connsiteY44" fmla="*/ 24653 h 107910"/>
              <a:gd name="connsiteX45" fmla="*/ 21626 w 168885"/>
              <a:gd name="connsiteY45" fmla="*/ 24167 h 107910"/>
              <a:gd name="connsiteX46" fmla="*/ 24406 w 168885"/>
              <a:gd name="connsiteY46" fmla="*/ 19671 h 107910"/>
              <a:gd name="connsiteX47" fmla="*/ 26073 w 168885"/>
              <a:gd name="connsiteY47" fmla="*/ 17985 h 107910"/>
              <a:gd name="connsiteX48" fmla="*/ 28297 w 168885"/>
              <a:gd name="connsiteY48" fmla="*/ 15737 h 107910"/>
              <a:gd name="connsiteX49" fmla="*/ 32188 w 168885"/>
              <a:gd name="connsiteY49" fmla="*/ 12365 h 107910"/>
              <a:gd name="connsiteX50" fmla="*/ 36079 w 168885"/>
              <a:gd name="connsiteY50" fmla="*/ 9555 h 107910"/>
              <a:gd name="connsiteX51" fmla="*/ 40527 w 168885"/>
              <a:gd name="connsiteY51" fmla="*/ 6745 h 107910"/>
              <a:gd name="connsiteX52" fmla="*/ 45530 w 168885"/>
              <a:gd name="connsiteY52" fmla="*/ 4496 h 107910"/>
              <a:gd name="connsiteX53" fmla="*/ 49977 w 168885"/>
              <a:gd name="connsiteY53" fmla="*/ 2810 h 107910"/>
              <a:gd name="connsiteX54" fmla="*/ 55536 w 168885"/>
              <a:gd name="connsiteY54" fmla="*/ 1124 h 107910"/>
              <a:gd name="connsiteX55" fmla="*/ 60539 w 168885"/>
              <a:gd name="connsiteY55" fmla="*/ 562 h 107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68885" h="107910">
                <a:moveTo>
                  <a:pt x="66098" y="0"/>
                </a:moveTo>
                <a:lnTo>
                  <a:pt x="102787" y="0"/>
                </a:lnTo>
                <a:lnTo>
                  <a:pt x="108345" y="562"/>
                </a:lnTo>
                <a:lnTo>
                  <a:pt x="113349" y="1124"/>
                </a:lnTo>
                <a:lnTo>
                  <a:pt x="118907" y="2810"/>
                </a:lnTo>
                <a:lnTo>
                  <a:pt x="123355" y="4496"/>
                </a:lnTo>
                <a:lnTo>
                  <a:pt x="128358" y="6745"/>
                </a:lnTo>
                <a:lnTo>
                  <a:pt x="132805" y="9555"/>
                </a:lnTo>
                <a:lnTo>
                  <a:pt x="136696" y="12365"/>
                </a:lnTo>
                <a:lnTo>
                  <a:pt x="140587" y="15737"/>
                </a:lnTo>
                <a:lnTo>
                  <a:pt x="144479" y="19671"/>
                </a:lnTo>
                <a:lnTo>
                  <a:pt x="146146" y="21919"/>
                </a:lnTo>
                <a:lnTo>
                  <a:pt x="147258" y="24167"/>
                </a:lnTo>
                <a:lnTo>
                  <a:pt x="147618" y="24653"/>
                </a:lnTo>
                <a:lnTo>
                  <a:pt x="168885" y="24653"/>
                </a:lnTo>
                <a:lnTo>
                  <a:pt x="168885" y="83225"/>
                </a:lnTo>
                <a:lnTo>
                  <a:pt x="147925" y="83225"/>
                </a:lnTo>
                <a:lnTo>
                  <a:pt x="147258" y="84305"/>
                </a:lnTo>
                <a:lnTo>
                  <a:pt x="144479" y="88239"/>
                </a:lnTo>
                <a:lnTo>
                  <a:pt x="142811" y="90487"/>
                </a:lnTo>
                <a:lnTo>
                  <a:pt x="140587" y="92173"/>
                </a:lnTo>
                <a:lnTo>
                  <a:pt x="136696" y="95545"/>
                </a:lnTo>
                <a:lnTo>
                  <a:pt x="132805" y="98918"/>
                </a:lnTo>
                <a:lnTo>
                  <a:pt x="128358" y="101728"/>
                </a:lnTo>
                <a:lnTo>
                  <a:pt x="123355" y="103976"/>
                </a:lnTo>
                <a:lnTo>
                  <a:pt x="118907" y="105662"/>
                </a:lnTo>
                <a:lnTo>
                  <a:pt x="113349" y="106786"/>
                </a:lnTo>
                <a:lnTo>
                  <a:pt x="108345" y="107910"/>
                </a:lnTo>
                <a:lnTo>
                  <a:pt x="102787" y="107910"/>
                </a:lnTo>
                <a:lnTo>
                  <a:pt x="66098" y="107910"/>
                </a:lnTo>
                <a:lnTo>
                  <a:pt x="60539" y="107910"/>
                </a:lnTo>
                <a:lnTo>
                  <a:pt x="55536" y="106786"/>
                </a:lnTo>
                <a:lnTo>
                  <a:pt x="49977" y="105662"/>
                </a:lnTo>
                <a:lnTo>
                  <a:pt x="45530" y="103976"/>
                </a:lnTo>
                <a:lnTo>
                  <a:pt x="40527" y="101728"/>
                </a:lnTo>
                <a:lnTo>
                  <a:pt x="36079" y="98918"/>
                </a:lnTo>
                <a:lnTo>
                  <a:pt x="32188" y="95545"/>
                </a:lnTo>
                <a:lnTo>
                  <a:pt x="28297" y="92173"/>
                </a:lnTo>
                <a:lnTo>
                  <a:pt x="24406" y="88239"/>
                </a:lnTo>
                <a:lnTo>
                  <a:pt x="22738" y="86553"/>
                </a:lnTo>
                <a:lnTo>
                  <a:pt x="21626" y="84305"/>
                </a:lnTo>
                <a:lnTo>
                  <a:pt x="20825" y="83225"/>
                </a:lnTo>
                <a:lnTo>
                  <a:pt x="0" y="83225"/>
                </a:lnTo>
                <a:lnTo>
                  <a:pt x="0" y="24653"/>
                </a:lnTo>
                <a:lnTo>
                  <a:pt x="21326" y="24653"/>
                </a:lnTo>
                <a:lnTo>
                  <a:pt x="21626" y="24167"/>
                </a:lnTo>
                <a:lnTo>
                  <a:pt x="24406" y="19671"/>
                </a:lnTo>
                <a:lnTo>
                  <a:pt x="26073" y="17985"/>
                </a:lnTo>
                <a:lnTo>
                  <a:pt x="28297" y="15737"/>
                </a:lnTo>
                <a:lnTo>
                  <a:pt x="32188" y="12365"/>
                </a:lnTo>
                <a:lnTo>
                  <a:pt x="36079" y="9555"/>
                </a:lnTo>
                <a:lnTo>
                  <a:pt x="40527" y="6745"/>
                </a:lnTo>
                <a:lnTo>
                  <a:pt x="45530" y="4496"/>
                </a:lnTo>
                <a:lnTo>
                  <a:pt x="49977" y="2810"/>
                </a:lnTo>
                <a:lnTo>
                  <a:pt x="55536" y="1124"/>
                </a:lnTo>
                <a:lnTo>
                  <a:pt x="60539" y="562"/>
                </a:lnTo>
                <a:close/>
              </a:path>
            </a:pathLst>
          </a:custGeom>
          <a:solidFill>
            <a:schemeClr val="tx1"/>
          </a:solidFill>
          <a:ln>
            <a:solidFill>
              <a:schemeClr val="bg1"/>
            </a:solidFill>
          </a:ln>
        </p:spPr>
        <p:txBody>
          <a:bodyPr vert="horz" wrap="square" lIns="68580" tIns="34290" rIns="68580" bIns="3429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endParaRPr>
          </a:p>
        </p:txBody>
      </p:sp>
      <p:sp>
        <p:nvSpPr>
          <p:cNvPr id="310" name="Freeform: Shape 309">
            <a:extLst>
              <a:ext uri="{FF2B5EF4-FFF2-40B4-BE49-F238E27FC236}">
                <a16:creationId xmlns:a16="http://schemas.microsoft.com/office/drawing/2014/main" id="{77803CA0-C452-5445-037D-E22DB01F5309}"/>
              </a:ext>
            </a:extLst>
          </p:cNvPr>
          <p:cNvSpPr>
            <a:spLocks/>
          </p:cNvSpPr>
          <p:nvPr/>
        </p:nvSpPr>
        <p:spPr bwMode="auto">
          <a:xfrm>
            <a:off x="4461279" y="2854490"/>
            <a:ext cx="1150218" cy="490594"/>
          </a:xfrm>
          <a:custGeom>
            <a:avLst/>
            <a:gdLst>
              <a:gd name="connsiteX0" fmla="*/ 1047431 w 1150218"/>
              <a:gd name="connsiteY0" fmla="*/ 382685 h 490594"/>
              <a:gd name="connsiteX1" fmla="*/ 1084120 w 1150218"/>
              <a:gd name="connsiteY1" fmla="*/ 382685 h 490594"/>
              <a:gd name="connsiteX2" fmla="*/ 1089679 w 1150218"/>
              <a:gd name="connsiteY2" fmla="*/ 383247 h 490594"/>
              <a:gd name="connsiteX3" fmla="*/ 1094682 w 1150218"/>
              <a:gd name="connsiteY3" fmla="*/ 383809 h 490594"/>
              <a:gd name="connsiteX4" fmla="*/ 1100241 w 1150218"/>
              <a:gd name="connsiteY4" fmla="*/ 385495 h 490594"/>
              <a:gd name="connsiteX5" fmla="*/ 1104688 w 1150218"/>
              <a:gd name="connsiteY5" fmla="*/ 387181 h 490594"/>
              <a:gd name="connsiteX6" fmla="*/ 1109691 w 1150218"/>
              <a:gd name="connsiteY6" fmla="*/ 389429 h 490594"/>
              <a:gd name="connsiteX7" fmla="*/ 1114138 w 1150218"/>
              <a:gd name="connsiteY7" fmla="*/ 392240 h 490594"/>
              <a:gd name="connsiteX8" fmla="*/ 1118029 w 1150218"/>
              <a:gd name="connsiteY8" fmla="*/ 395050 h 490594"/>
              <a:gd name="connsiteX9" fmla="*/ 1121920 w 1150218"/>
              <a:gd name="connsiteY9" fmla="*/ 398422 h 490594"/>
              <a:gd name="connsiteX10" fmla="*/ 1125812 w 1150218"/>
              <a:gd name="connsiteY10" fmla="*/ 402356 h 490594"/>
              <a:gd name="connsiteX11" fmla="*/ 1127479 w 1150218"/>
              <a:gd name="connsiteY11" fmla="*/ 404604 h 490594"/>
              <a:gd name="connsiteX12" fmla="*/ 1128591 w 1150218"/>
              <a:gd name="connsiteY12" fmla="*/ 406852 h 490594"/>
              <a:gd name="connsiteX13" fmla="*/ 1128963 w 1150218"/>
              <a:gd name="connsiteY13" fmla="*/ 407353 h 490594"/>
              <a:gd name="connsiteX14" fmla="*/ 1150218 w 1150218"/>
              <a:gd name="connsiteY14" fmla="*/ 407353 h 490594"/>
              <a:gd name="connsiteX15" fmla="*/ 1150218 w 1150218"/>
              <a:gd name="connsiteY15" fmla="*/ 465925 h 490594"/>
              <a:gd name="connsiteX16" fmla="*/ 1129249 w 1150218"/>
              <a:gd name="connsiteY16" fmla="*/ 465925 h 490594"/>
              <a:gd name="connsiteX17" fmla="*/ 1128591 w 1150218"/>
              <a:gd name="connsiteY17" fmla="*/ 466989 h 490594"/>
              <a:gd name="connsiteX18" fmla="*/ 1125812 w 1150218"/>
              <a:gd name="connsiteY18" fmla="*/ 470923 h 490594"/>
              <a:gd name="connsiteX19" fmla="*/ 1124144 w 1150218"/>
              <a:gd name="connsiteY19" fmla="*/ 473171 h 490594"/>
              <a:gd name="connsiteX20" fmla="*/ 1121920 w 1150218"/>
              <a:gd name="connsiteY20" fmla="*/ 474857 h 490594"/>
              <a:gd name="connsiteX21" fmla="*/ 1118029 w 1150218"/>
              <a:gd name="connsiteY21" fmla="*/ 478230 h 490594"/>
              <a:gd name="connsiteX22" fmla="*/ 1114138 w 1150218"/>
              <a:gd name="connsiteY22" fmla="*/ 481602 h 490594"/>
              <a:gd name="connsiteX23" fmla="*/ 1109691 w 1150218"/>
              <a:gd name="connsiteY23" fmla="*/ 484412 h 490594"/>
              <a:gd name="connsiteX24" fmla="*/ 1104688 w 1150218"/>
              <a:gd name="connsiteY24" fmla="*/ 486660 h 490594"/>
              <a:gd name="connsiteX25" fmla="*/ 1100241 w 1150218"/>
              <a:gd name="connsiteY25" fmla="*/ 488346 h 490594"/>
              <a:gd name="connsiteX26" fmla="*/ 1094682 w 1150218"/>
              <a:gd name="connsiteY26" fmla="*/ 489470 h 490594"/>
              <a:gd name="connsiteX27" fmla="*/ 1089679 w 1150218"/>
              <a:gd name="connsiteY27" fmla="*/ 490594 h 490594"/>
              <a:gd name="connsiteX28" fmla="*/ 1084120 w 1150218"/>
              <a:gd name="connsiteY28" fmla="*/ 490594 h 490594"/>
              <a:gd name="connsiteX29" fmla="*/ 1047431 w 1150218"/>
              <a:gd name="connsiteY29" fmla="*/ 490594 h 490594"/>
              <a:gd name="connsiteX30" fmla="*/ 1041872 w 1150218"/>
              <a:gd name="connsiteY30" fmla="*/ 490594 h 490594"/>
              <a:gd name="connsiteX31" fmla="*/ 1036869 w 1150218"/>
              <a:gd name="connsiteY31" fmla="*/ 489470 h 490594"/>
              <a:gd name="connsiteX32" fmla="*/ 1031310 w 1150218"/>
              <a:gd name="connsiteY32" fmla="*/ 488346 h 490594"/>
              <a:gd name="connsiteX33" fmla="*/ 1026863 w 1150218"/>
              <a:gd name="connsiteY33" fmla="*/ 486660 h 490594"/>
              <a:gd name="connsiteX34" fmla="*/ 1021860 w 1150218"/>
              <a:gd name="connsiteY34" fmla="*/ 484412 h 490594"/>
              <a:gd name="connsiteX35" fmla="*/ 1017413 w 1150218"/>
              <a:gd name="connsiteY35" fmla="*/ 481602 h 490594"/>
              <a:gd name="connsiteX36" fmla="*/ 1013521 w 1150218"/>
              <a:gd name="connsiteY36" fmla="*/ 478230 h 490594"/>
              <a:gd name="connsiteX37" fmla="*/ 1009630 w 1150218"/>
              <a:gd name="connsiteY37" fmla="*/ 474857 h 490594"/>
              <a:gd name="connsiteX38" fmla="*/ 1005739 w 1150218"/>
              <a:gd name="connsiteY38" fmla="*/ 470923 h 490594"/>
              <a:gd name="connsiteX39" fmla="*/ 1004071 w 1150218"/>
              <a:gd name="connsiteY39" fmla="*/ 469237 h 490594"/>
              <a:gd name="connsiteX40" fmla="*/ 1002959 w 1150218"/>
              <a:gd name="connsiteY40" fmla="*/ 466989 h 490594"/>
              <a:gd name="connsiteX41" fmla="*/ 1002170 w 1150218"/>
              <a:gd name="connsiteY41" fmla="*/ 465925 h 490594"/>
              <a:gd name="connsiteX42" fmla="*/ 981333 w 1150218"/>
              <a:gd name="connsiteY42" fmla="*/ 465925 h 490594"/>
              <a:gd name="connsiteX43" fmla="*/ 981333 w 1150218"/>
              <a:gd name="connsiteY43" fmla="*/ 407353 h 490594"/>
              <a:gd name="connsiteX44" fmla="*/ 1002650 w 1150218"/>
              <a:gd name="connsiteY44" fmla="*/ 407353 h 490594"/>
              <a:gd name="connsiteX45" fmla="*/ 1002959 w 1150218"/>
              <a:gd name="connsiteY45" fmla="*/ 406852 h 490594"/>
              <a:gd name="connsiteX46" fmla="*/ 1005739 w 1150218"/>
              <a:gd name="connsiteY46" fmla="*/ 402356 h 490594"/>
              <a:gd name="connsiteX47" fmla="*/ 1007407 w 1150218"/>
              <a:gd name="connsiteY47" fmla="*/ 400670 h 490594"/>
              <a:gd name="connsiteX48" fmla="*/ 1009630 w 1150218"/>
              <a:gd name="connsiteY48" fmla="*/ 398422 h 490594"/>
              <a:gd name="connsiteX49" fmla="*/ 1013521 w 1150218"/>
              <a:gd name="connsiteY49" fmla="*/ 395050 h 490594"/>
              <a:gd name="connsiteX50" fmla="*/ 1017413 w 1150218"/>
              <a:gd name="connsiteY50" fmla="*/ 392240 h 490594"/>
              <a:gd name="connsiteX51" fmla="*/ 1021860 w 1150218"/>
              <a:gd name="connsiteY51" fmla="*/ 389429 h 490594"/>
              <a:gd name="connsiteX52" fmla="*/ 1026863 w 1150218"/>
              <a:gd name="connsiteY52" fmla="*/ 387181 h 490594"/>
              <a:gd name="connsiteX53" fmla="*/ 1031310 w 1150218"/>
              <a:gd name="connsiteY53" fmla="*/ 385495 h 490594"/>
              <a:gd name="connsiteX54" fmla="*/ 1036869 w 1150218"/>
              <a:gd name="connsiteY54" fmla="*/ 383809 h 490594"/>
              <a:gd name="connsiteX55" fmla="*/ 1041872 w 1150218"/>
              <a:gd name="connsiteY55" fmla="*/ 383247 h 490594"/>
              <a:gd name="connsiteX56" fmla="*/ 66098 w 1150218"/>
              <a:gd name="connsiteY56" fmla="*/ 0 h 490594"/>
              <a:gd name="connsiteX57" fmla="*/ 102787 w 1150218"/>
              <a:gd name="connsiteY57" fmla="*/ 0 h 490594"/>
              <a:gd name="connsiteX58" fmla="*/ 108346 w 1150218"/>
              <a:gd name="connsiteY58" fmla="*/ 562 h 490594"/>
              <a:gd name="connsiteX59" fmla="*/ 113349 w 1150218"/>
              <a:gd name="connsiteY59" fmla="*/ 1124 h 490594"/>
              <a:gd name="connsiteX60" fmla="*/ 118908 w 1150218"/>
              <a:gd name="connsiteY60" fmla="*/ 2810 h 490594"/>
              <a:gd name="connsiteX61" fmla="*/ 123355 w 1150218"/>
              <a:gd name="connsiteY61" fmla="*/ 4496 h 490594"/>
              <a:gd name="connsiteX62" fmla="*/ 128358 w 1150218"/>
              <a:gd name="connsiteY62" fmla="*/ 6744 h 490594"/>
              <a:gd name="connsiteX63" fmla="*/ 132805 w 1150218"/>
              <a:gd name="connsiteY63" fmla="*/ 9555 h 490594"/>
              <a:gd name="connsiteX64" fmla="*/ 136696 w 1150218"/>
              <a:gd name="connsiteY64" fmla="*/ 12365 h 490594"/>
              <a:gd name="connsiteX65" fmla="*/ 140587 w 1150218"/>
              <a:gd name="connsiteY65" fmla="*/ 15737 h 490594"/>
              <a:gd name="connsiteX66" fmla="*/ 144479 w 1150218"/>
              <a:gd name="connsiteY66" fmla="*/ 19671 h 490594"/>
              <a:gd name="connsiteX67" fmla="*/ 146146 w 1150218"/>
              <a:gd name="connsiteY67" fmla="*/ 21919 h 490594"/>
              <a:gd name="connsiteX68" fmla="*/ 147258 w 1150218"/>
              <a:gd name="connsiteY68" fmla="*/ 24167 h 490594"/>
              <a:gd name="connsiteX69" fmla="*/ 147630 w 1150218"/>
              <a:gd name="connsiteY69" fmla="*/ 24668 h 490594"/>
              <a:gd name="connsiteX70" fmla="*/ 168885 w 1150218"/>
              <a:gd name="connsiteY70" fmla="*/ 24668 h 490594"/>
              <a:gd name="connsiteX71" fmla="*/ 168885 w 1150218"/>
              <a:gd name="connsiteY71" fmla="*/ 83240 h 490594"/>
              <a:gd name="connsiteX72" fmla="*/ 147916 w 1150218"/>
              <a:gd name="connsiteY72" fmla="*/ 83240 h 490594"/>
              <a:gd name="connsiteX73" fmla="*/ 147258 w 1150218"/>
              <a:gd name="connsiteY73" fmla="*/ 84304 h 490594"/>
              <a:gd name="connsiteX74" fmla="*/ 144479 w 1150218"/>
              <a:gd name="connsiteY74" fmla="*/ 88238 h 490594"/>
              <a:gd name="connsiteX75" fmla="*/ 142811 w 1150218"/>
              <a:gd name="connsiteY75" fmla="*/ 90486 h 490594"/>
              <a:gd name="connsiteX76" fmla="*/ 140587 w 1150218"/>
              <a:gd name="connsiteY76" fmla="*/ 92172 h 490594"/>
              <a:gd name="connsiteX77" fmla="*/ 136696 w 1150218"/>
              <a:gd name="connsiteY77" fmla="*/ 95545 h 490594"/>
              <a:gd name="connsiteX78" fmla="*/ 132805 w 1150218"/>
              <a:gd name="connsiteY78" fmla="*/ 98917 h 490594"/>
              <a:gd name="connsiteX79" fmla="*/ 128358 w 1150218"/>
              <a:gd name="connsiteY79" fmla="*/ 101727 h 490594"/>
              <a:gd name="connsiteX80" fmla="*/ 123355 w 1150218"/>
              <a:gd name="connsiteY80" fmla="*/ 103975 h 490594"/>
              <a:gd name="connsiteX81" fmla="*/ 118908 w 1150218"/>
              <a:gd name="connsiteY81" fmla="*/ 105661 h 490594"/>
              <a:gd name="connsiteX82" fmla="*/ 113349 w 1150218"/>
              <a:gd name="connsiteY82" fmla="*/ 106785 h 490594"/>
              <a:gd name="connsiteX83" fmla="*/ 108346 w 1150218"/>
              <a:gd name="connsiteY83" fmla="*/ 107909 h 490594"/>
              <a:gd name="connsiteX84" fmla="*/ 102787 w 1150218"/>
              <a:gd name="connsiteY84" fmla="*/ 107909 h 490594"/>
              <a:gd name="connsiteX85" fmla="*/ 66098 w 1150218"/>
              <a:gd name="connsiteY85" fmla="*/ 107909 h 490594"/>
              <a:gd name="connsiteX86" fmla="*/ 60539 w 1150218"/>
              <a:gd name="connsiteY86" fmla="*/ 107909 h 490594"/>
              <a:gd name="connsiteX87" fmla="*/ 55536 w 1150218"/>
              <a:gd name="connsiteY87" fmla="*/ 106785 h 490594"/>
              <a:gd name="connsiteX88" fmla="*/ 49977 w 1150218"/>
              <a:gd name="connsiteY88" fmla="*/ 105661 h 490594"/>
              <a:gd name="connsiteX89" fmla="*/ 45530 w 1150218"/>
              <a:gd name="connsiteY89" fmla="*/ 103975 h 490594"/>
              <a:gd name="connsiteX90" fmla="*/ 40527 w 1150218"/>
              <a:gd name="connsiteY90" fmla="*/ 101727 h 490594"/>
              <a:gd name="connsiteX91" fmla="*/ 36080 w 1150218"/>
              <a:gd name="connsiteY91" fmla="*/ 98917 h 490594"/>
              <a:gd name="connsiteX92" fmla="*/ 32188 w 1150218"/>
              <a:gd name="connsiteY92" fmla="*/ 95545 h 490594"/>
              <a:gd name="connsiteX93" fmla="*/ 28297 w 1150218"/>
              <a:gd name="connsiteY93" fmla="*/ 92172 h 490594"/>
              <a:gd name="connsiteX94" fmla="*/ 24406 w 1150218"/>
              <a:gd name="connsiteY94" fmla="*/ 88238 h 490594"/>
              <a:gd name="connsiteX95" fmla="*/ 22738 w 1150218"/>
              <a:gd name="connsiteY95" fmla="*/ 86552 h 490594"/>
              <a:gd name="connsiteX96" fmla="*/ 21626 w 1150218"/>
              <a:gd name="connsiteY96" fmla="*/ 84304 h 490594"/>
              <a:gd name="connsiteX97" fmla="*/ 20837 w 1150218"/>
              <a:gd name="connsiteY97" fmla="*/ 83240 h 490594"/>
              <a:gd name="connsiteX98" fmla="*/ 0 w 1150218"/>
              <a:gd name="connsiteY98" fmla="*/ 83240 h 490594"/>
              <a:gd name="connsiteX99" fmla="*/ 0 w 1150218"/>
              <a:gd name="connsiteY99" fmla="*/ 24668 h 490594"/>
              <a:gd name="connsiteX100" fmla="*/ 21317 w 1150218"/>
              <a:gd name="connsiteY100" fmla="*/ 24668 h 490594"/>
              <a:gd name="connsiteX101" fmla="*/ 21626 w 1150218"/>
              <a:gd name="connsiteY101" fmla="*/ 24167 h 490594"/>
              <a:gd name="connsiteX102" fmla="*/ 24406 w 1150218"/>
              <a:gd name="connsiteY102" fmla="*/ 19671 h 490594"/>
              <a:gd name="connsiteX103" fmla="*/ 26074 w 1150218"/>
              <a:gd name="connsiteY103" fmla="*/ 17985 h 490594"/>
              <a:gd name="connsiteX104" fmla="*/ 28297 w 1150218"/>
              <a:gd name="connsiteY104" fmla="*/ 15737 h 490594"/>
              <a:gd name="connsiteX105" fmla="*/ 32188 w 1150218"/>
              <a:gd name="connsiteY105" fmla="*/ 12365 h 490594"/>
              <a:gd name="connsiteX106" fmla="*/ 36080 w 1150218"/>
              <a:gd name="connsiteY106" fmla="*/ 9555 h 490594"/>
              <a:gd name="connsiteX107" fmla="*/ 40527 w 1150218"/>
              <a:gd name="connsiteY107" fmla="*/ 6744 h 490594"/>
              <a:gd name="connsiteX108" fmla="*/ 45530 w 1150218"/>
              <a:gd name="connsiteY108" fmla="*/ 4496 h 490594"/>
              <a:gd name="connsiteX109" fmla="*/ 49977 w 1150218"/>
              <a:gd name="connsiteY109" fmla="*/ 2810 h 490594"/>
              <a:gd name="connsiteX110" fmla="*/ 55536 w 1150218"/>
              <a:gd name="connsiteY110" fmla="*/ 1124 h 490594"/>
              <a:gd name="connsiteX111" fmla="*/ 60539 w 1150218"/>
              <a:gd name="connsiteY111" fmla="*/ 562 h 490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1150218" h="490594">
                <a:moveTo>
                  <a:pt x="1047431" y="382685"/>
                </a:moveTo>
                <a:lnTo>
                  <a:pt x="1084120" y="382685"/>
                </a:lnTo>
                <a:lnTo>
                  <a:pt x="1089679" y="383247"/>
                </a:lnTo>
                <a:lnTo>
                  <a:pt x="1094682" y="383809"/>
                </a:lnTo>
                <a:lnTo>
                  <a:pt x="1100241" y="385495"/>
                </a:lnTo>
                <a:lnTo>
                  <a:pt x="1104688" y="387181"/>
                </a:lnTo>
                <a:lnTo>
                  <a:pt x="1109691" y="389429"/>
                </a:lnTo>
                <a:lnTo>
                  <a:pt x="1114138" y="392240"/>
                </a:lnTo>
                <a:lnTo>
                  <a:pt x="1118029" y="395050"/>
                </a:lnTo>
                <a:lnTo>
                  <a:pt x="1121920" y="398422"/>
                </a:lnTo>
                <a:lnTo>
                  <a:pt x="1125812" y="402356"/>
                </a:lnTo>
                <a:lnTo>
                  <a:pt x="1127479" y="404604"/>
                </a:lnTo>
                <a:lnTo>
                  <a:pt x="1128591" y="406852"/>
                </a:lnTo>
                <a:lnTo>
                  <a:pt x="1128963" y="407353"/>
                </a:lnTo>
                <a:lnTo>
                  <a:pt x="1150218" y="407353"/>
                </a:lnTo>
                <a:lnTo>
                  <a:pt x="1150218" y="465925"/>
                </a:lnTo>
                <a:lnTo>
                  <a:pt x="1129249" y="465925"/>
                </a:lnTo>
                <a:lnTo>
                  <a:pt x="1128591" y="466989"/>
                </a:lnTo>
                <a:lnTo>
                  <a:pt x="1125812" y="470923"/>
                </a:lnTo>
                <a:lnTo>
                  <a:pt x="1124144" y="473171"/>
                </a:lnTo>
                <a:lnTo>
                  <a:pt x="1121920" y="474857"/>
                </a:lnTo>
                <a:lnTo>
                  <a:pt x="1118029" y="478230"/>
                </a:lnTo>
                <a:lnTo>
                  <a:pt x="1114138" y="481602"/>
                </a:lnTo>
                <a:lnTo>
                  <a:pt x="1109691" y="484412"/>
                </a:lnTo>
                <a:lnTo>
                  <a:pt x="1104688" y="486660"/>
                </a:lnTo>
                <a:lnTo>
                  <a:pt x="1100241" y="488346"/>
                </a:lnTo>
                <a:lnTo>
                  <a:pt x="1094682" y="489470"/>
                </a:lnTo>
                <a:lnTo>
                  <a:pt x="1089679" y="490594"/>
                </a:lnTo>
                <a:lnTo>
                  <a:pt x="1084120" y="490594"/>
                </a:lnTo>
                <a:lnTo>
                  <a:pt x="1047431" y="490594"/>
                </a:lnTo>
                <a:lnTo>
                  <a:pt x="1041872" y="490594"/>
                </a:lnTo>
                <a:lnTo>
                  <a:pt x="1036869" y="489470"/>
                </a:lnTo>
                <a:lnTo>
                  <a:pt x="1031310" y="488346"/>
                </a:lnTo>
                <a:lnTo>
                  <a:pt x="1026863" y="486660"/>
                </a:lnTo>
                <a:lnTo>
                  <a:pt x="1021860" y="484412"/>
                </a:lnTo>
                <a:lnTo>
                  <a:pt x="1017413" y="481602"/>
                </a:lnTo>
                <a:lnTo>
                  <a:pt x="1013521" y="478230"/>
                </a:lnTo>
                <a:lnTo>
                  <a:pt x="1009630" y="474857"/>
                </a:lnTo>
                <a:lnTo>
                  <a:pt x="1005739" y="470923"/>
                </a:lnTo>
                <a:lnTo>
                  <a:pt x="1004071" y="469237"/>
                </a:lnTo>
                <a:lnTo>
                  <a:pt x="1002959" y="466989"/>
                </a:lnTo>
                <a:lnTo>
                  <a:pt x="1002170" y="465925"/>
                </a:lnTo>
                <a:lnTo>
                  <a:pt x="981333" y="465925"/>
                </a:lnTo>
                <a:lnTo>
                  <a:pt x="981333" y="407353"/>
                </a:lnTo>
                <a:lnTo>
                  <a:pt x="1002650" y="407353"/>
                </a:lnTo>
                <a:lnTo>
                  <a:pt x="1002959" y="406852"/>
                </a:lnTo>
                <a:lnTo>
                  <a:pt x="1005739" y="402356"/>
                </a:lnTo>
                <a:lnTo>
                  <a:pt x="1007407" y="400670"/>
                </a:lnTo>
                <a:lnTo>
                  <a:pt x="1009630" y="398422"/>
                </a:lnTo>
                <a:lnTo>
                  <a:pt x="1013521" y="395050"/>
                </a:lnTo>
                <a:lnTo>
                  <a:pt x="1017413" y="392240"/>
                </a:lnTo>
                <a:lnTo>
                  <a:pt x="1021860" y="389429"/>
                </a:lnTo>
                <a:lnTo>
                  <a:pt x="1026863" y="387181"/>
                </a:lnTo>
                <a:lnTo>
                  <a:pt x="1031310" y="385495"/>
                </a:lnTo>
                <a:lnTo>
                  <a:pt x="1036869" y="383809"/>
                </a:lnTo>
                <a:lnTo>
                  <a:pt x="1041872" y="383247"/>
                </a:lnTo>
                <a:close/>
                <a:moveTo>
                  <a:pt x="66098" y="0"/>
                </a:moveTo>
                <a:lnTo>
                  <a:pt x="102787" y="0"/>
                </a:lnTo>
                <a:lnTo>
                  <a:pt x="108346" y="562"/>
                </a:lnTo>
                <a:lnTo>
                  <a:pt x="113349" y="1124"/>
                </a:lnTo>
                <a:lnTo>
                  <a:pt x="118908" y="2810"/>
                </a:lnTo>
                <a:lnTo>
                  <a:pt x="123355" y="4496"/>
                </a:lnTo>
                <a:lnTo>
                  <a:pt x="128358" y="6744"/>
                </a:lnTo>
                <a:lnTo>
                  <a:pt x="132805" y="9555"/>
                </a:lnTo>
                <a:lnTo>
                  <a:pt x="136696" y="12365"/>
                </a:lnTo>
                <a:lnTo>
                  <a:pt x="140587" y="15737"/>
                </a:lnTo>
                <a:lnTo>
                  <a:pt x="144479" y="19671"/>
                </a:lnTo>
                <a:lnTo>
                  <a:pt x="146146" y="21919"/>
                </a:lnTo>
                <a:lnTo>
                  <a:pt x="147258" y="24167"/>
                </a:lnTo>
                <a:lnTo>
                  <a:pt x="147630" y="24668"/>
                </a:lnTo>
                <a:lnTo>
                  <a:pt x="168885" y="24668"/>
                </a:lnTo>
                <a:lnTo>
                  <a:pt x="168885" y="83240"/>
                </a:lnTo>
                <a:lnTo>
                  <a:pt x="147916" y="83240"/>
                </a:lnTo>
                <a:lnTo>
                  <a:pt x="147258" y="84304"/>
                </a:lnTo>
                <a:lnTo>
                  <a:pt x="144479" y="88238"/>
                </a:lnTo>
                <a:lnTo>
                  <a:pt x="142811" y="90486"/>
                </a:lnTo>
                <a:lnTo>
                  <a:pt x="140587" y="92172"/>
                </a:lnTo>
                <a:lnTo>
                  <a:pt x="136696" y="95545"/>
                </a:lnTo>
                <a:lnTo>
                  <a:pt x="132805" y="98917"/>
                </a:lnTo>
                <a:lnTo>
                  <a:pt x="128358" y="101727"/>
                </a:lnTo>
                <a:lnTo>
                  <a:pt x="123355" y="103975"/>
                </a:lnTo>
                <a:lnTo>
                  <a:pt x="118908" y="105661"/>
                </a:lnTo>
                <a:lnTo>
                  <a:pt x="113349" y="106785"/>
                </a:lnTo>
                <a:lnTo>
                  <a:pt x="108346" y="107909"/>
                </a:lnTo>
                <a:lnTo>
                  <a:pt x="102787" y="107909"/>
                </a:lnTo>
                <a:lnTo>
                  <a:pt x="66098" y="107909"/>
                </a:lnTo>
                <a:lnTo>
                  <a:pt x="60539" y="107909"/>
                </a:lnTo>
                <a:lnTo>
                  <a:pt x="55536" y="106785"/>
                </a:lnTo>
                <a:lnTo>
                  <a:pt x="49977" y="105661"/>
                </a:lnTo>
                <a:lnTo>
                  <a:pt x="45530" y="103975"/>
                </a:lnTo>
                <a:lnTo>
                  <a:pt x="40527" y="101727"/>
                </a:lnTo>
                <a:lnTo>
                  <a:pt x="36080" y="98917"/>
                </a:lnTo>
                <a:lnTo>
                  <a:pt x="32188" y="95545"/>
                </a:lnTo>
                <a:lnTo>
                  <a:pt x="28297" y="92172"/>
                </a:lnTo>
                <a:lnTo>
                  <a:pt x="24406" y="88238"/>
                </a:lnTo>
                <a:lnTo>
                  <a:pt x="22738" y="86552"/>
                </a:lnTo>
                <a:lnTo>
                  <a:pt x="21626" y="84304"/>
                </a:lnTo>
                <a:lnTo>
                  <a:pt x="20837" y="83240"/>
                </a:lnTo>
                <a:lnTo>
                  <a:pt x="0" y="83240"/>
                </a:lnTo>
                <a:lnTo>
                  <a:pt x="0" y="24668"/>
                </a:lnTo>
                <a:lnTo>
                  <a:pt x="21317" y="24668"/>
                </a:lnTo>
                <a:lnTo>
                  <a:pt x="21626" y="24167"/>
                </a:lnTo>
                <a:lnTo>
                  <a:pt x="24406" y="19671"/>
                </a:lnTo>
                <a:lnTo>
                  <a:pt x="26074" y="17985"/>
                </a:lnTo>
                <a:lnTo>
                  <a:pt x="28297" y="15737"/>
                </a:lnTo>
                <a:lnTo>
                  <a:pt x="32188" y="12365"/>
                </a:lnTo>
                <a:lnTo>
                  <a:pt x="36080" y="9555"/>
                </a:lnTo>
                <a:lnTo>
                  <a:pt x="40527" y="6744"/>
                </a:lnTo>
                <a:lnTo>
                  <a:pt x="45530" y="4496"/>
                </a:lnTo>
                <a:lnTo>
                  <a:pt x="49977" y="2810"/>
                </a:lnTo>
                <a:lnTo>
                  <a:pt x="55536" y="1124"/>
                </a:lnTo>
                <a:lnTo>
                  <a:pt x="60539" y="562"/>
                </a:lnTo>
                <a:close/>
              </a:path>
            </a:pathLst>
          </a:custGeom>
          <a:solidFill>
            <a:schemeClr val="tx1"/>
          </a:solidFill>
          <a:ln>
            <a:solidFill>
              <a:schemeClr val="bg1"/>
            </a:solidFill>
          </a:ln>
        </p:spPr>
        <p:txBody>
          <a:bodyPr vert="horz" wrap="square" lIns="68580" tIns="34290" rIns="68580" bIns="34290" numCol="1" anchor="t" anchorCtr="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endParaRPr>
          </a:p>
        </p:txBody>
      </p:sp>
      <p:sp>
        <p:nvSpPr>
          <p:cNvPr id="314" name="Freeform: Shape 313">
            <a:extLst>
              <a:ext uri="{FF2B5EF4-FFF2-40B4-BE49-F238E27FC236}">
                <a16:creationId xmlns:a16="http://schemas.microsoft.com/office/drawing/2014/main" id="{BBBF41A4-06F8-8D99-CD4D-9F496E1910D5}"/>
              </a:ext>
            </a:extLst>
          </p:cNvPr>
          <p:cNvSpPr>
            <a:spLocks noChangeArrowheads="1"/>
          </p:cNvSpPr>
          <p:nvPr/>
        </p:nvSpPr>
        <p:spPr bwMode="auto">
          <a:xfrm>
            <a:off x="4300181" y="4313462"/>
            <a:ext cx="168885" cy="107910"/>
          </a:xfrm>
          <a:custGeom>
            <a:avLst/>
            <a:gdLst>
              <a:gd name="connsiteX0" fmla="*/ 66098 w 168885"/>
              <a:gd name="connsiteY0" fmla="*/ 0 h 107910"/>
              <a:gd name="connsiteX1" fmla="*/ 102787 w 168885"/>
              <a:gd name="connsiteY1" fmla="*/ 0 h 107910"/>
              <a:gd name="connsiteX2" fmla="*/ 108346 w 168885"/>
              <a:gd name="connsiteY2" fmla="*/ 562 h 107910"/>
              <a:gd name="connsiteX3" fmla="*/ 113349 w 168885"/>
              <a:gd name="connsiteY3" fmla="*/ 1124 h 107910"/>
              <a:gd name="connsiteX4" fmla="*/ 118908 w 168885"/>
              <a:gd name="connsiteY4" fmla="*/ 2810 h 107910"/>
              <a:gd name="connsiteX5" fmla="*/ 123355 w 168885"/>
              <a:gd name="connsiteY5" fmla="*/ 4496 h 107910"/>
              <a:gd name="connsiteX6" fmla="*/ 128358 w 168885"/>
              <a:gd name="connsiteY6" fmla="*/ 6744 h 107910"/>
              <a:gd name="connsiteX7" fmla="*/ 132805 w 168885"/>
              <a:gd name="connsiteY7" fmla="*/ 9554 h 107910"/>
              <a:gd name="connsiteX8" fmla="*/ 136696 w 168885"/>
              <a:gd name="connsiteY8" fmla="*/ 12364 h 107910"/>
              <a:gd name="connsiteX9" fmla="*/ 140587 w 168885"/>
              <a:gd name="connsiteY9" fmla="*/ 15737 h 107910"/>
              <a:gd name="connsiteX10" fmla="*/ 144479 w 168885"/>
              <a:gd name="connsiteY10" fmla="*/ 19671 h 107910"/>
              <a:gd name="connsiteX11" fmla="*/ 146146 w 168885"/>
              <a:gd name="connsiteY11" fmla="*/ 21919 h 107910"/>
              <a:gd name="connsiteX12" fmla="*/ 147258 w 168885"/>
              <a:gd name="connsiteY12" fmla="*/ 24167 h 107910"/>
              <a:gd name="connsiteX13" fmla="*/ 147618 w 168885"/>
              <a:gd name="connsiteY13" fmla="*/ 24653 h 107910"/>
              <a:gd name="connsiteX14" fmla="*/ 168885 w 168885"/>
              <a:gd name="connsiteY14" fmla="*/ 24653 h 107910"/>
              <a:gd name="connsiteX15" fmla="*/ 168885 w 168885"/>
              <a:gd name="connsiteY15" fmla="*/ 83225 h 107910"/>
              <a:gd name="connsiteX16" fmla="*/ 147926 w 168885"/>
              <a:gd name="connsiteY16" fmla="*/ 83225 h 107910"/>
              <a:gd name="connsiteX17" fmla="*/ 147258 w 168885"/>
              <a:gd name="connsiteY17" fmla="*/ 84305 h 107910"/>
              <a:gd name="connsiteX18" fmla="*/ 144479 w 168885"/>
              <a:gd name="connsiteY18" fmla="*/ 88239 h 107910"/>
              <a:gd name="connsiteX19" fmla="*/ 142811 w 168885"/>
              <a:gd name="connsiteY19" fmla="*/ 90487 h 107910"/>
              <a:gd name="connsiteX20" fmla="*/ 140587 w 168885"/>
              <a:gd name="connsiteY20" fmla="*/ 92173 h 107910"/>
              <a:gd name="connsiteX21" fmla="*/ 136696 w 168885"/>
              <a:gd name="connsiteY21" fmla="*/ 95546 h 107910"/>
              <a:gd name="connsiteX22" fmla="*/ 132805 w 168885"/>
              <a:gd name="connsiteY22" fmla="*/ 98918 h 107910"/>
              <a:gd name="connsiteX23" fmla="*/ 128358 w 168885"/>
              <a:gd name="connsiteY23" fmla="*/ 101728 h 107910"/>
              <a:gd name="connsiteX24" fmla="*/ 123355 w 168885"/>
              <a:gd name="connsiteY24" fmla="*/ 103976 h 107910"/>
              <a:gd name="connsiteX25" fmla="*/ 118908 w 168885"/>
              <a:gd name="connsiteY25" fmla="*/ 105662 h 107910"/>
              <a:gd name="connsiteX26" fmla="*/ 113349 w 168885"/>
              <a:gd name="connsiteY26" fmla="*/ 106786 h 107910"/>
              <a:gd name="connsiteX27" fmla="*/ 108346 w 168885"/>
              <a:gd name="connsiteY27" fmla="*/ 107910 h 107910"/>
              <a:gd name="connsiteX28" fmla="*/ 102787 w 168885"/>
              <a:gd name="connsiteY28" fmla="*/ 107910 h 107910"/>
              <a:gd name="connsiteX29" fmla="*/ 66098 w 168885"/>
              <a:gd name="connsiteY29" fmla="*/ 107910 h 107910"/>
              <a:gd name="connsiteX30" fmla="*/ 60539 w 168885"/>
              <a:gd name="connsiteY30" fmla="*/ 107910 h 107910"/>
              <a:gd name="connsiteX31" fmla="*/ 55536 w 168885"/>
              <a:gd name="connsiteY31" fmla="*/ 106786 h 107910"/>
              <a:gd name="connsiteX32" fmla="*/ 49977 w 168885"/>
              <a:gd name="connsiteY32" fmla="*/ 105662 h 107910"/>
              <a:gd name="connsiteX33" fmla="*/ 45530 w 168885"/>
              <a:gd name="connsiteY33" fmla="*/ 103976 h 107910"/>
              <a:gd name="connsiteX34" fmla="*/ 40527 w 168885"/>
              <a:gd name="connsiteY34" fmla="*/ 101728 h 107910"/>
              <a:gd name="connsiteX35" fmla="*/ 36080 w 168885"/>
              <a:gd name="connsiteY35" fmla="*/ 98918 h 107910"/>
              <a:gd name="connsiteX36" fmla="*/ 32188 w 168885"/>
              <a:gd name="connsiteY36" fmla="*/ 95546 h 107910"/>
              <a:gd name="connsiteX37" fmla="*/ 28297 w 168885"/>
              <a:gd name="connsiteY37" fmla="*/ 92173 h 107910"/>
              <a:gd name="connsiteX38" fmla="*/ 24406 w 168885"/>
              <a:gd name="connsiteY38" fmla="*/ 88239 h 107910"/>
              <a:gd name="connsiteX39" fmla="*/ 22738 w 168885"/>
              <a:gd name="connsiteY39" fmla="*/ 86553 h 107910"/>
              <a:gd name="connsiteX40" fmla="*/ 21626 w 168885"/>
              <a:gd name="connsiteY40" fmla="*/ 84305 h 107910"/>
              <a:gd name="connsiteX41" fmla="*/ 20826 w 168885"/>
              <a:gd name="connsiteY41" fmla="*/ 83225 h 107910"/>
              <a:gd name="connsiteX42" fmla="*/ 0 w 168885"/>
              <a:gd name="connsiteY42" fmla="*/ 83225 h 107910"/>
              <a:gd name="connsiteX43" fmla="*/ 0 w 168885"/>
              <a:gd name="connsiteY43" fmla="*/ 24653 h 107910"/>
              <a:gd name="connsiteX44" fmla="*/ 21326 w 168885"/>
              <a:gd name="connsiteY44" fmla="*/ 24653 h 107910"/>
              <a:gd name="connsiteX45" fmla="*/ 21626 w 168885"/>
              <a:gd name="connsiteY45" fmla="*/ 24167 h 107910"/>
              <a:gd name="connsiteX46" fmla="*/ 24406 w 168885"/>
              <a:gd name="connsiteY46" fmla="*/ 19671 h 107910"/>
              <a:gd name="connsiteX47" fmla="*/ 26074 w 168885"/>
              <a:gd name="connsiteY47" fmla="*/ 17985 h 107910"/>
              <a:gd name="connsiteX48" fmla="*/ 28297 w 168885"/>
              <a:gd name="connsiteY48" fmla="*/ 15737 h 107910"/>
              <a:gd name="connsiteX49" fmla="*/ 32188 w 168885"/>
              <a:gd name="connsiteY49" fmla="*/ 12364 h 107910"/>
              <a:gd name="connsiteX50" fmla="*/ 36080 w 168885"/>
              <a:gd name="connsiteY50" fmla="*/ 9554 h 107910"/>
              <a:gd name="connsiteX51" fmla="*/ 40527 w 168885"/>
              <a:gd name="connsiteY51" fmla="*/ 6744 h 107910"/>
              <a:gd name="connsiteX52" fmla="*/ 45530 w 168885"/>
              <a:gd name="connsiteY52" fmla="*/ 4496 h 107910"/>
              <a:gd name="connsiteX53" fmla="*/ 49977 w 168885"/>
              <a:gd name="connsiteY53" fmla="*/ 2810 h 107910"/>
              <a:gd name="connsiteX54" fmla="*/ 55536 w 168885"/>
              <a:gd name="connsiteY54" fmla="*/ 1124 h 107910"/>
              <a:gd name="connsiteX55" fmla="*/ 60539 w 168885"/>
              <a:gd name="connsiteY55" fmla="*/ 562 h 107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68885" h="107910">
                <a:moveTo>
                  <a:pt x="66098" y="0"/>
                </a:moveTo>
                <a:lnTo>
                  <a:pt x="102787" y="0"/>
                </a:lnTo>
                <a:lnTo>
                  <a:pt x="108346" y="562"/>
                </a:lnTo>
                <a:lnTo>
                  <a:pt x="113349" y="1124"/>
                </a:lnTo>
                <a:lnTo>
                  <a:pt x="118908" y="2810"/>
                </a:lnTo>
                <a:lnTo>
                  <a:pt x="123355" y="4496"/>
                </a:lnTo>
                <a:lnTo>
                  <a:pt x="128358" y="6744"/>
                </a:lnTo>
                <a:lnTo>
                  <a:pt x="132805" y="9554"/>
                </a:lnTo>
                <a:lnTo>
                  <a:pt x="136696" y="12364"/>
                </a:lnTo>
                <a:lnTo>
                  <a:pt x="140587" y="15737"/>
                </a:lnTo>
                <a:lnTo>
                  <a:pt x="144479" y="19671"/>
                </a:lnTo>
                <a:lnTo>
                  <a:pt x="146146" y="21919"/>
                </a:lnTo>
                <a:lnTo>
                  <a:pt x="147258" y="24167"/>
                </a:lnTo>
                <a:lnTo>
                  <a:pt x="147618" y="24653"/>
                </a:lnTo>
                <a:lnTo>
                  <a:pt x="168885" y="24653"/>
                </a:lnTo>
                <a:lnTo>
                  <a:pt x="168885" y="83225"/>
                </a:lnTo>
                <a:lnTo>
                  <a:pt x="147926" y="83225"/>
                </a:lnTo>
                <a:lnTo>
                  <a:pt x="147258" y="84305"/>
                </a:lnTo>
                <a:lnTo>
                  <a:pt x="144479" y="88239"/>
                </a:lnTo>
                <a:lnTo>
                  <a:pt x="142811" y="90487"/>
                </a:lnTo>
                <a:lnTo>
                  <a:pt x="140587" y="92173"/>
                </a:lnTo>
                <a:lnTo>
                  <a:pt x="136696" y="95546"/>
                </a:lnTo>
                <a:lnTo>
                  <a:pt x="132805" y="98918"/>
                </a:lnTo>
                <a:lnTo>
                  <a:pt x="128358" y="101728"/>
                </a:lnTo>
                <a:lnTo>
                  <a:pt x="123355" y="103976"/>
                </a:lnTo>
                <a:lnTo>
                  <a:pt x="118908" y="105662"/>
                </a:lnTo>
                <a:lnTo>
                  <a:pt x="113349" y="106786"/>
                </a:lnTo>
                <a:lnTo>
                  <a:pt x="108346" y="107910"/>
                </a:lnTo>
                <a:lnTo>
                  <a:pt x="102787" y="107910"/>
                </a:lnTo>
                <a:lnTo>
                  <a:pt x="66098" y="107910"/>
                </a:lnTo>
                <a:lnTo>
                  <a:pt x="60539" y="107910"/>
                </a:lnTo>
                <a:lnTo>
                  <a:pt x="55536" y="106786"/>
                </a:lnTo>
                <a:lnTo>
                  <a:pt x="49977" y="105662"/>
                </a:lnTo>
                <a:lnTo>
                  <a:pt x="45530" y="103976"/>
                </a:lnTo>
                <a:lnTo>
                  <a:pt x="40527" y="101728"/>
                </a:lnTo>
                <a:lnTo>
                  <a:pt x="36080" y="98918"/>
                </a:lnTo>
                <a:lnTo>
                  <a:pt x="32188" y="95546"/>
                </a:lnTo>
                <a:lnTo>
                  <a:pt x="28297" y="92173"/>
                </a:lnTo>
                <a:lnTo>
                  <a:pt x="24406" y="88239"/>
                </a:lnTo>
                <a:lnTo>
                  <a:pt x="22738" y="86553"/>
                </a:lnTo>
                <a:lnTo>
                  <a:pt x="21626" y="84305"/>
                </a:lnTo>
                <a:lnTo>
                  <a:pt x="20826" y="83225"/>
                </a:lnTo>
                <a:lnTo>
                  <a:pt x="0" y="83225"/>
                </a:lnTo>
                <a:lnTo>
                  <a:pt x="0" y="24653"/>
                </a:lnTo>
                <a:lnTo>
                  <a:pt x="21326" y="24653"/>
                </a:lnTo>
                <a:lnTo>
                  <a:pt x="21626" y="24167"/>
                </a:lnTo>
                <a:lnTo>
                  <a:pt x="24406" y="19671"/>
                </a:lnTo>
                <a:lnTo>
                  <a:pt x="26074" y="17985"/>
                </a:lnTo>
                <a:lnTo>
                  <a:pt x="28297" y="15737"/>
                </a:lnTo>
                <a:lnTo>
                  <a:pt x="32188" y="12364"/>
                </a:lnTo>
                <a:lnTo>
                  <a:pt x="36080" y="9554"/>
                </a:lnTo>
                <a:lnTo>
                  <a:pt x="40527" y="6744"/>
                </a:lnTo>
                <a:lnTo>
                  <a:pt x="45530" y="4496"/>
                </a:lnTo>
                <a:lnTo>
                  <a:pt x="49977" y="2810"/>
                </a:lnTo>
                <a:lnTo>
                  <a:pt x="55536" y="1124"/>
                </a:lnTo>
                <a:lnTo>
                  <a:pt x="60539" y="562"/>
                </a:lnTo>
                <a:close/>
              </a:path>
            </a:pathLst>
          </a:custGeom>
          <a:solidFill>
            <a:schemeClr val="tx1"/>
          </a:solidFill>
          <a:ln>
            <a:solidFill>
              <a:schemeClr val="bg1"/>
            </a:solidFill>
          </a:ln>
        </p:spPr>
        <p:txBody>
          <a:bodyPr vert="horz" wrap="square" lIns="68580" tIns="34290" rIns="68580" bIns="3429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endParaRPr>
          </a:p>
        </p:txBody>
      </p:sp>
      <p:sp>
        <p:nvSpPr>
          <p:cNvPr id="315" name="Freeform: Shape 314">
            <a:extLst>
              <a:ext uri="{FF2B5EF4-FFF2-40B4-BE49-F238E27FC236}">
                <a16:creationId xmlns:a16="http://schemas.microsoft.com/office/drawing/2014/main" id="{91AB1252-8D72-5456-4B57-B723D8792ADC}"/>
              </a:ext>
            </a:extLst>
          </p:cNvPr>
          <p:cNvSpPr>
            <a:spLocks/>
          </p:cNvSpPr>
          <p:nvPr/>
        </p:nvSpPr>
        <p:spPr bwMode="auto">
          <a:xfrm>
            <a:off x="4300181" y="4660343"/>
            <a:ext cx="168885" cy="107910"/>
          </a:xfrm>
          <a:custGeom>
            <a:avLst/>
            <a:gdLst>
              <a:gd name="connsiteX0" fmla="*/ 66098 w 168885"/>
              <a:gd name="connsiteY0" fmla="*/ 0 h 107910"/>
              <a:gd name="connsiteX1" fmla="*/ 102787 w 168885"/>
              <a:gd name="connsiteY1" fmla="*/ 0 h 107910"/>
              <a:gd name="connsiteX2" fmla="*/ 108346 w 168885"/>
              <a:gd name="connsiteY2" fmla="*/ 562 h 107910"/>
              <a:gd name="connsiteX3" fmla="*/ 113349 w 168885"/>
              <a:gd name="connsiteY3" fmla="*/ 1124 h 107910"/>
              <a:gd name="connsiteX4" fmla="*/ 118908 w 168885"/>
              <a:gd name="connsiteY4" fmla="*/ 2810 h 107910"/>
              <a:gd name="connsiteX5" fmla="*/ 123355 w 168885"/>
              <a:gd name="connsiteY5" fmla="*/ 4496 h 107910"/>
              <a:gd name="connsiteX6" fmla="*/ 128358 w 168885"/>
              <a:gd name="connsiteY6" fmla="*/ 6745 h 107910"/>
              <a:gd name="connsiteX7" fmla="*/ 132805 w 168885"/>
              <a:gd name="connsiteY7" fmla="*/ 9555 h 107910"/>
              <a:gd name="connsiteX8" fmla="*/ 136696 w 168885"/>
              <a:gd name="connsiteY8" fmla="*/ 12365 h 107910"/>
              <a:gd name="connsiteX9" fmla="*/ 140587 w 168885"/>
              <a:gd name="connsiteY9" fmla="*/ 15737 h 107910"/>
              <a:gd name="connsiteX10" fmla="*/ 144479 w 168885"/>
              <a:gd name="connsiteY10" fmla="*/ 19671 h 107910"/>
              <a:gd name="connsiteX11" fmla="*/ 146146 w 168885"/>
              <a:gd name="connsiteY11" fmla="*/ 21919 h 107910"/>
              <a:gd name="connsiteX12" fmla="*/ 147258 w 168885"/>
              <a:gd name="connsiteY12" fmla="*/ 24168 h 107910"/>
              <a:gd name="connsiteX13" fmla="*/ 147618 w 168885"/>
              <a:gd name="connsiteY13" fmla="*/ 24653 h 107910"/>
              <a:gd name="connsiteX14" fmla="*/ 168885 w 168885"/>
              <a:gd name="connsiteY14" fmla="*/ 24653 h 107910"/>
              <a:gd name="connsiteX15" fmla="*/ 168885 w 168885"/>
              <a:gd name="connsiteY15" fmla="*/ 83225 h 107910"/>
              <a:gd name="connsiteX16" fmla="*/ 147926 w 168885"/>
              <a:gd name="connsiteY16" fmla="*/ 83225 h 107910"/>
              <a:gd name="connsiteX17" fmla="*/ 147258 w 168885"/>
              <a:gd name="connsiteY17" fmla="*/ 84305 h 107910"/>
              <a:gd name="connsiteX18" fmla="*/ 144479 w 168885"/>
              <a:gd name="connsiteY18" fmla="*/ 88239 h 107910"/>
              <a:gd name="connsiteX19" fmla="*/ 142811 w 168885"/>
              <a:gd name="connsiteY19" fmla="*/ 90487 h 107910"/>
              <a:gd name="connsiteX20" fmla="*/ 140587 w 168885"/>
              <a:gd name="connsiteY20" fmla="*/ 92173 h 107910"/>
              <a:gd name="connsiteX21" fmla="*/ 136696 w 168885"/>
              <a:gd name="connsiteY21" fmla="*/ 95546 h 107910"/>
              <a:gd name="connsiteX22" fmla="*/ 132805 w 168885"/>
              <a:gd name="connsiteY22" fmla="*/ 98918 h 107910"/>
              <a:gd name="connsiteX23" fmla="*/ 128358 w 168885"/>
              <a:gd name="connsiteY23" fmla="*/ 101728 h 107910"/>
              <a:gd name="connsiteX24" fmla="*/ 123355 w 168885"/>
              <a:gd name="connsiteY24" fmla="*/ 103976 h 107910"/>
              <a:gd name="connsiteX25" fmla="*/ 118908 w 168885"/>
              <a:gd name="connsiteY25" fmla="*/ 105662 h 107910"/>
              <a:gd name="connsiteX26" fmla="*/ 113349 w 168885"/>
              <a:gd name="connsiteY26" fmla="*/ 106786 h 107910"/>
              <a:gd name="connsiteX27" fmla="*/ 108346 w 168885"/>
              <a:gd name="connsiteY27" fmla="*/ 107910 h 107910"/>
              <a:gd name="connsiteX28" fmla="*/ 102787 w 168885"/>
              <a:gd name="connsiteY28" fmla="*/ 107910 h 107910"/>
              <a:gd name="connsiteX29" fmla="*/ 66098 w 168885"/>
              <a:gd name="connsiteY29" fmla="*/ 107910 h 107910"/>
              <a:gd name="connsiteX30" fmla="*/ 60539 w 168885"/>
              <a:gd name="connsiteY30" fmla="*/ 107910 h 107910"/>
              <a:gd name="connsiteX31" fmla="*/ 55536 w 168885"/>
              <a:gd name="connsiteY31" fmla="*/ 106786 h 107910"/>
              <a:gd name="connsiteX32" fmla="*/ 49977 w 168885"/>
              <a:gd name="connsiteY32" fmla="*/ 105662 h 107910"/>
              <a:gd name="connsiteX33" fmla="*/ 45530 w 168885"/>
              <a:gd name="connsiteY33" fmla="*/ 103976 h 107910"/>
              <a:gd name="connsiteX34" fmla="*/ 40527 w 168885"/>
              <a:gd name="connsiteY34" fmla="*/ 101728 h 107910"/>
              <a:gd name="connsiteX35" fmla="*/ 36080 w 168885"/>
              <a:gd name="connsiteY35" fmla="*/ 98918 h 107910"/>
              <a:gd name="connsiteX36" fmla="*/ 32188 w 168885"/>
              <a:gd name="connsiteY36" fmla="*/ 95546 h 107910"/>
              <a:gd name="connsiteX37" fmla="*/ 28297 w 168885"/>
              <a:gd name="connsiteY37" fmla="*/ 92173 h 107910"/>
              <a:gd name="connsiteX38" fmla="*/ 24406 w 168885"/>
              <a:gd name="connsiteY38" fmla="*/ 88239 h 107910"/>
              <a:gd name="connsiteX39" fmla="*/ 22738 w 168885"/>
              <a:gd name="connsiteY39" fmla="*/ 86553 h 107910"/>
              <a:gd name="connsiteX40" fmla="*/ 21626 w 168885"/>
              <a:gd name="connsiteY40" fmla="*/ 84305 h 107910"/>
              <a:gd name="connsiteX41" fmla="*/ 20826 w 168885"/>
              <a:gd name="connsiteY41" fmla="*/ 83225 h 107910"/>
              <a:gd name="connsiteX42" fmla="*/ 0 w 168885"/>
              <a:gd name="connsiteY42" fmla="*/ 83225 h 107910"/>
              <a:gd name="connsiteX43" fmla="*/ 0 w 168885"/>
              <a:gd name="connsiteY43" fmla="*/ 24653 h 107910"/>
              <a:gd name="connsiteX44" fmla="*/ 21326 w 168885"/>
              <a:gd name="connsiteY44" fmla="*/ 24653 h 107910"/>
              <a:gd name="connsiteX45" fmla="*/ 21626 w 168885"/>
              <a:gd name="connsiteY45" fmla="*/ 24168 h 107910"/>
              <a:gd name="connsiteX46" fmla="*/ 24406 w 168885"/>
              <a:gd name="connsiteY46" fmla="*/ 19671 h 107910"/>
              <a:gd name="connsiteX47" fmla="*/ 26074 w 168885"/>
              <a:gd name="connsiteY47" fmla="*/ 17985 h 107910"/>
              <a:gd name="connsiteX48" fmla="*/ 28297 w 168885"/>
              <a:gd name="connsiteY48" fmla="*/ 15737 h 107910"/>
              <a:gd name="connsiteX49" fmla="*/ 32188 w 168885"/>
              <a:gd name="connsiteY49" fmla="*/ 12365 h 107910"/>
              <a:gd name="connsiteX50" fmla="*/ 36080 w 168885"/>
              <a:gd name="connsiteY50" fmla="*/ 9555 h 107910"/>
              <a:gd name="connsiteX51" fmla="*/ 40527 w 168885"/>
              <a:gd name="connsiteY51" fmla="*/ 6745 h 107910"/>
              <a:gd name="connsiteX52" fmla="*/ 45530 w 168885"/>
              <a:gd name="connsiteY52" fmla="*/ 4496 h 107910"/>
              <a:gd name="connsiteX53" fmla="*/ 49977 w 168885"/>
              <a:gd name="connsiteY53" fmla="*/ 2810 h 107910"/>
              <a:gd name="connsiteX54" fmla="*/ 55536 w 168885"/>
              <a:gd name="connsiteY54" fmla="*/ 1124 h 107910"/>
              <a:gd name="connsiteX55" fmla="*/ 60539 w 168885"/>
              <a:gd name="connsiteY55" fmla="*/ 562 h 107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68885" h="107910">
                <a:moveTo>
                  <a:pt x="66098" y="0"/>
                </a:moveTo>
                <a:lnTo>
                  <a:pt x="102787" y="0"/>
                </a:lnTo>
                <a:lnTo>
                  <a:pt x="108346" y="562"/>
                </a:lnTo>
                <a:lnTo>
                  <a:pt x="113349" y="1124"/>
                </a:lnTo>
                <a:lnTo>
                  <a:pt x="118908" y="2810"/>
                </a:lnTo>
                <a:lnTo>
                  <a:pt x="123355" y="4496"/>
                </a:lnTo>
                <a:lnTo>
                  <a:pt x="128358" y="6745"/>
                </a:lnTo>
                <a:lnTo>
                  <a:pt x="132805" y="9555"/>
                </a:lnTo>
                <a:lnTo>
                  <a:pt x="136696" y="12365"/>
                </a:lnTo>
                <a:lnTo>
                  <a:pt x="140587" y="15737"/>
                </a:lnTo>
                <a:lnTo>
                  <a:pt x="144479" y="19671"/>
                </a:lnTo>
                <a:lnTo>
                  <a:pt x="146146" y="21919"/>
                </a:lnTo>
                <a:lnTo>
                  <a:pt x="147258" y="24168"/>
                </a:lnTo>
                <a:lnTo>
                  <a:pt x="147618" y="24653"/>
                </a:lnTo>
                <a:lnTo>
                  <a:pt x="168885" y="24653"/>
                </a:lnTo>
                <a:lnTo>
                  <a:pt x="168885" y="83225"/>
                </a:lnTo>
                <a:lnTo>
                  <a:pt x="147926" y="83225"/>
                </a:lnTo>
                <a:lnTo>
                  <a:pt x="147258" y="84305"/>
                </a:lnTo>
                <a:lnTo>
                  <a:pt x="144479" y="88239"/>
                </a:lnTo>
                <a:lnTo>
                  <a:pt x="142811" y="90487"/>
                </a:lnTo>
                <a:lnTo>
                  <a:pt x="140587" y="92173"/>
                </a:lnTo>
                <a:lnTo>
                  <a:pt x="136696" y="95546"/>
                </a:lnTo>
                <a:lnTo>
                  <a:pt x="132805" y="98918"/>
                </a:lnTo>
                <a:lnTo>
                  <a:pt x="128358" y="101728"/>
                </a:lnTo>
                <a:lnTo>
                  <a:pt x="123355" y="103976"/>
                </a:lnTo>
                <a:lnTo>
                  <a:pt x="118908" y="105662"/>
                </a:lnTo>
                <a:lnTo>
                  <a:pt x="113349" y="106786"/>
                </a:lnTo>
                <a:lnTo>
                  <a:pt x="108346" y="107910"/>
                </a:lnTo>
                <a:lnTo>
                  <a:pt x="102787" y="107910"/>
                </a:lnTo>
                <a:lnTo>
                  <a:pt x="66098" y="107910"/>
                </a:lnTo>
                <a:lnTo>
                  <a:pt x="60539" y="107910"/>
                </a:lnTo>
                <a:lnTo>
                  <a:pt x="55536" y="106786"/>
                </a:lnTo>
                <a:lnTo>
                  <a:pt x="49977" y="105662"/>
                </a:lnTo>
                <a:lnTo>
                  <a:pt x="45530" y="103976"/>
                </a:lnTo>
                <a:lnTo>
                  <a:pt x="40527" y="101728"/>
                </a:lnTo>
                <a:lnTo>
                  <a:pt x="36080" y="98918"/>
                </a:lnTo>
                <a:lnTo>
                  <a:pt x="32188" y="95546"/>
                </a:lnTo>
                <a:lnTo>
                  <a:pt x="28297" y="92173"/>
                </a:lnTo>
                <a:lnTo>
                  <a:pt x="24406" y="88239"/>
                </a:lnTo>
                <a:lnTo>
                  <a:pt x="22738" y="86553"/>
                </a:lnTo>
                <a:lnTo>
                  <a:pt x="21626" y="84305"/>
                </a:lnTo>
                <a:lnTo>
                  <a:pt x="20826" y="83225"/>
                </a:lnTo>
                <a:lnTo>
                  <a:pt x="0" y="83225"/>
                </a:lnTo>
                <a:lnTo>
                  <a:pt x="0" y="24653"/>
                </a:lnTo>
                <a:lnTo>
                  <a:pt x="21326" y="24653"/>
                </a:lnTo>
                <a:lnTo>
                  <a:pt x="21626" y="24168"/>
                </a:lnTo>
                <a:lnTo>
                  <a:pt x="24406" y="19671"/>
                </a:lnTo>
                <a:lnTo>
                  <a:pt x="26074" y="17985"/>
                </a:lnTo>
                <a:lnTo>
                  <a:pt x="28297" y="15737"/>
                </a:lnTo>
                <a:lnTo>
                  <a:pt x="32188" y="12365"/>
                </a:lnTo>
                <a:lnTo>
                  <a:pt x="36080" y="9555"/>
                </a:lnTo>
                <a:lnTo>
                  <a:pt x="40527" y="6745"/>
                </a:lnTo>
                <a:lnTo>
                  <a:pt x="45530" y="4496"/>
                </a:lnTo>
                <a:lnTo>
                  <a:pt x="49977" y="2810"/>
                </a:lnTo>
                <a:lnTo>
                  <a:pt x="55536" y="1124"/>
                </a:lnTo>
                <a:lnTo>
                  <a:pt x="60539" y="562"/>
                </a:lnTo>
                <a:close/>
              </a:path>
            </a:pathLst>
          </a:custGeom>
          <a:solidFill>
            <a:schemeClr val="tx1"/>
          </a:solidFill>
          <a:ln>
            <a:solidFill>
              <a:schemeClr val="bg1"/>
            </a:solidFill>
          </a:ln>
        </p:spPr>
        <p:txBody>
          <a:bodyPr vert="horz" wrap="square" lIns="68580" tIns="34290" rIns="68580" bIns="3429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endParaRPr>
          </a:p>
        </p:txBody>
      </p:sp>
      <p:sp>
        <p:nvSpPr>
          <p:cNvPr id="312" name="Freeform: Shape 311">
            <a:extLst>
              <a:ext uri="{FF2B5EF4-FFF2-40B4-BE49-F238E27FC236}">
                <a16:creationId xmlns:a16="http://schemas.microsoft.com/office/drawing/2014/main" id="{E848DAF0-2349-561C-2B68-6F7F9F532FBA}"/>
              </a:ext>
            </a:extLst>
          </p:cNvPr>
          <p:cNvSpPr>
            <a:spLocks noChangeArrowheads="1"/>
          </p:cNvSpPr>
          <p:nvPr/>
        </p:nvSpPr>
        <p:spPr bwMode="auto">
          <a:xfrm>
            <a:off x="5922604" y="3601382"/>
            <a:ext cx="168885" cy="107910"/>
          </a:xfrm>
          <a:custGeom>
            <a:avLst/>
            <a:gdLst>
              <a:gd name="connsiteX0" fmla="*/ 66098 w 168885"/>
              <a:gd name="connsiteY0" fmla="*/ 0 h 107910"/>
              <a:gd name="connsiteX1" fmla="*/ 102787 w 168885"/>
              <a:gd name="connsiteY1" fmla="*/ 0 h 107910"/>
              <a:gd name="connsiteX2" fmla="*/ 108346 w 168885"/>
              <a:gd name="connsiteY2" fmla="*/ 562 h 107910"/>
              <a:gd name="connsiteX3" fmla="*/ 113349 w 168885"/>
              <a:gd name="connsiteY3" fmla="*/ 1124 h 107910"/>
              <a:gd name="connsiteX4" fmla="*/ 118908 w 168885"/>
              <a:gd name="connsiteY4" fmla="*/ 2810 h 107910"/>
              <a:gd name="connsiteX5" fmla="*/ 123355 w 168885"/>
              <a:gd name="connsiteY5" fmla="*/ 4496 h 107910"/>
              <a:gd name="connsiteX6" fmla="*/ 128358 w 168885"/>
              <a:gd name="connsiteY6" fmla="*/ 6744 h 107910"/>
              <a:gd name="connsiteX7" fmla="*/ 132805 w 168885"/>
              <a:gd name="connsiteY7" fmla="*/ 9554 h 107910"/>
              <a:gd name="connsiteX8" fmla="*/ 136696 w 168885"/>
              <a:gd name="connsiteY8" fmla="*/ 12365 h 107910"/>
              <a:gd name="connsiteX9" fmla="*/ 140587 w 168885"/>
              <a:gd name="connsiteY9" fmla="*/ 15737 h 107910"/>
              <a:gd name="connsiteX10" fmla="*/ 144479 w 168885"/>
              <a:gd name="connsiteY10" fmla="*/ 19671 h 107910"/>
              <a:gd name="connsiteX11" fmla="*/ 146146 w 168885"/>
              <a:gd name="connsiteY11" fmla="*/ 21919 h 107910"/>
              <a:gd name="connsiteX12" fmla="*/ 147258 w 168885"/>
              <a:gd name="connsiteY12" fmla="*/ 24167 h 107910"/>
              <a:gd name="connsiteX13" fmla="*/ 147619 w 168885"/>
              <a:gd name="connsiteY13" fmla="*/ 24653 h 107910"/>
              <a:gd name="connsiteX14" fmla="*/ 168885 w 168885"/>
              <a:gd name="connsiteY14" fmla="*/ 24653 h 107910"/>
              <a:gd name="connsiteX15" fmla="*/ 168885 w 168885"/>
              <a:gd name="connsiteY15" fmla="*/ 83225 h 107910"/>
              <a:gd name="connsiteX16" fmla="*/ 147926 w 168885"/>
              <a:gd name="connsiteY16" fmla="*/ 83225 h 107910"/>
              <a:gd name="connsiteX17" fmla="*/ 147258 w 168885"/>
              <a:gd name="connsiteY17" fmla="*/ 84305 h 107910"/>
              <a:gd name="connsiteX18" fmla="*/ 144479 w 168885"/>
              <a:gd name="connsiteY18" fmla="*/ 88239 h 107910"/>
              <a:gd name="connsiteX19" fmla="*/ 142811 w 168885"/>
              <a:gd name="connsiteY19" fmla="*/ 90487 h 107910"/>
              <a:gd name="connsiteX20" fmla="*/ 140587 w 168885"/>
              <a:gd name="connsiteY20" fmla="*/ 92173 h 107910"/>
              <a:gd name="connsiteX21" fmla="*/ 136696 w 168885"/>
              <a:gd name="connsiteY21" fmla="*/ 95545 h 107910"/>
              <a:gd name="connsiteX22" fmla="*/ 132805 w 168885"/>
              <a:gd name="connsiteY22" fmla="*/ 98918 h 107910"/>
              <a:gd name="connsiteX23" fmla="*/ 128358 w 168885"/>
              <a:gd name="connsiteY23" fmla="*/ 101728 h 107910"/>
              <a:gd name="connsiteX24" fmla="*/ 123355 w 168885"/>
              <a:gd name="connsiteY24" fmla="*/ 103976 h 107910"/>
              <a:gd name="connsiteX25" fmla="*/ 118908 w 168885"/>
              <a:gd name="connsiteY25" fmla="*/ 105662 h 107910"/>
              <a:gd name="connsiteX26" fmla="*/ 113349 w 168885"/>
              <a:gd name="connsiteY26" fmla="*/ 106786 h 107910"/>
              <a:gd name="connsiteX27" fmla="*/ 108346 w 168885"/>
              <a:gd name="connsiteY27" fmla="*/ 107910 h 107910"/>
              <a:gd name="connsiteX28" fmla="*/ 102787 w 168885"/>
              <a:gd name="connsiteY28" fmla="*/ 107910 h 107910"/>
              <a:gd name="connsiteX29" fmla="*/ 66098 w 168885"/>
              <a:gd name="connsiteY29" fmla="*/ 107910 h 107910"/>
              <a:gd name="connsiteX30" fmla="*/ 60539 w 168885"/>
              <a:gd name="connsiteY30" fmla="*/ 107910 h 107910"/>
              <a:gd name="connsiteX31" fmla="*/ 55536 w 168885"/>
              <a:gd name="connsiteY31" fmla="*/ 106786 h 107910"/>
              <a:gd name="connsiteX32" fmla="*/ 49977 w 168885"/>
              <a:gd name="connsiteY32" fmla="*/ 105662 h 107910"/>
              <a:gd name="connsiteX33" fmla="*/ 45530 w 168885"/>
              <a:gd name="connsiteY33" fmla="*/ 103976 h 107910"/>
              <a:gd name="connsiteX34" fmla="*/ 40527 w 168885"/>
              <a:gd name="connsiteY34" fmla="*/ 101728 h 107910"/>
              <a:gd name="connsiteX35" fmla="*/ 36080 w 168885"/>
              <a:gd name="connsiteY35" fmla="*/ 98918 h 107910"/>
              <a:gd name="connsiteX36" fmla="*/ 32188 w 168885"/>
              <a:gd name="connsiteY36" fmla="*/ 95545 h 107910"/>
              <a:gd name="connsiteX37" fmla="*/ 28297 w 168885"/>
              <a:gd name="connsiteY37" fmla="*/ 92173 h 107910"/>
              <a:gd name="connsiteX38" fmla="*/ 24406 w 168885"/>
              <a:gd name="connsiteY38" fmla="*/ 88239 h 107910"/>
              <a:gd name="connsiteX39" fmla="*/ 22738 w 168885"/>
              <a:gd name="connsiteY39" fmla="*/ 86553 h 107910"/>
              <a:gd name="connsiteX40" fmla="*/ 21626 w 168885"/>
              <a:gd name="connsiteY40" fmla="*/ 84305 h 107910"/>
              <a:gd name="connsiteX41" fmla="*/ 20825 w 168885"/>
              <a:gd name="connsiteY41" fmla="*/ 83225 h 107910"/>
              <a:gd name="connsiteX42" fmla="*/ 0 w 168885"/>
              <a:gd name="connsiteY42" fmla="*/ 83225 h 107910"/>
              <a:gd name="connsiteX43" fmla="*/ 0 w 168885"/>
              <a:gd name="connsiteY43" fmla="*/ 24653 h 107910"/>
              <a:gd name="connsiteX44" fmla="*/ 21326 w 168885"/>
              <a:gd name="connsiteY44" fmla="*/ 24653 h 107910"/>
              <a:gd name="connsiteX45" fmla="*/ 21626 w 168885"/>
              <a:gd name="connsiteY45" fmla="*/ 24167 h 107910"/>
              <a:gd name="connsiteX46" fmla="*/ 24406 w 168885"/>
              <a:gd name="connsiteY46" fmla="*/ 19671 h 107910"/>
              <a:gd name="connsiteX47" fmla="*/ 26074 w 168885"/>
              <a:gd name="connsiteY47" fmla="*/ 17985 h 107910"/>
              <a:gd name="connsiteX48" fmla="*/ 28297 w 168885"/>
              <a:gd name="connsiteY48" fmla="*/ 15737 h 107910"/>
              <a:gd name="connsiteX49" fmla="*/ 32188 w 168885"/>
              <a:gd name="connsiteY49" fmla="*/ 12365 h 107910"/>
              <a:gd name="connsiteX50" fmla="*/ 36080 w 168885"/>
              <a:gd name="connsiteY50" fmla="*/ 9554 h 107910"/>
              <a:gd name="connsiteX51" fmla="*/ 40527 w 168885"/>
              <a:gd name="connsiteY51" fmla="*/ 6744 h 107910"/>
              <a:gd name="connsiteX52" fmla="*/ 45530 w 168885"/>
              <a:gd name="connsiteY52" fmla="*/ 4496 h 107910"/>
              <a:gd name="connsiteX53" fmla="*/ 49977 w 168885"/>
              <a:gd name="connsiteY53" fmla="*/ 2810 h 107910"/>
              <a:gd name="connsiteX54" fmla="*/ 55536 w 168885"/>
              <a:gd name="connsiteY54" fmla="*/ 1124 h 107910"/>
              <a:gd name="connsiteX55" fmla="*/ 60539 w 168885"/>
              <a:gd name="connsiteY55" fmla="*/ 562 h 107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68885" h="107910">
                <a:moveTo>
                  <a:pt x="66098" y="0"/>
                </a:moveTo>
                <a:lnTo>
                  <a:pt x="102787" y="0"/>
                </a:lnTo>
                <a:lnTo>
                  <a:pt x="108346" y="562"/>
                </a:lnTo>
                <a:lnTo>
                  <a:pt x="113349" y="1124"/>
                </a:lnTo>
                <a:lnTo>
                  <a:pt x="118908" y="2810"/>
                </a:lnTo>
                <a:lnTo>
                  <a:pt x="123355" y="4496"/>
                </a:lnTo>
                <a:lnTo>
                  <a:pt x="128358" y="6744"/>
                </a:lnTo>
                <a:lnTo>
                  <a:pt x="132805" y="9554"/>
                </a:lnTo>
                <a:lnTo>
                  <a:pt x="136696" y="12365"/>
                </a:lnTo>
                <a:lnTo>
                  <a:pt x="140587" y="15737"/>
                </a:lnTo>
                <a:lnTo>
                  <a:pt x="144479" y="19671"/>
                </a:lnTo>
                <a:lnTo>
                  <a:pt x="146146" y="21919"/>
                </a:lnTo>
                <a:lnTo>
                  <a:pt x="147258" y="24167"/>
                </a:lnTo>
                <a:lnTo>
                  <a:pt x="147619" y="24653"/>
                </a:lnTo>
                <a:lnTo>
                  <a:pt x="168885" y="24653"/>
                </a:lnTo>
                <a:lnTo>
                  <a:pt x="168885" y="83225"/>
                </a:lnTo>
                <a:lnTo>
                  <a:pt x="147926" y="83225"/>
                </a:lnTo>
                <a:lnTo>
                  <a:pt x="147258" y="84305"/>
                </a:lnTo>
                <a:lnTo>
                  <a:pt x="144479" y="88239"/>
                </a:lnTo>
                <a:lnTo>
                  <a:pt x="142811" y="90487"/>
                </a:lnTo>
                <a:lnTo>
                  <a:pt x="140587" y="92173"/>
                </a:lnTo>
                <a:lnTo>
                  <a:pt x="136696" y="95545"/>
                </a:lnTo>
                <a:lnTo>
                  <a:pt x="132805" y="98918"/>
                </a:lnTo>
                <a:lnTo>
                  <a:pt x="128358" y="101728"/>
                </a:lnTo>
                <a:lnTo>
                  <a:pt x="123355" y="103976"/>
                </a:lnTo>
                <a:lnTo>
                  <a:pt x="118908" y="105662"/>
                </a:lnTo>
                <a:lnTo>
                  <a:pt x="113349" y="106786"/>
                </a:lnTo>
                <a:lnTo>
                  <a:pt x="108346" y="107910"/>
                </a:lnTo>
                <a:lnTo>
                  <a:pt x="102787" y="107910"/>
                </a:lnTo>
                <a:lnTo>
                  <a:pt x="66098" y="107910"/>
                </a:lnTo>
                <a:lnTo>
                  <a:pt x="60539" y="107910"/>
                </a:lnTo>
                <a:lnTo>
                  <a:pt x="55536" y="106786"/>
                </a:lnTo>
                <a:lnTo>
                  <a:pt x="49977" y="105662"/>
                </a:lnTo>
                <a:lnTo>
                  <a:pt x="45530" y="103976"/>
                </a:lnTo>
                <a:lnTo>
                  <a:pt x="40527" y="101728"/>
                </a:lnTo>
                <a:lnTo>
                  <a:pt x="36080" y="98918"/>
                </a:lnTo>
                <a:lnTo>
                  <a:pt x="32188" y="95545"/>
                </a:lnTo>
                <a:lnTo>
                  <a:pt x="28297" y="92173"/>
                </a:lnTo>
                <a:lnTo>
                  <a:pt x="24406" y="88239"/>
                </a:lnTo>
                <a:lnTo>
                  <a:pt x="22738" y="86553"/>
                </a:lnTo>
                <a:lnTo>
                  <a:pt x="21626" y="84305"/>
                </a:lnTo>
                <a:lnTo>
                  <a:pt x="20825" y="83225"/>
                </a:lnTo>
                <a:lnTo>
                  <a:pt x="0" y="83225"/>
                </a:lnTo>
                <a:lnTo>
                  <a:pt x="0" y="24653"/>
                </a:lnTo>
                <a:lnTo>
                  <a:pt x="21326" y="24653"/>
                </a:lnTo>
                <a:lnTo>
                  <a:pt x="21626" y="24167"/>
                </a:lnTo>
                <a:lnTo>
                  <a:pt x="24406" y="19671"/>
                </a:lnTo>
                <a:lnTo>
                  <a:pt x="26074" y="17985"/>
                </a:lnTo>
                <a:lnTo>
                  <a:pt x="28297" y="15737"/>
                </a:lnTo>
                <a:lnTo>
                  <a:pt x="32188" y="12365"/>
                </a:lnTo>
                <a:lnTo>
                  <a:pt x="36080" y="9554"/>
                </a:lnTo>
                <a:lnTo>
                  <a:pt x="40527" y="6744"/>
                </a:lnTo>
                <a:lnTo>
                  <a:pt x="45530" y="4496"/>
                </a:lnTo>
                <a:lnTo>
                  <a:pt x="49977" y="2810"/>
                </a:lnTo>
                <a:lnTo>
                  <a:pt x="55536" y="1124"/>
                </a:lnTo>
                <a:lnTo>
                  <a:pt x="60539" y="562"/>
                </a:lnTo>
                <a:close/>
              </a:path>
            </a:pathLst>
          </a:custGeom>
          <a:solidFill>
            <a:schemeClr val="tx1"/>
          </a:solidFill>
          <a:ln>
            <a:solidFill>
              <a:schemeClr val="bg1"/>
            </a:solidFill>
          </a:ln>
        </p:spPr>
        <p:txBody>
          <a:bodyPr vert="horz" wrap="square" lIns="68580" tIns="34290" rIns="68580" bIns="3429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endParaRPr>
          </a:p>
        </p:txBody>
      </p:sp>
      <p:sp>
        <p:nvSpPr>
          <p:cNvPr id="313" name="Freeform: Shape 312">
            <a:extLst>
              <a:ext uri="{FF2B5EF4-FFF2-40B4-BE49-F238E27FC236}">
                <a16:creationId xmlns:a16="http://schemas.microsoft.com/office/drawing/2014/main" id="{A503D580-4464-027B-70D0-75CAD587DA13}"/>
              </a:ext>
            </a:extLst>
          </p:cNvPr>
          <p:cNvSpPr>
            <a:spLocks noChangeArrowheads="1"/>
          </p:cNvSpPr>
          <p:nvPr/>
        </p:nvSpPr>
        <p:spPr bwMode="auto">
          <a:xfrm>
            <a:off x="5447074" y="4533647"/>
            <a:ext cx="168885" cy="107910"/>
          </a:xfrm>
          <a:custGeom>
            <a:avLst/>
            <a:gdLst>
              <a:gd name="connsiteX0" fmla="*/ 66098 w 168885"/>
              <a:gd name="connsiteY0" fmla="*/ 0 h 107910"/>
              <a:gd name="connsiteX1" fmla="*/ 102787 w 168885"/>
              <a:gd name="connsiteY1" fmla="*/ 0 h 107910"/>
              <a:gd name="connsiteX2" fmla="*/ 108346 w 168885"/>
              <a:gd name="connsiteY2" fmla="*/ 562 h 107910"/>
              <a:gd name="connsiteX3" fmla="*/ 113349 w 168885"/>
              <a:gd name="connsiteY3" fmla="*/ 1124 h 107910"/>
              <a:gd name="connsiteX4" fmla="*/ 118908 w 168885"/>
              <a:gd name="connsiteY4" fmla="*/ 2810 h 107910"/>
              <a:gd name="connsiteX5" fmla="*/ 123355 w 168885"/>
              <a:gd name="connsiteY5" fmla="*/ 4496 h 107910"/>
              <a:gd name="connsiteX6" fmla="*/ 128358 w 168885"/>
              <a:gd name="connsiteY6" fmla="*/ 6744 h 107910"/>
              <a:gd name="connsiteX7" fmla="*/ 132805 w 168885"/>
              <a:gd name="connsiteY7" fmla="*/ 9554 h 107910"/>
              <a:gd name="connsiteX8" fmla="*/ 136696 w 168885"/>
              <a:gd name="connsiteY8" fmla="*/ 12364 h 107910"/>
              <a:gd name="connsiteX9" fmla="*/ 140587 w 168885"/>
              <a:gd name="connsiteY9" fmla="*/ 15737 h 107910"/>
              <a:gd name="connsiteX10" fmla="*/ 144479 w 168885"/>
              <a:gd name="connsiteY10" fmla="*/ 19671 h 107910"/>
              <a:gd name="connsiteX11" fmla="*/ 146146 w 168885"/>
              <a:gd name="connsiteY11" fmla="*/ 21919 h 107910"/>
              <a:gd name="connsiteX12" fmla="*/ 147258 w 168885"/>
              <a:gd name="connsiteY12" fmla="*/ 24167 h 107910"/>
              <a:gd name="connsiteX13" fmla="*/ 147618 w 168885"/>
              <a:gd name="connsiteY13" fmla="*/ 24653 h 107910"/>
              <a:gd name="connsiteX14" fmla="*/ 168885 w 168885"/>
              <a:gd name="connsiteY14" fmla="*/ 24653 h 107910"/>
              <a:gd name="connsiteX15" fmla="*/ 168885 w 168885"/>
              <a:gd name="connsiteY15" fmla="*/ 83225 h 107910"/>
              <a:gd name="connsiteX16" fmla="*/ 147926 w 168885"/>
              <a:gd name="connsiteY16" fmla="*/ 83225 h 107910"/>
              <a:gd name="connsiteX17" fmla="*/ 147258 w 168885"/>
              <a:gd name="connsiteY17" fmla="*/ 84305 h 107910"/>
              <a:gd name="connsiteX18" fmla="*/ 144479 w 168885"/>
              <a:gd name="connsiteY18" fmla="*/ 88239 h 107910"/>
              <a:gd name="connsiteX19" fmla="*/ 142811 w 168885"/>
              <a:gd name="connsiteY19" fmla="*/ 90487 h 107910"/>
              <a:gd name="connsiteX20" fmla="*/ 140587 w 168885"/>
              <a:gd name="connsiteY20" fmla="*/ 92173 h 107910"/>
              <a:gd name="connsiteX21" fmla="*/ 136696 w 168885"/>
              <a:gd name="connsiteY21" fmla="*/ 95546 h 107910"/>
              <a:gd name="connsiteX22" fmla="*/ 132805 w 168885"/>
              <a:gd name="connsiteY22" fmla="*/ 98918 h 107910"/>
              <a:gd name="connsiteX23" fmla="*/ 128358 w 168885"/>
              <a:gd name="connsiteY23" fmla="*/ 101728 h 107910"/>
              <a:gd name="connsiteX24" fmla="*/ 123355 w 168885"/>
              <a:gd name="connsiteY24" fmla="*/ 103976 h 107910"/>
              <a:gd name="connsiteX25" fmla="*/ 118908 w 168885"/>
              <a:gd name="connsiteY25" fmla="*/ 105662 h 107910"/>
              <a:gd name="connsiteX26" fmla="*/ 113349 w 168885"/>
              <a:gd name="connsiteY26" fmla="*/ 106786 h 107910"/>
              <a:gd name="connsiteX27" fmla="*/ 108346 w 168885"/>
              <a:gd name="connsiteY27" fmla="*/ 107910 h 107910"/>
              <a:gd name="connsiteX28" fmla="*/ 102787 w 168885"/>
              <a:gd name="connsiteY28" fmla="*/ 107910 h 107910"/>
              <a:gd name="connsiteX29" fmla="*/ 66098 w 168885"/>
              <a:gd name="connsiteY29" fmla="*/ 107910 h 107910"/>
              <a:gd name="connsiteX30" fmla="*/ 60539 w 168885"/>
              <a:gd name="connsiteY30" fmla="*/ 107910 h 107910"/>
              <a:gd name="connsiteX31" fmla="*/ 55536 w 168885"/>
              <a:gd name="connsiteY31" fmla="*/ 106786 h 107910"/>
              <a:gd name="connsiteX32" fmla="*/ 49977 w 168885"/>
              <a:gd name="connsiteY32" fmla="*/ 105662 h 107910"/>
              <a:gd name="connsiteX33" fmla="*/ 45530 w 168885"/>
              <a:gd name="connsiteY33" fmla="*/ 103976 h 107910"/>
              <a:gd name="connsiteX34" fmla="*/ 40527 w 168885"/>
              <a:gd name="connsiteY34" fmla="*/ 101728 h 107910"/>
              <a:gd name="connsiteX35" fmla="*/ 36080 w 168885"/>
              <a:gd name="connsiteY35" fmla="*/ 98918 h 107910"/>
              <a:gd name="connsiteX36" fmla="*/ 32188 w 168885"/>
              <a:gd name="connsiteY36" fmla="*/ 95546 h 107910"/>
              <a:gd name="connsiteX37" fmla="*/ 28297 w 168885"/>
              <a:gd name="connsiteY37" fmla="*/ 92173 h 107910"/>
              <a:gd name="connsiteX38" fmla="*/ 24406 w 168885"/>
              <a:gd name="connsiteY38" fmla="*/ 88239 h 107910"/>
              <a:gd name="connsiteX39" fmla="*/ 22738 w 168885"/>
              <a:gd name="connsiteY39" fmla="*/ 86553 h 107910"/>
              <a:gd name="connsiteX40" fmla="*/ 21626 w 168885"/>
              <a:gd name="connsiteY40" fmla="*/ 84305 h 107910"/>
              <a:gd name="connsiteX41" fmla="*/ 20826 w 168885"/>
              <a:gd name="connsiteY41" fmla="*/ 83225 h 107910"/>
              <a:gd name="connsiteX42" fmla="*/ 0 w 168885"/>
              <a:gd name="connsiteY42" fmla="*/ 83225 h 107910"/>
              <a:gd name="connsiteX43" fmla="*/ 0 w 168885"/>
              <a:gd name="connsiteY43" fmla="*/ 24653 h 107910"/>
              <a:gd name="connsiteX44" fmla="*/ 21326 w 168885"/>
              <a:gd name="connsiteY44" fmla="*/ 24653 h 107910"/>
              <a:gd name="connsiteX45" fmla="*/ 21626 w 168885"/>
              <a:gd name="connsiteY45" fmla="*/ 24167 h 107910"/>
              <a:gd name="connsiteX46" fmla="*/ 24406 w 168885"/>
              <a:gd name="connsiteY46" fmla="*/ 19671 h 107910"/>
              <a:gd name="connsiteX47" fmla="*/ 26074 w 168885"/>
              <a:gd name="connsiteY47" fmla="*/ 17985 h 107910"/>
              <a:gd name="connsiteX48" fmla="*/ 28297 w 168885"/>
              <a:gd name="connsiteY48" fmla="*/ 15737 h 107910"/>
              <a:gd name="connsiteX49" fmla="*/ 32188 w 168885"/>
              <a:gd name="connsiteY49" fmla="*/ 12364 h 107910"/>
              <a:gd name="connsiteX50" fmla="*/ 36080 w 168885"/>
              <a:gd name="connsiteY50" fmla="*/ 9554 h 107910"/>
              <a:gd name="connsiteX51" fmla="*/ 40527 w 168885"/>
              <a:gd name="connsiteY51" fmla="*/ 6744 h 107910"/>
              <a:gd name="connsiteX52" fmla="*/ 45530 w 168885"/>
              <a:gd name="connsiteY52" fmla="*/ 4496 h 107910"/>
              <a:gd name="connsiteX53" fmla="*/ 49977 w 168885"/>
              <a:gd name="connsiteY53" fmla="*/ 2810 h 107910"/>
              <a:gd name="connsiteX54" fmla="*/ 55536 w 168885"/>
              <a:gd name="connsiteY54" fmla="*/ 1124 h 107910"/>
              <a:gd name="connsiteX55" fmla="*/ 60539 w 168885"/>
              <a:gd name="connsiteY55" fmla="*/ 562 h 107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68885" h="107910">
                <a:moveTo>
                  <a:pt x="66098" y="0"/>
                </a:moveTo>
                <a:lnTo>
                  <a:pt x="102787" y="0"/>
                </a:lnTo>
                <a:lnTo>
                  <a:pt x="108346" y="562"/>
                </a:lnTo>
                <a:lnTo>
                  <a:pt x="113349" y="1124"/>
                </a:lnTo>
                <a:lnTo>
                  <a:pt x="118908" y="2810"/>
                </a:lnTo>
                <a:lnTo>
                  <a:pt x="123355" y="4496"/>
                </a:lnTo>
                <a:lnTo>
                  <a:pt x="128358" y="6744"/>
                </a:lnTo>
                <a:lnTo>
                  <a:pt x="132805" y="9554"/>
                </a:lnTo>
                <a:lnTo>
                  <a:pt x="136696" y="12364"/>
                </a:lnTo>
                <a:lnTo>
                  <a:pt x="140587" y="15737"/>
                </a:lnTo>
                <a:lnTo>
                  <a:pt x="144479" y="19671"/>
                </a:lnTo>
                <a:lnTo>
                  <a:pt x="146146" y="21919"/>
                </a:lnTo>
                <a:lnTo>
                  <a:pt x="147258" y="24167"/>
                </a:lnTo>
                <a:lnTo>
                  <a:pt x="147618" y="24653"/>
                </a:lnTo>
                <a:lnTo>
                  <a:pt x="168885" y="24653"/>
                </a:lnTo>
                <a:lnTo>
                  <a:pt x="168885" y="83225"/>
                </a:lnTo>
                <a:lnTo>
                  <a:pt x="147926" y="83225"/>
                </a:lnTo>
                <a:lnTo>
                  <a:pt x="147258" y="84305"/>
                </a:lnTo>
                <a:lnTo>
                  <a:pt x="144479" y="88239"/>
                </a:lnTo>
                <a:lnTo>
                  <a:pt x="142811" y="90487"/>
                </a:lnTo>
                <a:lnTo>
                  <a:pt x="140587" y="92173"/>
                </a:lnTo>
                <a:lnTo>
                  <a:pt x="136696" y="95546"/>
                </a:lnTo>
                <a:lnTo>
                  <a:pt x="132805" y="98918"/>
                </a:lnTo>
                <a:lnTo>
                  <a:pt x="128358" y="101728"/>
                </a:lnTo>
                <a:lnTo>
                  <a:pt x="123355" y="103976"/>
                </a:lnTo>
                <a:lnTo>
                  <a:pt x="118908" y="105662"/>
                </a:lnTo>
                <a:lnTo>
                  <a:pt x="113349" y="106786"/>
                </a:lnTo>
                <a:lnTo>
                  <a:pt x="108346" y="107910"/>
                </a:lnTo>
                <a:lnTo>
                  <a:pt x="102787" y="107910"/>
                </a:lnTo>
                <a:lnTo>
                  <a:pt x="66098" y="107910"/>
                </a:lnTo>
                <a:lnTo>
                  <a:pt x="60539" y="107910"/>
                </a:lnTo>
                <a:lnTo>
                  <a:pt x="55536" y="106786"/>
                </a:lnTo>
                <a:lnTo>
                  <a:pt x="49977" y="105662"/>
                </a:lnTo>
                <a:lnTo>
                  <a:pt x="45530" y="103976"/>
                </a:lnTo>
                <a:lnTo>
                  <a:pt x="40527" y="101728"/>
                </a:lnTo>
                <a:lnTo>
                  <a:pt x="36080" y="98918"/>
                </a:lnTo>
                <a:lnTo>
                  <a:pt x="32188" y="95546"/>
                </a:lnTo>
                <a:lnTo>
                  <a:pt x="28297" y="92173"/>
                </a:lnTo>
                <a:lnTo>
                  <a:pt x="24406" y="88239"/>
                </a:lnTo>
                <a:lnTo>
                  <a:pt x="22738" y="86553"/>
                </a:lnTo>
                <a:lnTo>
                  <a:pt x="21626" y="84305"/>
                </a:lnTo>
                <a:lnTo>
                  <a:pt x="20826" y="83225"/>
                </a:lnTo>
                <a:lnTo>
                  <a:pt x="0" y="83225"/>
                </a:lnTo>
                <a:lnTo>
                  <a:pt x="0" y="24653"/>
                </a:lnTo>
                <a:lnTo>
                  <a:pt x="21326" y="24653"/>
                </a:lnTo>
                <a:lnTo>
                  <a:pt x="21626" y="24167"/>
                </a:lnTo>
                <a:lnTo>
                  <a:pt x="24406" y="19671"/>
                </a:lnTo>
                <a:lnTo>
                  <a:pt x="26074" y="17985"/>
                </a:lnTo>
                <a:lnTo>
                  <a:pt x="28297" y="15737"/>
                </a:lnTo>
                <a:lnTo>
                  <a:pt x="32188" y="12364"/>
                </a:lnTo>
                <a:lnTo>
                  <a:pt x="36080" y="9554"/>
                </a:lnTo>
                <a:lnTo>
                  <a:pt x="40527" y="6744"/>
                </a:lnTo>
                <a:lnTo>
                  <a:pt x="45530" y="4496"/>
                </a:lnTo>
                <a:lnTo>
                  <a:pt x="49977" y="2810"/>
                </a:lnTo>
                <a:lnTo>
                  <a:pt x="55536" y="1124"/>
                </a:lnTo>
                <a:lnTo>
                  <a:pt x="60539" y="562"/>
                </a:lnTo>
                <a:close/>
              </a:path>
            </a:pathLst>
          </a:custGeom>
          <a:solidFill>
            <a:schemeClr val="tx1"/>
          </a:solidFill>
          <a:ln>
            <a:solidFill>
              <a:schemeClr val="bg1"/>
            </a:solidFill>
          </a:ln>
        </p:spPr>
        <p:txBody>
          <a:bodyPr vert="horz" wrap="square" lIns="68580" tIns="34290" rIns="68580" bIns="3429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endParaRPr>
          </a:p>
        </p:txBody>
      </p:sp>
      <p:sp>
        <p:nvSpPr>
          <p:cNvPr id="308" name="Freeform: Shape 307">
            <a:extLst>
              <a:ext uri="{FF2B5EF4-FFF2-40B4-BE49-F238E27FC236}">
                <a16:creationId xmlns:a16="http://schemas.microsoft.com/office/drawing/2014/main" id="{FD131450-4827-5ECB-4FD6-FCA0230F61A9}"/>
              </a:ext>
            </a:extLst>
          </p:cNvPr>
          <p:cNvSpPr>
            <a:spLocks/>
          </p:cNvSpPr>
          <p:nvPr/>
        </p:nvSpPr>
        <p:spPr bwMode="auto">
          <a:xfrm>
            <a:off x="9133368" y="2158411"/>
            <a:ext cx="168885" cy="107910"/>
          </a:xfrm>
          <a:custGeom>
            <a:avLst/>
            <a:gdLst>
              <a:gd name="connsiteX0" fmla="*/ 66098 w 168885"/>
              <a:gd name="connsiteY0" fmla="*/ 0 h 107910"/>
              <a:gd name="connsiteX1" fmla="*/ 102786 w 168885"/>
              <a:gd name="connsiteY1" fmla="*/ 0 h 107910"/>
              <a:gd name="connsiteX2" fmla="*/ 108345 w 168885"/>
              <a:gd name="connsiteY2" fmla="*/ 562 h 107910"/>
              <a:gd name="connsiteX3" fmla="*/ 113348 w 168885"/>
              <a:gd name="connsiteY3" fmla="*/ 1124 h 107910"/>
              <a:gd name="connsiteX4" fmla="*/ 118907 w 168885"/>
              <a:gd name="connsiteY4" fmla="*/ 2810 h 107910"/>
              <a:gd name="connsiteX5" fmla="*/ 123354 w 168885"/>
              <a:gd name="connsiteY5" fmla="*/ 4496 h 107910"/>
              <a:gd name="connsiteX6" fmla="*/ 128357 w 168885"/>
              <a:gd name="connsiteY6" fmla="*/ 6745 h 107910"/>
              <a:gd name="connsiteX7" fmla="*/ 132805 w 168885"/>
              <a:gd name="connsiteY7" fmla="*/ 9555 h 107910"/>
              <a:gd name="connsiteX8" fmla="*/ 136696 w 168885"/>
              <a:gd name="connsiteY8" fmla="*/ 12365 h 107910"/>
              <a:gd name="connsiteX9" fmla="*/ 140587 w 168885"/>
              <a:gd name="connsiteY9" fmla="*/ 15737 h 107910"/>
              <a:gd name="connsiteX10" fmla="*/ 144478 w 168885"/>
              <a:gd name="connsiteY10" fmla="*/ 19671 h 107910"/>
              <a:gd name="connsiteX11" fmla="*/ 146146 w 168885"/>
              <a:gd name="connsiteY11" fmla="*/ 21919 h 107910"/>
              <a:gd name="connsiteX12" fmla="*/ 147258 w 168885"/>
              <a:gd name="connsiteY12" fmla="*/ 24167 h 107910"/>
              <a:gd name="connsiteX13" fmla="*/ 147618 w 168885"/>
              <a:gd name="connsiteY13" fmla="*/ 24653 h 107910"/>
              <a:gd name="connsiteX14" fmla="*/ 168885 w 168885"/>
              <a:gd name="connsiteY14" fmla="*/ 24653 h 107910"/>
              <a:gd name="connsiteX15" fmla="*/ 168885 w 168885"/>
              <a:gd name="connsiteY15" fmla="*/ 83225 h 107910"/>
              <a:gd name="connsiteX16" fmla="*/ 147925 w 168885"/>
              <a:gd name="connsiteY16" fmla="*/ 83225 h 107910"/>
              <a:gd name="connsiteX17" fmla="*/ 147258 w 168885"/>
              <a:gd name="connsiteY17" fmla="*/ 84305 h 107910"/>
              <a:gd name="connsiteX18" fmla="*/ 144478 w 168885"/>
              <a:gd name="connsiteY18" fmla="*/ 88239 h 107910"/>
              <a:gd name="connsiteX19" fmla="*/ 142811 w 168885"/>
              <a:gd name="connsiteY19" fmla="*/ 90487 h 107910"/>
              <a:gd name="connsiteX20" fmla="*/ 140587 w 168885"/>
              <a:gd name="connsiteY20" fmla="*/ 92173 h 107910"/>
              <a:gd name="connsiteX21" fmla="*/ 136696 w 168885"/>
              <a:gd name="connsiteY21" fmla="*/ 95545 h 107910"/>
              <a:gd name="connsiteX22" fmla="*/ 132805 w 168885"/>
              <a:gd name="connsiteY22" fmla="*/ 98918 h 107910"/>
              <a:gd name="connsiteX23" fmla="*/ 128357 w 168885"/>
              <a:gd name="connsiteY23" fmla="*/ 101728 h 107910"/>
              <a:gd name="connsiteX24" fmla="*/ 123354 w 168885"/>
              <a:gd name="connsiteY24" fmla="*/ 103976 h 107910"/>
              <a:gd name="connsiteX25" fmla="*/ 118907 w 168885"/>
              <a:gd name="connsiteY25" fmla="*/ 105662 h 107910"/>
              <a:gd name="connsiteX26" fmla="*/ 113348 w 168885"/>
              <a:gd name="connsiteY26" fmla="*/ 106786 h 107910"/>
              <a:gd name="connsiteX27" fmla="*/ 108345 w 168885"/>
              <a:gd name="connsiteY27" fmla="*/ 107910 h 107910"/>
              <a:gd name="connsiteX28" fmla="*/ 102786 w 168885"/>
              <a:gd name="connsiteY28" fmla="*/ 107910 h 107910"/>
              <a:gd name="connsiteX29" fmla="*/ 66098 w 168885"/>
              <a:gd name="connsiteY29" fmla="*/ 107910 h 107910"/>
              <a:gd name="connsiteX30" fmla="*/ 60539 w 168885"/>
              <a:gd name="connsiteY30" fmla="*/ 107910 h 107910"/>
              <a:gd name="connsiteX31" fmla="*/ 55536 w 168885"/>
              <a:gd name="connsiteY31" fmla="*/ 106786 h 107910"/>
              <a:gd name="connsiteX32" fmla="*/ 49977 w 168885"/>
              <a:gd name="connsiteY32" fmla="*/ 105662 h 107910"/>
              <a:gd name="connsiteX33" fmla="*/ 45530 w 168885"/>
              <a:gd name="connsiteY33" fmla="*/ 103976 h 107910"/>
              <a:gd name="connsiteX34" fmla="*/ 40527 w 168885"/>
              <a:gd name="connsiteY34" fmla="*/ 101728 h 107910"/>
              <a:gd name="connsiteX35" fmla="*/ 36079 w 168885"/>
              <a:gd name="connsiteY35" fmla="*/ 98918 h 107910"/>
              <a:gd name="connsiteX36" fmla="*/ 32188 w 168885"/>
              <a:gd name="connsiteY36" fmla="*/ 95545 h 107910"/>
              <a:gd name="connsiteX37" fmla="*/ 28297 w 168885"/>
              <a:gd name="connsiteY37" fmla="*/ 92173 h 107910"/>
              <a:gd name="connsiteX38" fmla="*/ 24406 w 168885"/>
              <a:gd name="connsiteY38" fmla="*/ 88239 h 107910"/>
              <a:gd name="connsiteX39" fmla="*/ 22738 w 168885"/>
              <a:gd name="connsiteY39" fmla="*/ 86553 h 107910"/>
              <a:gd name="connsiteX40" fmla="*/ 21626 w 168885"/>
              <a:gd name="connsiteY40" fmla="*/ 84305 h 107910"/>
              <a:gd name="connsiteX41" fmla="*/ 20825 w 168885"/>
              <a:gd name="connsiteY41" fmla="*/ 83225 h 107910"/>
              <a:gd name="connsiteX42" fmla="*/ 0 w 168885"/>
              <a:gd name="connsiteY42" fmla="*/ 83225 h 107910"/>
              <a:gd name="connsiteX43" fmla="*/ 0 w 168885"/>
              <a:gd name="connsiteY43" fmla="*/ 24653 h 107910"/>
              <a:gd name="connsiteX44" fmla="*/ 21326 w 168885"/>
              <a:gd name="connsiteY44" fmla="*/ 24653 h 107910"/>
              <a:gd name="connsiteX45" fmla="*/ 21626 w 168885"/>
              <a:gd name="connsiteY45" fmla="*/ 24167 h 107910"/>
              <a:gd name="connsiteX46" fmla="*/ 24406 w 168885"/>
              <a:gd name="connsiteY46" fmla="*/ 19671 h 107910"/>
              <a:gd name="connsiteX47" fmla="*/ 26073 w 168885"/>
              <a:gd name="connsiteY47" fmla="*/ 17985 h 107910"/>
              <a:gd name="connsiteX48" fmla="*/ 28297 w 168885"/>
              <a:gd name="connsiteY48" fmla="*/ 15737 h 107910"/>
              <a:gd name="connsiteX49" fmla="*/ 32188 w 168885"/>
              <a:gd name="connsiteY49" fmla="*/ 12365 h 107910"/>
              <a:gd name="connsiteX50" fmla="*/ 36079 w 168885"/>
              <a:gd name="connsiteY50" fmla="*/ 9555 h 107910"/>
              <a:gd name="connsiteX51" fmla="*/ 40527 w 168885"/>
              <a:gd name="connsiteY51" fmla="*/ 6745 h 107910"/>
              <a:gd name="connsiteX52" fmla="*/ 45530 w 168885"/>
              <a:gd name="connsiteY52" fmla="*/ 4496 h 107910"/>
              <a:gd name="connsiteX53" fmla="*/ 49977 w 168885"/>
              <a:gd name="connsiteY53" fmla="*/ 2810 h 107910"/>
              <a:gd name="connsiteX54" fmla="*/ 55536 w 168885"/>
              <a:gd name="connsiteY54" fmla="*/ 1124 h 107910"/>
              <a:gd name="connsiteX55" fmla="*/ 60539 w 168885"/>
              <a:gd name="connsiteY55" fmla="*/ 562 h 107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68885" h="107910">
                <a:moveTo>
                  <a:pt x="66098" y="0"/>
                </a:moveTo>
                <a:lnTo>
                  <a:pt x="102786" y="0"/>
                </a:lnTo>
                <a:lnTo>
                  <a:pt x="108345" y="562"/>
                </a:lnTo>
                <a:lnTo>
                  <a:pt x="113348" y="1124"/>
                </a:lnTo>
                <a:lnTo>
                  <a:pt x="118907" y="2810"/>
                </a:lnTo>
                <a:lnTo>
                  <a:pt x="123354" y="4496"/>
                </a:lnTo>
                <a:lnTo>
                  <a:pt x="128357" y="6745"/>
                </a:lnTo>
                <a:lnTo>
                  <a:pt x="132805" y="9555"/>
                </a:lnTo>
                <a:lnTo>
                  <a:pt x="136696" y="12365"/>
                </a:lnTo>
                <a:lnTo>
                  <a:pt x="140587" y="15737"/>
                </a:lnTo>
                <a:lnTo>
                  <a:pt x="144478" y="19671"/>
                </a:lnTo>
                <a:lnTo>
                  <a:pt x="146146" y="21919"/>
                </a:lnTo>
                <a:lnTo>
                  <a:pt x="147258" y="24167"/>
                </a:lnTo>
                <a:lnTo>
                  <a:pt x="147618" y="24653"/>
                </a:lnTo>
                <a:lnTo>
                  <a:pt x="168885" y="24653"/>
                </a:lnTo>
                <a:lnTo>
                  <a:pt x="168885" y="83225"/>
                </a:lnTo>
                <a:lnTo>
                  <a:pt x="147925" y="83225"/>
                </a:lnTo>
                <a:lnTo>
                  <a:pt x="147258" y="84305"/>
                </a:lnTo>
                <a:lnTo>
                  <a:pt x="144478" y="88239"/>
                </a:lnTo>
                <a:lnTo>
                  <a:pt x="142811" y="90487"/>
                </a:lnTo>
                <a:lnTo>
                  <a:pt x="140587" y="92173"/>
                </a:lnTo>
                <a:lnTo>
                  <a:pt x="136696" y="95545"/>
                </a:lnTo>
                <a:lnTo>
                  <a:pt x="132805" y="98918"/>
                </a:lnTo>
                <a:lnTo>
                  <a:pt x="128357" y="101728"/>
                </a:lnTo>
                <a:lnTo>
                  <a:pt x="123354" y="103976"/>
                </a:lnTo>
                <a:lnTo>
                  <a:pt x="118907" y="105662"/>
                </a:lnTo>
                <a:lnTo>
                  <a:pt x="113348" y="106786"/>
                </a:lnTo>
                <a:lnTo>
                  <a:pt x="108345" y="107910"/>
                </a:lnTo>
                <a:lnTo>
                  <a:pt x="102786" y="107910"/>
                </a:lnTo>
                <a:lnTo>
                  <a:pt x="66098" y="107910"/>
                </a:lnTo>
                <a:lnTo>
                  <a:pt x="60539" y="107910"/>
                </a:lnTo>
                <a:lnTo>
                  <a:pt x="55536" y="106786"/>
                </a:lnTo>
                <a:lnTo>
                  <a:pt x="49977" y="105662"/>
                </a:lnTo>
                <a:lnTo>
                  <a:pt x="45530" y="103976"/>
                </a:lnTo>
                <a:lnTo>
                  <a:pt x="40527" y="101728"/>
                </a:lnTo>
                <a:lnTo>
                  <a:pt x="36079" y="98918"/>
                </a:lnTo>
                <a:lnTo>
                  <a:pt x="32188" y="95545"/>
                </a:lnTo>
                <a:lnTo>
                  <a:pt x="28297" y="92173"/>
                </a:lnTo>
                <a:lnTo>
                  <a:pt x="24406" y="88239"/>
                </a:lnTo>
                <a:lnTo>
                  <a:pt x="22738" y="86553"/>
                </a:lnTo>
                <a:lnTo>
                  <a:pt x="21626" y="84305"/>
                </a:lnTo>
                <a:lnTo>
                  <a:pt x="20825" y="83225"/>
                </a:lnTo>
                <a:lnTo>
                  <a:pt x="0" y="83225"/>
                </a:lnTo>
                <a:lnTo>
                  <a:pt x="0" y="24653"/>
                </a:lnTo>
                <a:lnTo>
                  <a:pt x="21326" y="24653"/>
                </a:lnTo>
                <a:lnTo>
                  <a:pt x="21626" y="24167"/>
                </a:lnTo>
                <a:lnTo>
                  <a:pt x="24406" y="19671"/>
                </a:lnTo>
                <a:lnTo>
                  <a:pt x="26073" y="17985"/>
                </a:lnTo>
                <a:lnTo>
                  <a:pt x="28297" y="15737"/>
                </a:lnTo>
                <a:lnTo>
                  <a:pt x="32188" y="12365"/>
                </a:lnTo>
                <a:lnTo>
                  <a:pt x="36079" y="9555"/>
                </a:lnTo>
                <a:lnTo>
                  <a:pt x="40527" y="6745"/>
                </a:lnTo>
                <a:lnTo>
                  <a:pt x="45530" y="4496"/>
                </a:lnTo>
                <a:lnTo>
                  <a:pt x="49977" y="2810"/>
                </a:lnTo>
                <a:lnTo>
                  <a:pt x="55536" y="1124"/>
                </a:lnTo>
                <a:lnTo>
                  <a:pt x="60539" y="562"/>
                </a:lnTo>
                <a:close/>
              </a:path>
            </a:pathLst>
          </a:custGeom>
          <a:solidFill>
            <a:schemeClr val="tx1"/>
          </a:solidFill>
          <a:ln>
            <a:solidFill>
              <a:schemeClr val="bg1"/>
            </a:solidFill>
          </a:ln>
        </p:spPr>
        <p:txBody>
          <a:bodyPr vert="horz" wrap="square" lIns="68580" tIns="34290" rIns="68580" bIns="3429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endParaRPr>
          </a:p>
        </p:txBody>
      </p:sp>
      <p:sp>
        <p:nvSpPr>
          <p:cNvPr id="309" name="Freeform: Shape 308">
            <a:extLst>
              <a:ext uri="{FF2B5EF4-FFF2-40B4-BE49-F238E27FC236}">
                <a16:creationId xmlns:a16="http://schemas.microsoft.com/office/drawing/2014/main" id="{5A57090F-45E0-D4AA-36C9-F2A65CFE2DC4}"/>
              </a:ext>
            </a:extLst>
          </p:cNvPr>
          <p:cNvSpPr>
            <a:spLocks noChangeArrowheads="1"/>
          </p:cNvSpPr>
          <p:nvPr/>
        </p:nvSpPr>
        <p:spPr bwMode="auto">
          <a:xfrm>
            <a:off x="8540095" y="2846237"/>
            <a:ext cx="168885" cy="107910"/>
          </a:xfrm>
          <a:custGeom>
            <a:avLst/>
            <a:gdLst>
              <a:gd name="connsiteX0" fmla="*/ 66098 w 168885"/>
              <a:gd name="connsiteY0" fmla="*/ 0 h 107910"/>
              <a:gd name="connsiteX1" fmla="*/ 102786 w 168885"/>
              <a:gd name="connsiteY1" fmla="*/ 0 h 107910"/>
              <a:gd name="connsiteX2" fmla="*/ 108345 w 168885"/>
              <a:gd name="connsiteY2" fmla="*/ 562 h 107910"/>
              <a:gd name="connsiteX3" fmla="*/ 113348 w 168885"/>
              <a:gd name="connsiteY3" fmla="*/ 1124 h 107910"/>
              <a:gd name="connsiteX4" fmla="*/ 118907 w 168885"/>
              <a:gd name="connsiteY4" fmla="*/ 2810 h 107910"/>
              <a:gd name="connsiteX5" fmla="*/ 123354 w 168885"/>
              <a:gd name="connsiteY5" fmla="*/ 4496 h 107910"/>
              <a:gd name="connsiteX6" fmla="*/ 128357 w 168885"/>
              <a:gd name="connsiteY6" fmla="*/ 6744 h 107910"/>
              <a:gd name="connsiteX7" fmla="*/ 132805 w 168885"/>
              <a:gd name="connsiteY7" fmla="*/ 9554 h 107910"/>
              <a:gd name="connsiteX8" fmla="*/ 136696 w 168885"/>
              <a:gd name="connsiteY8" fmla="*/ 12365 h 107910"/>
              <a:gd name="connsiteX9" fmla="*/ 140587 w 168885"/>
              <a:gd name="connsiteY9" fmla="*/ 15737 h 107910"/>
              <a:gd name="connsiteX10" fmla="*/ 144478 w 168885"/>
              <a:gd name="connsiteY10" fmla="*/ 19671 h 107910"/>
              <a:gd name="connsiteX11" fmla="*/ 146146 w 168885"/>
              <a:gd name="connsiteY11" fmla="*/ 21919 h 107910"/>
              <a:gd name="connsiteX12" fmla="*/ 147258 w 168885"/>
              <a:gd name="connsiteY12" fmla="*/ 24167 h 107910"/>
              <a:gd name="connsiteX13" fmla="*/ 147618 w 168885"/>
              <a:gd name="connsiteY13" fmla="*/ 24653 h 107910"/>
              <a:gd name="connsiteX14" fmla="*/ 168885 w 168885"/>
              <a:gd name="connsiteY14" fmla="*/ 24653 h 107910"/>
              <a:gd name="connsiteX15" fmla="*/ 168885 w 168885"/>
              <a:gd name="connsiteY15" fmla="*/ 83225 h 107910"/>
              <a:gd name="connsiteX16" fmla="*/ 147925 w 168885"/>
              <a:gd name="connsiteY16" fmla="*/ 83225 h 107910"/>
              <a:gd name="connsiteX17" fmla="*/ 147258 w 168885"/>
              <a:gd name="connsiteY17" fmla="*/ 84305 h 107910"/>
              <a:gd name="connsiteX18" fmla="*/ 144478 w 168885"/>
              <a:gd name="connsiteY18" fmla="*/ 88239 h 107910"/>
              <a:gd name="connsiteX19" fmla="*/ 142811 w 168885"/>
              <a:gd name="connsiteY19" fmla="*/ 90487 h 107910"/>
              <a:gd name="connsiteX20" fmla="*/ 140587 w 168885"/>
              <a:gd name="connsiteY20" fmla="*/ 92173 h 107910"/>
              <a:gd name="connsiteX21" fmla="*/ 136696 w 168885"/>
              <a:gd name="connsiteY21" fmla="*/ 95545 h 107910"/>
              <a:gd name="connsiteX22" fmla="*/ 132805 w 168885"/>
              <a:gd name="connsiteY22" fmla="*/ 98918 h 107910"/>
              <a:gd name="connsiteX23" fmla="*/ 128357 w 168885"/>
              <a:gd name="connsiteY23" fmla="*/ 101728 h 107910"/>
              <a:gd name="connsiteX24" fmla="*/ 123354 w 168885"/>
              <a:gd name="connsiteY24" fmla="*/ 103976 h 107910"/>
              <a:gd name="connsiteX25" fmla="*/ 118907 w 168885"/>
              <a:gd name="connsiteY25" fmla="*/ 105662 h 107910"/>
              <a:gd name="connsiteX26" fmla="*/ 113348 w 168885"/>
              <a:gd name="connsiteY26" fmla="*/ 106786 h 107910"/>
              <a:gd name="connsiteX27" fmla="*/ 108345 w 168885"/>
              <a:gd name="connsiteY27" fmla="*/ 107910 h 107910"/>
              <a:gd name="connsiteX28" fmla="*/ 102786 w 168885"/>
              <a:gd name="connsiteY28" fmla="*/ 107910 h 107910"/>
              <a:gd name="connsiteX29" fmla="*/ 66098 w 168885"/>
              <a:gd name="connsiteY29" fmla="*/ 107910 h 107910"/>
              <a:gd name="connsiteX30" fmla="*/ 60539 w 168885"/>
              <a:gd name="connsiteY30" fmla="*/ 107910 h 107910"/>
              <a:gd name="connsiteX31" fmla="*/ 55536 w 168885"/>
              <a:gd name="connsiteY31" fmla="*/ 106786 h 107910"/>
              <a:gd name="connsiteX32" fmla="*/ 49977 w 168885"/>
              <a:gd name="connsiteY32" fmla="*/ 105662 h 107910"/>
              <a:gd name="connsiteX33" fmla="*/ 45530 w 168885"/>
              <a:gd name="connsiteY33" fmla="*/ 103976 h 107910"/>
              <a:gd name="connsiteX34" fmla="*/ 40527 w 168885"/>
              <a:gd name="connsiteY34" fmla="*/ 101728 h 107910"/>
              <a:gd name="connsiteX35" fmla="*/ 36079 w 168885"/>
              <a:gd name="connsiteY35" fmla="*/ 98918 h 107910"/>
              <a:gd name="connsiteX36" fmla="*/ 32188 w 168885"/>
              <a:gd name="connsiteY36" fmla="*/ 95545 h 107910"/>
              <a:gd name="connsiteX37" fmla="*/ 28297 w 168885"/>
              <a:gd name="connsiteY37" fmla="*/ 92173 h 107910"/>
              <a:gd name="connsiteX38" fmla="*/ 24406 w 168885"/>
              <a:gd name="connsiteY38" fmla="*/ 88239 h 107910"/>
              <a:gd name="connsiteX39" fmla="*/ 22738 w 168885"/>
              <a:gd name="connsiteY39" fmla="*/ 86553 h 107910"/>
              <a:gd name="connsiteX40" fmla="*/ 21626 w 168885"/>
              <a:gd name="connsiteY40" fmla="*/ 84305 h 107910"/>
              <a:gd name="connsiteX41" fmla="*/ 20825 w 168885"/>
              <a:gd name="connsiteY41" fmla="*/ 83225 h 107910"/>
              <a:gd name="connsiteX42" fmla="*/ 0 w 168885"/>
              <a:gd name="connsiteY42" fmla="*/ 83225 h 107910"/>
              <a:gd name="connsiteX43" fmla="*/ 0 w 168885"/>
              <a:gd name="connsiteY43" fmla="*/ 24653 h 107910"/>
              <a:gd name="connsiteX44" fmla="*/ 21326 w 168885"/>
              <a:gd name="connsiteY44" fmla="*/ 24653 h 107910"/>
              <a:gd name="connsiteX45" fmla="*/ 21626 w 168885"/>
              <a:gd name="connsiteY45" fmla="*/ 24167 h 107910"/>
              <a:gd name="connsiteX46" fmla="*/ 24406 w 168885"/>
              <a:gd name="connsiteY46" fmla="*/ 19671 h 107910"/>
              <a:gd name="connsiteX47" fmla="*/ 26073 w 168885"/>
              <a:gd name="connsiteY47" fmla="*/ 17985 h 107910"/>
              <a:gd name="connsiteX48" fmla="*/ 28297 w 168885"/>
              <a:gd name="connsiteY48" fmla="*/ 15737 h 107910"/>
              <a:gd name="connsiteX49" fmla="*/ 32188 w 168885"/>
              <a:gd name="connsiteY49" fmla="*/ 12365 h 107910"/>
              <a:gd name="connsiteX50" fmla="*/ 36079 w 168885"/>
              <a:gd name="connsiteY50" fmla="*/ 9554 h 107910"/>
              <a:gd name="connsiteX51" fmla="*/ 40527 w 168885"/>
              <a:gd name="connsiteY51" fmla="*/ 6744 h 107910"/>
              <a:gd name="connsiteX52" fmla="*/ 45530 w 168885"/>
              <a:gd name="connsiteY52" fmla="*/ 4496 h 107910"/>
              <a:gd name="connsiteX53" fmla="*/ 49977 w 168885"/>
              <a:gd name="connsiteY53" fmla="*/ 2810 h 107910"/>
              <a:gd name="connsiteX54" fmla="*/ 55536 w 168885"/>
              <a:gd name="connsiteY54" fmla="*/ 1124 h 107910"/>
              <a:gd name="connsiteX55" fmla="*/ 60539 w 168885"/>
              <a:gd name="connsiteY55" fmla="*/ 562 h 107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68885" h="107910">
                <a:moveTo>
                  <a:pt x="66098" y="0"/>
                </a:moveTo>
                <a:lnTo>
                  <a:pt x="102786" y="0"/>
                </a:lnTo>
                <a:lnTo>
                  <a:pt x="108345" y="562"/>
                </a:lnTo>
                <a:lnTo>
                  <a:pt x="113348" y="1124"/>
                </a:lnTo>
                <a:lnTo>
                  <a:pt x="118907" y="2810"/>
                </a:lnTo>
                <a:lnTo>
                  <a:pt x="123354" y="4496"/>
                </a:lnTo>
                <a:lnTo>
                  <a:pt x="128357" y="6744"/>
                </a:lnTo>
                <a:lnTo>
                  <a:pt x="132805" y="9554"/>
                </a:lnTo>
                <a:lnTo>
                  <a:pt x="136696" y="12365"/>
                </a:lnTo>
                <a:lnTo>
                  <a:pt x="140587" y="15737"/>
                </a:lnTo>
                <a:lnTo>
                  <a:pt x="144478" y="19671"/>
                </a:lnTo>
                <a:lnTo>
                  <a:pt x="146146" y="21919"/>
                </a:lnTo>
                <a:lnTo>
                  <a:pt x="147258" y="24167"/>
                </a:lnTo>
                <a:lnTo>
                  <a:pt x="147618" y="24653"/>
                </a:lnTo>
                <a:lnTo>
                  <a:pt x="168885" y="24653"/>
                </a:lnTo>
                <a:lnTo>
                  <a:pt x="168885" y="83225"/>
                </a:lnTo>
                <a:lnTo>
                  <a:pt x="147925" y="83225"/>
                </a:lnTo>
                <a:lnTo>
                  <a:pt x="147258" y="84305"/>
                </a:lnTo>
                <a:lnTo>
                  <a:pt x="144478" y="88239"/>
                </a:lnTo>
                <a:lnTo>
                  <a:pt x="142811" y="90487"/>
                </a:lnTo>
                <a:lnTo>
                  <a:pt x="140587" y="92173"/>
                </a:lnTo>
                <a:lnTo>
                  <a:pt x="136696" y="95545"/>
                </a:lnTo>
                <a:lnTo>
                  <a:pt x="132805" y="98918"/>
                </a:lnTo>
                <a:lnTo>
                  <a:pt x="128357" y="101728"/>
                </a:lnTo>
                <a:lnTo>
                  <a:pt x="123354" y="103976"/>
                </a:lnTo>
                <a:lnTo>
                  <a:pt x="118907" y="105662"/>
                </a:lnTo>
                <a:lnTo>
                  <a:pt x="113348" y="106786"/>
                </a:lnTo>
                <a:lnTo>
                  <a:pt x="108345" y="107910"/>
                </a:lnTo>
                <a:lnTo>
                  <a:pt x="102786" y="107910"/>
                </a:lnTo>
                <a:lnTo>
                  <a:pt x="66098" y="107910"/>
                </a:lnTo>
                <a:lnTo>
                  <a:pt x="60539" y="107910"/>
                </a:lnTo>
                <a:lnTo>
                  <a:pt x="55536" y="106786"/>
                </a:lnTo>
                <a:lnTo>
                  <a:pt x="49977" y="105662"/>
                </a:lnTo>
                <a:lnTo>
                  <a:pt x="45530" y="103976"/>
                </a:lnTo>
                <a:lnTo>
                  <a:pt x="40527" y="101728"/>
                </a:lnTo>
                <a:lnTo>
                  <a:pt x="36079" y="98918"/>
                </a:lnTo>
                <a:lnTo>
                  <a:pt x="32188" y="95545"/>
                </a:lnTo>
                <a:lnTo>
                  <a:pt x="28297" y="92173"/>
                </a:lnTo>
                <a:lnTo>
                  <a:pt x="24406" y="88239"/>
                </a:lnTo>
                <a:lnTo>
                  <a:pt x="22738" y="86553"/>
                </a:lnTo>
                <a:lnTo>
                  <a:pt x="21626" y="84305"/>
                </a:lnTo>
                <a:lnTo>
                  <a:pt x="20825" y="83225"/>
                </a:lnTo>
                <a:lnTo>
                  <a:pt x="0" y="83225"/>
                </a:lnTo>
                <a:lnTo>
                  <a:pt x="0" y="24653"/>
                </a:lnTo>
                <a:lnTo>
                  <a:pt x="21326" y="24653"/>
                </a:lnTo>
                <a:lnTo>
                  <a:pt x="21626" y="24167"/>
                </a:lnTo>
                <a:lnTo>
                  <a:pt x="24406" y="19671"/>
                </a:lnTo>
                <a:lnTo>
                  <a:pt x="26073" y="17985"/>
                </a:lnTo>
                <a:lnTo>
                  <a:pt x="28297" y="15737"/>
                </a:lnTo>
                <a:lnTo>
                  <a:pt x="32188" y="12365"/>
                </a:lnTo>
                <a:lnTo>
                  <a:pt x="36079" y="9554"/>
                </a:lnTo>
                <a:lnTo>
                  <a:pt x="40527" y="6744"/>
                </a:lnTo>
                <a:lnTo>
                  <a:pt x="45530" y="4496"/>
                </a:lnTo>
                <a:lnTo>
                  <a:pt x="49977" y="2810"/>
                </a:lnTo>
                <a:lnTo>
                  <a:pt x="55536" y="1124"/>
                </a:lnTo>
                <a:lnTo>
                  <a:pt x="60539" y="562"/>
                </a:lnTo>
                <a:close/>
              </a:path>
            </a:pathLst>
          </a:custGeom>
          <a:solidFill>
            <a:schemeClr val="tx1"/>
          </a:solidFill>
          <a:ln>
            <a:solidFill>
              <a:schemeClr val="bg1"/>
            </a:solidFill>
          </a:ln>
        </p:spPr>
        <p:txBody>
          <a:bodyPr vert="horz" wrap="square" lIns="68580" tIns="34290" rIns="68580" bIns="3429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endParaRPr>
          </a:p>
        </p:txBody>
      </p:sp>
      <p:sp>
        <p:nvSpPr>
          <p:cNvPr id="307" name="Freeform: Shape 306">
            <a:extLst>
              <a:ext uri="{FF2B5EF4-FFF2-40B4-BE49-F238E27FC236}">
                <a16:creationId xmlns:a16="http://schemas.microsoft.com/office/drawing/2014/main" id="{33B6E944-C15A-D1D6-ADF5-2A7589132ACC}"/>
              </a:ext>
            </a:extLst>
          </p:cNvPr>
          <p:cNvSpPr>
            <a:spLocks/>
          </p:cNvSpPr>
          <p:nvPr/>
        </p:nvSpPr>
        <p:spPr bwMode="auto">
          <a:xfrm>
            <a:off x="9380794" y="3048574"/>
            <a:ext cx="168885" cy="107909"/>
          </a:xfrm>
          <a:custGeom>
            <a:avLst/>
            <a:gdLst>
              <a:gd name="connsiteX0" fmla="*/ 66098 w 168885"/>
              <a:gd name="connsiteY0" fmla="*/ 0 h 107909"/>
              <a:gd name="connsiteX1" fmla="*/ 102786 w 168885"/>
              <a:gd name="connsiteY1" fmla="*/ 0 h 107909"/>
              <a:gd name="connsiteX2" fmla="*/ 108345 w 168885"/>
              <a:gd name="connsiteY2" fmla="*/ 562 h 107909"/>
              <a:gd name="connsiteX3" fmla="*/ 113348 w 168885"/>
              <a:gd name="connsiteY3" fmla="*/ 1124 h 107909"/>
              <a:gd name="connsiteX4" fmla="*/ 118907 w 168885"/>
              <a:gd name="connsiteY4" fmla="*/ 2810 h 107909"/>
              <a:gd name="connsiteX5" fmla="*/ 123354 w 168885"/>
              <a:gd name="connsiteY5" fmla="*/ 4496 h 107909"/>
              <a:gd name="connsiteX6" fmla="*/ 128357 w 168885"/>
              <a:gd name="connsiteY6" fmla="*/ 6744 h 107909"/>
              <a:gd name="connsiteX7" fmla="*/ 132805 w 168885"/>
              <a:gd name="connsiteY7" fmla="*/ 9555 h 107909"/>
              <a:gd name="connsiteX8" fmla="*/ 136696 w 168885"/>
              <a:gd name="connsiteY8" fmla="*/ 12365 h 107909"/>
              <a:gd name="connsiteX9" fmla="*/ 140587 w 168885"/>
              <a:gd name="connsiteY9" fmla="*/ 15737 h 107909"/>
              <a:gd name="connsiteX10" fmla="*/ 144478 w 168885"/>
              <a:gd name="connsiteY10" fmla="*/ 19671 h 107909"/>
              <a:gd name="connsiteX11" fmla="*/ 146146 w 168885"/>
              <a:gd name="connsiteY11" fmla="*/ 21919 h 107909"/>
              <a:gd name="connsiteX12" fmla="*/ 147258 w 168885"/>
              <a:gd name="connsiteY12" fmla="*/ 24167 h 107909"/>
              <a:gd name="connsiteX13" fmla="*/ 147630 w 168885"/>
              <a:gd name="connsiteY13" fmla="*/ 24668 h 107909"/>
              <a:gd name="connsiteX14" fmla="*/ 168885 w 168885"/>
              <a:gd name="connsiteY14" fmla="*/ 24668 h 107909"/>
              <a:gd name="connsiteX15" fmla="*/ 168885 w 168885"/>
              <a:gd name="connsiteY15" fmla="*/ 83240 h 107909"/>
              <a:gd name="connsiteX16" fmla="*/ 147916 w 168885"/>
              <a:gd name="connsiteY16" fmla="*/ 83240 h 107909"/>
              <a:gd name="connsiteX17" fmla="*/ 147258 w 168885"/>
              <a:gd name="connsiteY17" fmla="*/ 84304 h 107909"/>
              <a:gd name="connsiteX18" fmla="*/ 144478 w 168885"/>
              <a:gd name="connsiteY18" fmla="*/ 88238 h 107909"/>
              <a:gd name="connsiteX19" fmla="*/ 142811 w 168885"/>
              <a:gd name="connsiteY19" fmla="*/ 90486 h 107909"/>
              <a:gd name="connsiteX20" fmla="*/ 140587 w 168885"/>
              <a:gd name="connsiteY20" fmla="*/ 92172 h 107909"/>
              <a:gd name="connsiteX21" fmla="*/ 136696 w 168885"/>
              <a:gd name="connsiteY21" fmla="*/ 95545 h 107909"/>
              <a:gd name="connsiteX22" fmla="*/ 132805 w 168885"/>
              <a:gd name="connsiteY22" fmla="*/ 98917 h 107909"/>
              <a:gd name="connsiteX23" fmla="*/ 128357 w 168885"/>
              <a:gd name="connsiteY23" fmla="*/ 101727 h 107909"/>
              <a:gd name="connsiteX24" fmla="*/ 123354 w 168885"/>
              <a:gd name="connsiteY24" fmla="*/ 103975 h 107909"/>
              <a:gd name="connsiteX25" fmla="*/ 118907 w 168885"/>
              <a:gd name="connsiteY25" fmla="*/ 105661 h 107909"/>
              <a:gd name="connsiteX26" fmla="*/ 113348 w 168885"/>
              <a:gd name="connsiteY26" fmla="*/ 106785 h 107909"/>
              <a:gd name="connsiteX27" fmla="*/ 108345 w 168885"/>
              <a:gd name="connsiteY27" fmla="*/ 107909 h 107909"/>
              <a:gd name="connsiteX28" fmla="*/ 102786 w 168885"/>
              <a:gd name="connsiteY28" fmla="*/ 107909 h 107909"/>
              <a:gd name="connsiteX29" fmla="*/ 66098 w 168885"/>
              <a:gd name="connsiteY29" fmla="*/ 107909 h 107909"/>
              <a:gd name="connsiteX30" fmla="*/ 60539 w 168885"/>
              <a:gd name="connsiteY30" fmla="*/ 107909 h 107909"/>
              <a:gd name="connsiteX31" fmla="*/ 55536 w 168885"/>
              <a:gd name="connsiteY31" fmla="*/ 106785 h 107909"/>
              <a:gd name="connsiteX32" fmla="*/ 49977 w 168885"/>
              <a:gd name="connsiteY32" fmla="*/ 105661 h 107909"/>
              <a:gd name="connsiteX33" fmla="*/ 45530 w 168885"/>
              <a:gd name="connsiteY33" fmla="*/ 103975 h 107909"/>
              <a:gd name="connsiteX34" fmla="*/ 40527 w 168885"/>
              <a:gd name="connsiteY34" fmla="*/ 101727 h 107909"/>
              <a:gd name="connsiteX35" fmla="*/ 36079 w 168885"/>
              <a:gd name="connsiteY35" fmla="*/ 98917 h 107909"/>
              <a:gd name="connsiteX36" fmla="*/ 32188 w 168885"/>
              <a:gd name="connsiteY36" fmla="*/ 95545 h 107909"/>
              <a:gd name="connsiteX37" fmla="*/ 28297 w 168885"/>
              <a:gd name="connsiteY37" fmla="*/ 92172 h 107909"/>
              <a:gd name="connsiteX38" fmla="*/ 24406 w 168885"/>
              <a:gd name="connsiteY38" fmla="*/ 88238 h 107909"/>
              <a:gd name="connsiteX39" fmla="*/ 22738 w 168885"/>
              <a:gd name="connsiteY39" fmla="*/ 86552 h 107909"/>
              <a:gd name="connsiteX40" fmla="*/ 21626 w 168885"/>
              <a:gd name="connsiteY40" fmla="*/ 84304 h 107909"/>
              <a:gd name="connsiteX41" fmla="*/ 20837 w 168885"/>
              <a:gd name="connsiteY41" fmla="*/ 83240 h 107909"/>
              <a:gd name="connsiteX42" fmla="*/ 0 w 168885"/>
              <a:gd name="connsiteY42" fmla="*/ 83240 h 107909"/>
              <a:gd name="connsiteX43" fmla="*/ 0 w 168885"/>
              <a:gd name="connsiteY43" fmla="*/ 24668 h 107909"/>
              <a:gd name="connsiteX44" fmla="*/ 21316 w 168885"/>
              <a:gd name="connsiteY44" fmla="*/ 24668 h 107909"/>
              <a:gd name="connsiteX45" fmla="*/ 21626 w 168885"/>
              <a:gd name="connsiteY45" fmla="*/ 24167 h 107909"/>
              <a:gd name="connsiteX46" fmla="*/ 24406 w 168885"/>
              <a:gd name="connsiteY46" fmla="*/ 19671 h 107909"/>
              <a:gd name="connsiteX47" fmla="*/ 26073 w 168885"/>
              <a:gd name="connsiteY47" fmla="*/ 17985 h 107909"/>
              <a:gd name="connsiteX48" fmla="*/ 28297 w 168885"/>
              <a:gd name="connsiteY48" fmla="*/ 15737 h 107909"/>
              <a:gd name="connsiteX49" fmla="*/ 32188 w 168885"/>
              <a:gd name="connsiteY49" fmla="*/ 12365 h 107909"/>
              <a:gd name="connsiteX50" fmla="*/ 36079 w 168885"/>
              <a:gd name="connsiteY50" fmla="*/ 9555 h 107909"/>
              <a:gd name="connsiteX51" fmla="*/ 40527 w 168885"/>
              <a:gd name="connsiteY51" fmla="*/ 6744 h 107909"/>
              <a:gd name="connsiteX52" fmla="*/ 45530 w 168885"/>
              <a:gd name="connsiteY52" fmla="*/ 4496 h 107909"/>
              <a:gd name="connsiteX53" fmla="*/ 49977 w 168885"/>
              <a:gd name="connsiteY53" fmla="*/ 2810 h 107909"/>
              <a:gd name="connsiteX54" fmla="*/ 55536 w 168885"/>
              <a:gd name="connsiteY54" fmla="*/ 1124 h 107909"/>
              <a:gd name="connsiteX55" fmla="*/ 60539 w 168885"/>
              <a:gd name="connsiteY55" fmla="*/ 562 h 107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68885" h="107909">
                <a:moveTo>
                  <a:pt x="66098" y="0"/>
                </a:moveTo>
                <a:lnTo>
                  <a:pt x="102786" y="0"/>
                </a:lnTo>
                <a:lnTo>
                  <a:pt x="108345" y="562"/>
                </a:lnTo>
                <a:lnTo>
                  <a:pt x="113348" y="1124"/>
                </a:lnTo>
                <a:lnTo>
                  <a:pt x="118907" y="2810"/>
                </a:lnTo>
                <a:lnTo>
                  <a:pt x="123354" y="4496"/>
                </a:lnTo>
                <a:lnTo>
                  <a:pt x="128357" y="6744"/>
                </a:lnTo>
                <a:lnTo>
                  <a:pt x="132805" y="9555"/>
                </a:lnTo>
                <a:lnTo>
                  <a:pt x="136696" y="12365"/>
                </a:lnTo>
                <a:lnTo>
                  <a:pt x="140587" y="15737"/>
                </a:lnTo>
                <a:lnTo>
                  <a:pt x="144478" y="19671"/>
                </a:lnTo>
                <a:lnTo>
                  <a:pt x="146146" y="21919"/>
                </a:lnTo>
                <a:lnTo>
                  <a:pt x="147258" y="24167"/>
                </a:lnTo>
                <a:lnTo>
                  <a:pt x="147630" y="24668"/>
                </a:lnTo>
                <a:lnTo>
                  <a:pt x="168885" y="24668"/>
                </a:lnTo>
                <a:lnTo>
                  <a:pt x="168885" y="83240"/>
                </a:lnTo>
                <a:lnTo>
                  <a:pt x="147916" y="83240"/>
                </a:lnTo>
                <a:lnTo>
                  <a:pt x="147258" y="84304"/>
                </a:lnTo>
                <a:lnTo>
                  <a:pt x="144478" y="88238"/>
                </a:lnTo>
                <a:lnTo>
                  <a:pt x="142811" y="90486"/>
                </a:lnTo>
                <a:lnTo>
                  <a:pt x="140587" y="92172"/>
                </a:lnTo>
                <a:lnTo>
                  <a:pt x="136696" y="95545"/>
                </a:lnTo>
                <a:lnTo>
                  <a:pt x="132805" y="98917"/>
                </a:lnTo>
                <a:lnTo>
                  <a:pt x="128357" y="101727"/>
                </a:lnTo>
                <a:lnTo>
                  <a:pt x="123354" y="103975"/>
                </a:lnTo>
                <a:lnTo>
                  <a:pt x="118907" y="105661"/>
                </a:lnTo>
                <a:lnTo>
                  <a:pt x="113348" y="106785"/>
                </a:lnTo>
                <a:lnTo>
                  <a:pt x="108345" y="107909"/>
                </a:lnTo>
                <a:lnTo>
                  <a:pt x="102786" y="107909"/>
                </a:lnTo>
                <a:lnTo>
                  <a:pt x="66098" y="107909"/>
                </a:lnTo>
                <a:lnTo>
                  <a:pt x="60539" y="107909"/>
                </a:lnTo>
                <a:lnTo>
                  <a:pt x="55536" y="106785"/>
                </a:lnTo>
                <a:lnTo>
                  <a:pt x="49977" y="105661"/>
                </a:lnTo>
                <a:lnTo>
                  <a:pt x="45530" y="103975"/>
                </a:lnTo>
                <a:lnTo>
                  <a:pt x="40527" y="101727"/>
                </a:lnTo>
                <a:lnTo>
                  <a:pt x="36079" y="98917"/>
                </a:lnTo>
                <a:lnTo>
                  <a:pt x="32188" y="95545"/>
                </a:lnTo>
                <a:lnTo>
                  <a:pt x="28297" y="92172"/>
                </a:lnTo>
                <a:lnTo>
                  <a:pt x="24406" y="88238"/>
                </a:lnTo>
                <a:lnTo>
                  <a:pt x="22738" y="86552"/>
                </a:lnTo>
                <a:lnTo>
                  <a:pt x="21626" y="84304"/>
                </a:lnTo>
                <a:lnTo>
                  <a:pt x="20837" y="83240"/>
                </a:lnTo>
                <a:lnTo>
                  <a:pt x="0" y="83240"/>
                </a:lnTo>
                <a:lnTo>
                  <a:pt x="0" y="24668"/>
                </a:lnTo>
                <a:lnTo>
                  <a:pt x="21316" y="24668"/>
                </a:lnTo>
                <a:lnTo>
                  <a:pt x="21626" y="24167"/>
                </a:lnTo>
                <a:lnTo>
                  <a:pt x="24406" y="19671"/>
                </a:lnTo>
                <a:lnTo>
                  <a:pt x="26073" y="17985"/>
                </a:lnTo>
                <a:lnTo>
                  <a:pt x="28297" y="15737"/>
                </a:lnTo>
                <a:lnTo>
                  <a:pt x="32188" y="12365"/>
                </a:lnTo>
                <a:lnTo>
                  <a:pt x="36079" y="9555"/>
                </a:lnTo>
                <a:lnTo>
                  <a:pt x="40527" y="6744"/>
                </a:lnTo>
                <a:lnTo>
                  <a:pt x="45530" y="4496"/>
                </a:lnTo>
                <a:lnTo>
                  <a:pt x="49977" y="2810"/>
                </a:lnTo>
                <a:lnTo>
                  <a:pt x="55536" y="1124"/>
                </a:lnTo>
                <a:lnTo>
                  <a:pt x="60539" y="562"/>
                </a:lnTo>
                <a:close/>
              </a:path>
            </a:pathLst>
          </a:custGeom>
          <a:solidFill>
            <a:schemeClr val="tx1"/>
          </a:solidFill>
          <a:ln>
            <a:solidFill>
              <a:schemeClr val="bg1"/>
            </a:solidFill>
          </a:ln>
        </p:spPr>
        <p:txBody>
          <a:bodyPr vert="horz" wrap="square" lIns="68580" tIns="34290" rIns="68580" bIns="3429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endParaRPr>
          </a:p>
        </p:txBody>
      </p:sp>
      <p:sp>
        <p:nvSpPr>
          <p:cNvPr id="323" name="Freeform: Shape 322">
            <a:extLst>
              <a:ext uri="{FF2B5EF4-FFF2-40B4-BE49-F238E27FC236}">
                <a16:creationId xmlns:a16="http://schemas.microsoft.com/office/drawing/2014/main" id="{040EB8E6-5125-2AF7-62D6-582F80D86BF2}"/>
              </a:ext>
            </a:extLst>
          </p:cNvPr>
          <p:cNvSpPr>
            <a:spLocks/>
          </p:cNvSpPr>
          <p:nvPr/>
        </p:nvSpPr>
        <p:spPr bwMode="auto">
          <a:xfrm>
            <a:off x="8216645" y="4193302"/>
            <a:ext cx="168885" cy="107910"/>
          </a:xfrm>
          <a:custGeom>
            <a:avLst/>
            <a:gdLst>
              <a:gd name="connsiteX0" fmla="*/ 66098 w 168885"/>
              <a:gd name="connsiteY0" fmla="*/ 0 h 107910"/>
              <a:gd name="connsiteX1" fmla="*/ 102787 w 168885"/>
              <a:gd name="connsiteY1" fmla="*/ 0 h 107910"/>
              <a:gd name="connsiteX2" fmla="*/ 108346 w 168885"/>
              <a:gd name="connsiteY2" fmla="*/ 562 h 107910"/>
              <a:gd name="connsiteX3" fmla="*/ 113349 w 168885"/>
              <a:gd name="connsiteY3" fmla="*/ 1124 h 107910"/>
              <a:gd name="connsiteX4" fmla="*/ 118908 w 168885"/>
              <a:gd name="connsiteY4" fmla="*/ 2810 h 107910"/>
              <a:gd name="connsiteX5" fmla="*/ 123355 w 168885"/>
              <a:gd name="connsiteY5" fmla="*/ 4496 h 107910"/>
              <a:gd name="connsiteX6" fmla="*/ 128358 w 168885"/>
              <a:gd name="connsiteY6" fmla="*/ 6745 h 107910"/>
              <a:gd name="connsiteX7" fmla="*/ 132805 w 168885"/>
              <a:gd name="connsiteY7" fmla="*/ 9555 h 107910"/>
              <a:gd name="connsiteX8" fmla="*/ 136696 w 168885"/>
              <a:gd name="connsiteY8" fmla="*/ 12365 h 107910"/>
              <a:gd name="connsiteX9" fmla="*/ 140587 w 168885"/>
              <a:gd name="connsiteY9" fmla="*/ 15737 h 107910"/>
              <a:gd name="connsiteX10" fmla="*/ 144479 w 168885"/>
              <a:gd name="connsiteY10" fmla="*/ 19671 h 107910"/>
              <a:gd name="connsiteX11" fmla="*/ 146146 w 168885"/>
              <a:gd name="connsiteY11" fmla="*/ 21919 h 107910"/>
              <a:gd name="connsiteX12" fmla="*/ 147258 w 168885"/>
              <a:gd name="connsiteY12" fmla="*/ 24168 h 107910"/>
              <a:gd name="connsiteX13" fmla="*/ 147618 w 168885"/>
              <a:gd name="connsiteY13" fmla="*/ 24653 h 107910"/>
              <a:gd name="connsiteX14" fmla="*/ 168885 w 168885"/>
              <a:gd name="connsiteY14" fmla="*/ 24653 h 107910"/>
              <a:gd name="connsiteX15" fmla="*/ 168885 w 168885"/>
              <a:gd name="connsiteY15" fmla="*/ 83225 h 107910"/>
              <a:gd name="connsiteX16" fmla="*/ 147926 w 168885"/>
              <a:gd name="connsiteY16" fmla="*/ 83225 h 107910"/>
              <a:gd name="connsiteX17" fmla="*/ 147258 w 168885"/>
              <a:gd name="connsiteY17" fmla="*/ 84305 h 107910"/>
              <a:gd name="connsiteX18" fmla="*/ 144479 w 168885"/>
              <a:gd name="connsiteY18" fmla="*/ 88239 h 107910"/>
              <a:gd name="connsiteX19" fmla="*/ 142811 w 168885"/>
              <a:gd name="connsiteY19" fmla="*/ 90487 h 107910"/>
              <a:gd name="connsiteX20" fmla="*/ 140587 w 168885"/>
              <a:gd name="connsiteY20" fmla="*/ 92173 h 107910"/>
              <a:gd name="connsiteX21" fmla="*/ 136696 w 168885"/>
              <a:gd name="connsiteY21" fmla="*/ 95546 h 107910"/>
              <a:gd name="connsiteX22" fmla="*/ 132805 w 168885"/>
              <a:gd name="connsiteY22" fmla="*/ 98918 h 107910"/>
              <a:gd name="connsiteX23" fmla="*/ 128358 w 168885"/>
              <a:gd name="connsiteY23" fmla="*/ 101728 h 107910"/>
              <a:gd name="connsiteX24" fmla="*/ 123355 w 168885"/>
              <a:gd name="connsiteY24" fmla="*/ 103976 h 107910"/>
              <a:gd name="connsiteX25" fmla="*/ 118908 w 168885"/>
              <a:gd name="connsiteY25" fmla="*/ 105662 h 107910"/>
              <a:gd name="connsiteX26" fmla="*/ 113349 w 168885"/>
              <a:gd name="connsiteY26" fmla="*/ 106786 h 107910"/>
              <a:gd name="connsiteX27" fmla="*/ 108346 w 168885"/>
              <a:gd name="connsiteY27" fmla="*/ 107910 h 107910"/>
              <a:gd name="connsiteX28" fmla="*/ 102787 w 168885"/>
              <a:gd name="connsiteY28" fmla="*/ 107910 h 107910"/>
              <a:gd name="connsiteX29" fmla="*/ 66098 w 168885"/>
              <a:gd name="connsiteY29" fmla="*/ 107910 h 107910"/>
              <a:gd name="connsiteX30" fmla="*/ 60539 w 168885"/>
              <a:gd name="connsiteY30" fmla="*/ 107910 h 107910"/>
              <a:gd name="connsiteX31" fmla="*/ 55536 w 168885"/>
              <a:gd name="connsiteY31" fmla="*/ 106786 h 107910"/>
              <a:gd name="connsiteX32" fmla="*/ 49977 w 168885"/>
              <a:gd name="connsiteY32" fmla="*/ 105662 h 107910"/>
              <a:gd name="connsiteX33" fmla="*/ 45530 w 168885"/>
              <a:gd name="connsiteY33" fmla="*/ 103976 h 107910"/>
              <a:gd name="connsiteX34" fmla="*/ 40527 w 168885"/>
              <a:gd name="connsiteY34" fmla="*/ 101728 h 107910"/>
              <a:gd name="connsiteX35" fmla="*/ 36080 w 168885"/>
              <a:gd name="connsiteY35" fmla="*/ 98918 h 107910"/>
              <a:gd name="connsiteX36" fmla="*/ 32188 w 168885"/>
              <a:gd name="connsiteY36" fmla="*/ 95546 h 107910"/>
              <a:gd name="connsiteX37" fmla="*/ 28297 w 168885"/>
              <a:gd name="connsiteY37" fmla="*/ 92173 h 107910"/>
              <a:gd name="connsiteX38" fmla="*/ 24406 w 168885"/>
              <a:gd name="connsiteY38" fmla="*/ 88239 h 107910"/>
              <a:gd name="connsiteX39" fmla="*/ 22738 w 168885"/>
              <a:gd name="connsiteY39" fmla="*/ 86553 h 107910"/>
              <a:gd name="connsiteX40" fmla="*/ 21626 w 168885"/>
              <a:gd name="connsiteY40" fmla="*/ 84305 h 107910"/>
              <a:gd name="connsiteX41" fmla="*/ 20826 w 168885"/>
              <a:gd name="connsiteY41" fmla="*/ 83225 h 107910"/>
              <a:gd name="connsiteX42" fmla="*/ 0 w 168885"/>
              <a:gd name="connsiteY42" fmla="*/ 83225 h 107910"/>
              <a:gd name="connsiteX43" fmla="*/ 0 w 168885"/>
              <a:gd name="connsiteY43" fmla="*/ 24653 h 107910"/>
              <a:gd name="connsiteX44" fmla="*/ 21326 w 168885"/>
              <a:gd name="connsiteY44" fmla="*/ 24653 h 107910"/>
              <a:gd name="connsiteX45" fmla="*/ 21626 w 168885"/>
              <a:gd name="connsiteY45" fmla="*/ 24168 h 107910"/>
              <a:gd name="connsiteX46" fmla="*/ 24406 w 168885"/>
              <a:gd name="connsiteY46" fmla="*/ 19671 h 107910"/>
              <a:gd name="connsiteX47" fmla="*/ 26074 w 168885"/>
              <a:gd name="connsiteY47" fmla="*/ 17985 h 107910"/>
              <a:gd name="connsiteX48" fmla="*/ 28297 w 168885"/>
              <a:gd name="connsiteY48" fmla="*/ 15737 h 107910"/>
              <a:gd name="connsiteX49" fmla="*/ 32188 w 168885"/>
              <a:gd name="connsiteY49" fmla="*/ 12365 h 107910"/>
              <a:gd name="connsiteX50" fmla="*/ 36080 w 168885"/>
              <a:gd name="connsiteY50" fmla="*/ 9555 h 107910"/>
              <a:gd name="connsiteX51" fmla="*/ 40527 w 168885"/>
              <a:gd name="connsiteY51" fmla="*/ 6745 h 107910"/>
              <a:gd name="connsiteX52" fmla="*/ 45530 w 168885"/>
              <a:gd name="connsiteY52" fmla="*/ 4496 h 107910"/>
              <a:gd name="connsiteX53" fmla="*/ 49977 w 168885"/>
              <a:gd name="connsiteY53" fmla="*/ 2810 h 107910"/>
              <a:gd name="connsiteX54" fmla="*/ 55536 w 168885"/>
              <a:gd name="connsiteY54" fmla="*/ 1124 h 107910"/>
              <a:gd name="connsiteX55" fmla="*/ 60539 w 168885"/>
              <a:gd name="connsiteY55" fmla="*/ 562 h 107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68885" h="107910">
                <a:moveTo>
                  <a:pt x="66098" y="0"/>
                </a:moveTo>
                <a:lnTo>
                  <a:pt x="102787" y="0"/>
                </a:lnTo>
                <a:lnTo>
                  <a:pt x="108346" y="562"/>
                </a:lnTo>
                <a:lnTo>
                  <a:pt x="113349" y="1124"/>
                </a:lnTo>
                <a:lnTo>
                  <a:pt x="118908" y="2810"/>
                </a:lnTo>
                <a:lnTo>
                  <a:pt x="123355" y="4496"/>
                </a:lnTo>
                <a:lnTo>
                  <a:pt x="128358" y="6745"/>
                </a:lnTo>
                <a:lnTo>
                  <a:pt x="132805" y="9555"/>
                </a:lnTo>
                <a:lnTo>
                  <a:pt x="136696" y="12365"/>
                </a:lnTo>
                <a:lnTo>
                  <a:pt x="140587" y="15737"/>
                </a:lnTo>
                <a:lnTo>
                  <a:pt x="144479" y="19671"/>
                </a:lnTo>
                <a:lnTo>
                  <a:pt x="146146" y="21919"/>
                </a:lnTo>
                <a:lnTo>
                  <a:pt x="147258" y="24168"/>
                </a:lnTo>
                <a:lnTo>
                  <a:pt x="147618" y="24653"/>
                </a:lnTo>
                <a:lnTo>
                  <a:pt x="168885" y="24653"/>
                </a:lnTo>
                <a:lnTo>
                  <a:pt x="168885" y="83225"/>
                </a:lnTo>
                <a:lnTo>
                  <a:pt x="147926" y="83225"/>
                </a:lnTo>
                <a:lnTo>
                  <a:pt x="147258" y="84305"/>
                </a:lnTo>
                <a:lnTo>
                  <a:pt x="144479" y="88239"/>
                </a:lnTo>
                <a:lnTo>
                  <a:pt x="142811" y="90487"/>
                </a:lnTo>
                <a:lnTo>
                  <a:pt x="140587" y="92173"/>
                </a:lnTo>
                <a:lnTo>
                  <a:pt x="136696" y="95546"/>
                </a:lnTo>
                <a:lnTo>
                  <a:pt x="132805" y="98918"/>
                </a:lnTo>
                <a:lnTo>
                  <a:pt x="128358" y="101728"/>
                </a:lnTo>
                <a:lnTo>
                  <a:pt x="123355" y="103976"/>
                </a:lnTo>
                <a:lnTo>
                  <a:pt x="118908" y="105662"/>
                </a:lnTo>
                <a:lnTo>
                  <a:pt x="113349" y="106786"/>
                </a:lnTo>
                <a:lnTo>
                  <a:pt x="108346" y="107910"/>
                </a:lnTo>
                <a:lnTo>
                  <a:pt x="102787" y="107910"/>
                </a:lnTo>
                <a:lnTo>
                  <a:pt x="66098" y="107910"/>
                </a:lnTo>
                <a:lnTo>
                  <a:pt x="60539" y="107910"/>
                </a:lnTo>
                <a:lnTo>
                  <a:pt x="55536" y="106786"/>
                </a:lnTo>
                <a:lnTo>
                  <a:pt x="49977" y="105662"/>
                </a:lnTo>
                <a:lnTo>
                  <a:pt x="45530" y="103976"/>
                </a:lnTo>
                <a:lnTo>
                  <a:pt x="40527" y="101728"/>
                </a:lnTo>
                <a:lnTo>
                  <a:pt x="36080" y="98918"/>
                </a:lnTo>
                <a:lnTo>
                  <a:pt x="32188" y="95546"/>
                </a:lnTo>
                <a:lnTo>
                  <a:pt x="28297" y="92173"/>
                </a:lnTo>
                <a:lnTo>
                  <a:pt x="24406" y="88239"/>
                </a:lnTo>
                <a:lnTo>
                  <a:pt x="22738" y="86553"/>
                </a:lnTo>
                <a:lnTo>
                  <a:pt x="21626" y="84305"/>
                </a:lnTo>
                <a:lnTo>
                  <a:pt x="20826" y="83225"/>
                </a:lnTo>
                <a:lnTo>
                  <a:pt x="0" y="83225"/>
                </a:lnTo>
                <a:lnTo>
                  <a:pt x="0" y="24653"/>
                </a:lnTo>
                <a:lnTo>
                  <a:pt x="21326" y="24653"/>
                </a:lnTo>
                <a:lnTo>
                  <a:pt x="21626" y="24168"/>
                </a:lnTo>
                <a:lnTo>
                  <a:pt x="24406" y="19671"/>
                </a:lnTo>
                <a:lnTo>
                  <a:pt x="26074" y="17985"/>
                </a:lnTo>
                <a:lnTo>
                  <a:pt x="28297" y="15737"/>
                </a:lnTo>
                <a:lnTo>
                  <a:pt x="32188" y="12365"/>
                </a:lnTo>
                <a:lnTo>
                  <a:pt x="36080" y="9555"/>
                </a:lnTo>
                <a:lnTo>
                  <a:pt x="40527" y="6745"/>
                </a:lnTo>
                <a:lnTo>
                  <a:pt x="45530" y="4496"/>
                </a:lnTo>
                <a:lnTo>
                  <a:pt x="49977" y="2810"/>
                </a:lnTo>
                <a:lnTo>
                  <a:pt x="55536" y="1124"/>
                </a:lnTo>
                <a:lnTo>
                  <a:pt x="60539" y="562"/>
                </a:lnTo>
                <a:close/>
              </a:path>
            </a:pathLst>
          </a:custGeom>
          <a:solidFill>
            <a:schemeClr val="tx1"/>
          </a:solidFill>
          <a:ln>
            <a:solidFill>
              <a:schemeClr val="bg1"/>
            </a:solidFill>
          </a:ln>
        </p:spPr>
        <p:txBody>
          <a:bodyPr vert="horz" wrap="square" lIns="68580" tIns="34290" rIns="68580" bIns="3429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endParaRPr>
          </a:p>
        </p:txBody>
      </p:sp>
      <p:sp>
        <p:nvSpPr>
          <p:cNvPr id="321" name="Freeform: Shape 320">
            <a:extLst>
              <a:ext uri="{FF2B5EF4-FFF2-40B4-BE49-F238E27FC236}">
                <a16:creationId xmlns:a16="http://schemas.microsoft.com/office/drawing/2014/main" id="{D3870ECC-9736-F058-0498-2BDD2741233E}"/>
              </a:ext>
            </a:extLst>
          </p:cNvPr>
          <p:cNvSpPr>
            <a:spLocks/>
          </p:cNvSpPr>
          <p:nvPr/>
        </p:nvSpPr>
        <p:spPr bwMode="auto">
          <a:xfrm>
            <a:off x="9321968" y="6215119"/>
            <a:ext cx="168885" cy="107910"/>
          </a:xfrm>
          <a:custGeom>
            <a:avLst/>
            <a:gdLst>
              <a:gd name="connsiteX0" fmla="*/ 66098 w 168885"/>
              <a:gd name="connsiteY0" fmla="*/ 0 h 107910"/>
              <a:gd name="connsiteX1" fmla="*/ 102786 w 168885"/>
              <a:gd name="connsiteY1" fmla="*/ 0 h 107910"/>
              <a:gd name="connsiteX2" fmla="*/ 108345 w 168885"/>
              <a:gd name="connsiteY2" fmla="*/ 562 h 107910"/>
              <a:gd name="connsiteX3" fmla="*/ 113348 w 168885"/>
              <a:gd name="connsiteY3" fmla="*/ 1124 h 107910"/>
              <a:gd name="connsiteX4" fmla="*/ 118907 w 168885"/>
              <a:gd name="connsiteY4" fmla="*/ 2810 h 107910"/>
              <a:gd name="connsiteX5" fmla="*/ 123354 w 168885"/>
              <a:gd name="connsiteY5" fmla="*/ 4496 h 107910"/>
              <a:gd name="connsiteX6" fmla="*/ 128357 w 168885"/>
              <a:gd name="connsiteY6" fmla="*/ 6745 h 107910"/>
              <a:gd name="connsiteX7" fmla="*/ 132805 w 168885"/>
              <a:gd name="connsiteY7" fmla="*/ 9555 h 107910"/>
              <a:gd name="connsiteX8" fmla="*/ 136696 w 168885"/>
              <a:gd name="connsiteY8" fmla="*/ 12365 h 107910"/>
              <a:gd name="connsiteX9" fmla="*/ 140587 w 168885"/>
              <a:gd name="connsiteY9" fmla="*/ 15737 h 107910"/>
              <a:gd name="connsiteX10" fmla="*/ 144478 w 168885"/>
              <a:gd name="connsiteY10" fmla="*/ 19671 h 107910"/>
              <a:gd name="connsiteX11" fmla="*/ 146146 w 168885"/>
              <a:gd name="connsiteY11" fmla="*/ 21919 h 107910"/>
              <a:gd name="connsiteX12" fmla="*/ 147258 w 168885"/>
              <a:gd name="connsiteY12" fmla="*/ 24168 h 107910"/>
              <a:gd name="connsiteX13" fmla="*/ 147618 w 168885"/>
              <a:gd name="connsiteY13" fmla="*/ 24653 h 107910"/>
              <a:gd name="connsiteX14" fmla="*/ 168885 w 168885"/>
              <a:gd name="connsiteY14" fmla="*/ 24653 h 107910"/>
              <a:gd name="connsiteX15" fmla="*/ 168885 w 168885"/>
              <a:gd name="connsiteY15" fmla="*/ 83225 h 107910"/>
              <a:gd name="connsiteX16" fmla="*/ 147925 w 168885"/>
              <a:gd name="connsiteY16" fmla="*/ 83225 h 107910"/>
              <a:gd name="connsiteX17" fmla="*/ 147258 w 168885"/>
              <a:gd name="connsiteY17" fmla="*/ 84305 h 107910"/>
              <a:gd name="connsiteX18" fmla="*/ 144478 w 168885"/>
              <a:gd name="connsiteY18" fmla="*/ 88239 h 107910"/>
              <a:gd name="connsiteX19" fmla="*/ 142811 w 168885"/>
              <a:gd name="connsiteY19" fmla="*/ 90487 h 107910"/>
              <a:gd name="connsiteX20" fmla="*/ 140587 w 168885"/>
              <a:gd name="connsiteY20" fmla="*/ 92173 h 107910"/>
              <a:gd name="connsiteX21" fmla="*/ 136696 w 168885"/>
              <a:gd name="connsiteY21" fmla="*/ 95546 h 107910"/>
              <a:gd name="connsiteX22" fmla="*/ 132805 w 168885"/>
              <a:gd name="connsiteY22" fmla="*/ 98918 h 107910"/>
              <a:gd name="connsiteX23" fmla="*/ 128357 w 168885"/>
              <a:gd name="connsiteY23" fmla="*/ 101728 h 107910"/>
              <a:gd name="connsiteX24" fmla="*/ 123354 w 168885"/>
              <a:gd name="connsiteY24" fmla="*/ 103976 h 107910"/>
              <a:gd name="connsiteX25" fmla="*/ 118907 w 168885"/>
              <a:gd name="connsiteY25" fmla="*/ 105662 h 107910"/>
              <a:gd name="connsiteX26" fmla="*/ 113348 w 168885"/>
              <a:gd name="connsiteY26" fmla="*/ 106786 h 107910"/>
              <a:gd name="connsiteX27" fmla="*/ 108345 w 168885"/>
              <a:gd name="connsiteY27" fmla="*/ 107910 h 107910"/>
              <a:gd name="connsiteX28" fmla="*/ 102786 w 168885"/>
              <a:gd name="connsiteY28" fmla="*/ 107910 h 107910"/>
              <a:gd name="connsiteX29" fmla="*/ 66098 w 168885"/>
              <a:gd name="connsiteY29" fmla="*/ 107910 h 107910"/>
              <a:gd name="connsiteX30" fmla="*/ 60539 w 168885"/>
              <a:gd name="connsiteY30" fmla="*/ 107910 h 107910"/>
              <a:gd name="connsiteX31" fmla="*/ 55536 w 168885"/>
              <a:gd name="connsiteY31" fmla="*/ 106786 h 107910"/>
              <a:gd name="connsiteX32" fmla="*/ 49977 w 168885"/>
              <a:gd name="connsiteY32" fmla="*/ 105662 h 107910"/>
              <a:gd name="connsiteX33" fmla="*/ 45530 w 168885"/>
              <a:gd name="connsiteY33" fmla="*/ 103976 h 107910"/>
              <a:gd name="connsiteX34" fmla="*/ 40527 w 168885"/>
              <a:gd name="connsiteY34" fmla="*/ 101728 h 107910"/>
              <a:gd name="connsiteX35" fmla="*/ 36079 w 168885"/>
              <a:gd name="connsiteY35" fmla="*/ 98918 h 107910"/>
              <a:gd name="connsiteX36" fmla="*/ 32188 w 168885"/>
              <a:gd name="connsiteY36" fmla="*/ 95546 h 107910"/>
              <a:gd name="connsiteX37" fmla="*/ 28297 w 168885"/>
              <a:gd name="connsiteY37" fmla="*/ 92173 h 107910"/>
              <a:gd name="connsiteX38" fmla="*/ 24406 w 168885"/>
              <a:gd name="connsiteY38" fmla="*/ 88239 h 107910"/>
              <a:gd name="connsiteX39" fmla="*/ 22738 w 168885"/>
              <a:gd name="connsiteY39" fmla="*/ 86553 h 107910"/>
              <a:gd name="connsiteX40" fmla="*/ 21626 w 168885"/>
              <a:gd name="connsiteY40" fmla="*/ 84305 h 107910"/>
              <a:gd name="connsiteX41" fmla="*/ 20825 w 168885"/>
              <a:gd name="connsiteY41" fmla="*/ 83225 h 107910"/>
              <a:gd name="connsiteX42" fmla="*/ 0 w 168885"/>
              <a:gd name="connsiteY42" fmla="*/ 83225 h 107910"/>
              <a:gd name="connsiteX43" fmla="*/ 0 w 168885"/>
              <a:gd name="connsiteY43" fmla="*/ 24653 h 107910"/>
              <a:gd name="connsiteX44" fmla="*/ 21326 w 168885"/>
              <a:gd name="connsiteY44" fmla="*/ 24653 h 107910"/>
              <a:gd name="connsiteX45" fmla="*/ 21626 w 168885"/>
              <a:gd name="connsiteY45" fmla="*/ 24168 h 107910"/>
              <a:gd name="connsiteX46" fmla="*/ 24406 w 168885"/>
              <a:gd name="connsiteY46" fmla="*/ 19671 h 107910"/>
              <a:gd name="connsiteX47" fmla="*/ 26073 w 168885"/>
              <a:gd name="connsiteY47" fmla="*/ 17985 h 107910"/>
              <a:gd name="connsiteX48" fmla="*/ 28297 w 168885"/>
              <a:gd name="connsiteY48" fmla="*/ 15737 h 107910"/>
              <a:gd name="connsiteX49" fmla="*/ 32188 w 168885"/>
              <a:gd name="connsiteY49" fmla="*/ 12365 h 107910"/>
              <a:gd name="connsiteX50" fmla="*/ 36079 w 168885"/>
              <a:gd name="connsiteY50" fmla="*/ 9555 h 107910"/>
              <a:gd name="connsiteX51" fmla="*/ 40527 w 168885"/>
              <a:gd name="connsiteY51" fmla="*/ 6745 h 107910"/>
              <a:gd name="connsiteX52" fmla="*/ 45530 w 168885"/>
              <a:gd name="connsiteY52" fmla="*/ 4496 h 107910"/>
              <a:gd name="connsiteX53" fmla="*/ 49977 w 168885"/>
              <a:gd name="connsiteY53" fmla="*/ 2810 h 107910"/>
              <a:gd name="connsiteX54" fmla="*/ 55536 w 168885"/>
              <a:gd name="connsiteY54" fmla="*/ 1124 h 107910"/>
              <a:gd name="connsiteX55" fmla="*/ 60539 w 168885"/>
              <a:gd name="connsiteY55" fmla="*/ 562 h 107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68885" h="107910">
                <a:moveTo>
                  <a:pt x="66098" y="0"/>
                </a:moveTo>
                <a:lnTo>
                  <a:pt x="102786" y="0"/>
                </a:lnTo>
                <a:lnTo>
                  <a:pt x="108345" y="562"/>
                </a:lnTo>
                <a:lnTo>
                  <a:pt x="113348" y="1124"/>
                </a:lnTo>
                <a:lnTo>
                  <a:pt x="118907" y="2810"/>
                </a:lnTo>
                <a:lnTo>
                  <a:pt x="123354" y="4496"/>
                </a:lnTo>
                <a:lnTo>
                  <a:pt x="128357" y="6745"/>
                </a:lnTo>
                <a:lnTo>
                  <a:pt x="132805" y="9555"/>
                </a:lnTo>
                <a:lnTo>
                  <a:pt x="136696" y="12365"/>
                </a:lnTo>
                <a:lnTo>
                  <a:pt x="140587" y="15737"/>
                </a:lnTo>
                <a:lnTo>
                  <a:pt x="144478" y="19671"/>
                </a:lnTo>
                <a:lnTo>
                  <a:pt x="146146" y="21919"/>
                </a:lnTo>
                <a:lnTo>
                  <a:pt x="147258" y="24168"/>
                </a:lnTo>
                <a:lnTo>
                  <a:pt x="147618" y="24653"/>
                </a:lnTo>
                <a:lnTo>
                  <a:pt x="168885" y="24653"/>
                </a:lnTo>
                <a:lnTo>
                  <a:pt x="168885" y="83225"/>
                </a:lnTo>
                <a:lnTo>
                  <a:pt x="147925" y="83225"/>
                </a:lnTo>
                <a:lnTo>
                  <a:pt x="147258" y="84305"/>
                </a:lnTo>
                <a:lnTo>
                  <a:pt x="144478" y="88239"/>
                </a:lnTo>
                <a:lnTo>
                  <a:pt x="142811" y="90487"/>
                </a:lnTo>
                <a:lnTo>
                  <a:pt x="140587" y="92173"/>
                </a:lnTo>
                <a:lnTo>
                  <a:pt x="136696" y="95546"/>
                </a:lnTo>
                <a:lnTo>
                  <a:pt x="132805" y="98918"/>
                </a:lnTo>
                <a:lnTo>
                  <a:pt x="128357" y="101728"/>
                </a:lnTo>
                <a:lnTo>
                  <a:pt x="123354" y="103976"/>
                </a:lnTo>
                <a:lnTo>
                  <a:pt x="118907" y="105662"/>
                </a:lnTo>
                <a:lnTo>
                  <a:pt x="113348" y="106786"/>
                </a:lnTo>
                <a:lnTo>
                  <a:pt x="108345" y="107910"/>
                </a:lnTo>
                <a:lnTo>
                  <a:pt x="102786" y="107910"/>
                </a:lnTo>
                <a:lnTo>
                  <a:pt x="66098" y="107910"/>
                </a:lnTo>
                <a:lnTo>
                  <a:pt x="60539" y="107910"/>
                </a:lnTo>
                <a:lnTo>
                  <a:pt x="55536" y="106786"/>
                </a:lnTo>
                <a:lnTo>
                  <a:pt x="49977" y="105662"/>
                </a:lnTo>
                <a:lnTo>
                  <a:pt x="45530" y="103976"/>
                </a:lnTo>
                <a:lnTo>
                  <a:pt x="40527" y="101728"/>
                </a:lnTo>
                <a:lnTo>
                  <a:pt x="36079" y="98918"/>
                </a:lnTo>
                <a:lnTo>
                  <a:pt x="32188" y="95546"/>
                </a:lnTo>
                <a:lnTo>
                  <a:pt x="28297" y="92173"/>
                </a:lnTo>
                <a:lnTo>
                  <a:pt x="24406" y="88239"/>
                </a:lnTo>
                <a:lnTo>
                  <a:pt x="22738" y="86553"/>
                </a:lnTo>
                <a:lnTo>
                  <a:pt x="21626" y="84305"/>
                </a:lnTo>
                <a:lnTo>
                  <a:pt x="20825" y="83225"/>
                </a:lnTo>
                <a:lnTo>
                  <a:pt x="0" y="83225"/>
                </a:lnTo>
                <a:lnTo>
                  <a:pt x="0" y="24653"/>
                </a:lnTo>
                <a:lnTo>
                  <a:pt x="21326" y="24653"/>
                </a:lnTo>
                <a:lnTo>
                  <a:pt x="21626" y="24168"/>
                </a:lnTo>
                <a:lnTo>
                  <a:pt x="24406" y="19671"/>
                </a:lnTo>
                <a:lnTo>
                  <a:pt x="26073" y="17985"/>
                </a:lnTo>
                <a:lnTo>
                  <a:pt x="28297" y="15737"/>
                </a:lnTo>
                <a:lnTo>
                  <a:pt x="32188" y="12365"/>
                </a:lnTo>
                <a:lnTo>
                  <a:pt x="36079" y="9555"/>
                </a:lnTo>
                <a:lnTo>
                  <a:pt x="40527" y="6745"/>
                </a:lnTo>
                <a:lnTo>
                  <a:pt x="45530" y="4496"/>
                </a:lnTo>
                <a:lnTo>
                  <a:pt x="49977" y="2810"/>
                </a:lnTo>
                <a:lnTo>
                  <a:pt x="55536" y="1124"/>
                </a:lnTo>
                <a:lnTo>
                  <a:pt x="60539" y="562"/>
                </a:lnTo>
                <a:close/>
              </a:path>
            </a:pathLst>
          </a:custGeom>
          <a:solidFill>
            <a:schemeClr val="tx1"/>
          </a:solidFill>
          <a:ln>
            <a:solidFill>
              <a:schemeClr val="bg1"/>
            </a:solidFill>
          </a:ln>
        </p:spPr>
        <p:txBody>
          <a:bodyPr vert="horz" wrap="square" lIns="68580" tIns="34290" rIns="68580" bIns="3429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endParaRPr>
          </a:p>
        </p:txBody>
      </p:sp>
      <p:sp>
        <p:nvSpPr>
          <p:cNvPr id="135" name="Freeform 318">
            <a:extLst>
              <a:ext uri="{FF2B5EF4-FFF2-40B4-BE49-F238E27FC236}">
                <a16:creationId xmlns:a16="http://schemas.microsoft.com/office/drawing/2014/main" id="{5B9CCAA4-6A5C-E3DF-A559-5A667A8EBF4C}"/>
              </a:ext>
            </a:extLst>
          </p:cNvPr>
          <p:cNvSpPr>
            <a:spLocks noEditPoints="1"/>
          </p:cNvSpPr>
          <p:nvPr/>
        </p:nvSpPr>
        <p:spPr bwMode="auto">
          <a:xfrm>
            <a:off x="2152333" y="4907788"/>
            <a:ext cx="682835" cy="261163"/>
          </a:xfrm>
          <a:custGeom>
            <a:avLst/>
            <a:gdLst>
              <a:gd name="T0" fmla="*/ 827 w 3038"/>
              <a:gd name="T1" fmla="*/ 326 h 1150"/>
              <a:gd name="T2" fmla="*/ 842 w 3038"/>
              <a:gd name="T3" fmla="*/ 308 h 1150"/>
              <a:gd name="T4" fmla="*/ 820 w 3038"/>
              <a:gd name="T5" fmla="*/ 296 h 1150"/>
              <a:gd name="T6" fmla="*/ 2443 w 3038"/>
              <a:gd name="T7" fmla="*/ 316 h 1150"/>
              <a:gd name="T8" fmla="*/ 2467 w 3038"/>
              <a:gd name="T9" fmla="*/ 323 h 1150"/>
              <a:gd name="T10" fmla="*/ 2469 w 3038"/>
              <a:gd name="T11" fmla="*/ 299 h 1150"/>
              <a:gd name="T12" fmla="*/ 2445 w 3038"/>
              <a:gd name="T13" fmla="*/ 303 h 1150"/>
              <a:gd name="T14" fmla="*/ 235 w 3038"/>
              <a:gd name="T15" fmla="*/ 646 h 1150"/>
              <a:gd name="T16" fmla="*/ 2813 w 3038"/>
              <a:gd name="T17" fmla="*/ 540 h 1150"/>
              <a:gd name="T18" fmla="*/ 498 w 3038"/>
              <a:gd name="T19" fmla="*/ 634 h 1150"/>
              <a:gd name="T20" fmla="*/ 805 w 3038"/>
              <a:gd name="T21" fmla="*/ 1005 h 1150"/>
              <a:gd name="T22" fmla="*/ 1743 w 3038"/>
              <a:gd name="T23" fmla="*/ 1020 h 1150"/>
              <a:gd name="T24" fmla="*/ 952 w 3038"/>
              <a:gd name="T25" fmla="*/ 997 h 1150"/>
              <a:gd name="T26" fmla="*/ 2976 w 3038"/>
              <a:gd name="T27" fmla="*/ 1020 h 1150"/>
              <a:gd name="T28" fmla="*/ 63 w 3038"/>
              <a:gd name="T29" fmla="*/ 1020 h 1150"/>
              <a:gd name="T30" fmla="*/ 529 w 3038"/>
              <a:gd name="T31" fmla="*/ 902 h 1150"/>
              <a:gd name="T32" fmla="*/ 237 w 3038"/>
              <a:gd name="T33" fmla="*/ 821 h 1150"/>
              <a:gd name="T34" fmla="*/ 228 w 3038"/>
              <a:gd name="T35" fmla="*/ 922 h 1150"/>
              <a:gd name="T36" fmla="*/ 106 w 3038"/>
              <a:gd name="T37" fmla="*/ 959 h 1150"/>
              <a:gd name="T38" fmla="*/ 43 w 3038"/>
              <a:gd name="T39" fmla="*/ 880 h 1150"/>
              <a:gd name="T40" fmla="*/ 43 w 3038"/>
              <a:gd name="T41" fmla="*/ 645 h 1150"/>
              <a:gd name="T42" fmla="*/ 84 w 3038"/>
              <a:gd name="T43" fmla="*/ 565 h 1150"/>
              <a:gd name="T44" fmla="*/ 135 w 3038"/>
              <a:gd name="T45" fmla="*/ 507 h 1150"/>
              <a:gd name="T46" fmla="*/ 158 w 3038"/>
              <a:gd name="T47" fmla="*/ 473 h 1150"/>
              <a:gd name="T48" fmla="*/ 180 w 3038"/>
              <a:gd name="T49" fmla="*/ 507 h 1150"/>
              <a:gd name="T50" fmla="*/ 316 w 3038"/>
              <a:gd name="T51" fmla="*/ 0 h 1150"/>
              <a:gd name="T52" fmla="*/ 506 w 3038"/>
              <a:gd name="T53" fmla="*/ 389 h 1150"/>
              <a:gd name="T54" fmla="*/ 531 w 3038"/>
              <a:gd name="T55" fmla="*/ 345 h 1150"/>
              <a:gd name="T56" fmla="*/ 787 w 3038"/>
              <a:gd name="T57" fmla="*/ 345 h 1150"/>
              <a:gd name="T58" fmla="*/ 814 w 3038"/>
              <a:gd name="T59" fmla="*/ 272 h 1150"/>
              <a:gd name="T60" fmla="*/ 848 w 3038"/>
              <a:gd name="T61" fmla="*/ 282 h 1150"/>
              <a:gd name="T62" fmla="*/ 872 w 3038"/>
              <a:gd name="T63" fmla="*/ 358 h 1150"/>
              <a:gd name="T64" fmla="*/ 1647 w 3038"/>
              <a:gd name="T65" fmla="*/ 313 h 1150"/>
              <a:gd name="T66" fmla="*/ 2428 w 3038"/>
              <a:gd name="T67" fmla="*/ 300 h 1150"/>
              <a:gd name="T68" fmla="*/ 2454 w 3038"/>
              <a:gd name="T69" fmla="*/ 270 h 1150"/>
              <a:gd name="T70" fmla="*/ 2484 w 3038"/>
              <a:gd name="T71" fmla="*/ 290 h 1150"/>
              <a:gd name="T72" fmla="*/ 2523 w 3038"/>
              <a:gd name="T73" fmla="*/ 367 h 1150"/>
              <a:gd name="T74" fmla="*/ 2756 w 3038"/>
              <a:gd name="T75" fmla="*/ 344 h 1150"/>
              <a:gd name="T76" fmla="*/ 2807 w 3038"/>
              <a:gd name="T77" fmla="*/ 456 h 1150"/>
              <a:gd name="T78" fmla="*/ 2844 w 3038"/>
              <a:gd name="T79" fmla="*/ 465 h 1150"/>
              <a:gd name="T80" fmla="*/ 2898 w 3038"/>
              <a:gd name="T81" fmla="*/ 465 h 1150"/>
              <a:gd name="T82" fmla="*/ 2975 w 3038"/>
              <a:gd name="T83" fmla="*/ 495 h 1150"/>
              <a:gd name="T84" fmla="*/ 3009 w 3038"/>
              <a:gd name="T85" fmla="*/ 448 h 1150"/>
              <a:gd name="T86" fmla="*/ 3006 w 3038"/>
              <a:gd name="T87" fmla="*/ 555 h 1150"/>
              <a:gd name="T88" fmla="*/ 2913 w 3038"/>
              <a:gd name="T89" fmla="*/ 511 h 1150"/>
              <a:gd name="T90" fmla="*/ 2904 w 3038"/>
              <a:gd name="T91" fmla="*/ 634 h 1150"/>
              <a:gd name="T92" fmla="*/ 2926 w 3038"/>
              <a:gd name="T93" fmla="*/ 661 h 1150"/>
              <a:gd name="T94" fmla="*/ 2896 w 3038"/>
              <a:gd name="T95" fmla="*/ 678 h 1150"/>
              <a:gd name="T96" fmla="*/ 2925 w 3038"/>
              <a:gd name="T97" fmla="*/ 720 h 1150"/>
              <a:gd name="T98" fmla="*/ 2913 w 3038"/>
              <a:gd name="T99" fmla="*/ 742 h 1150"/>
              <a:gd name="T100" fmla="*/ 2881 w 3038"/>
              <a:gd name="T101" fmla="*/ 911 h 1150"/>
              <a:gd name="T102" fmla="*/ 2838 w 3038"/>
              <a:gd name="T103" fmla="*/ 902 h 1150"/>
              <a:gd name="T104" fmla="*/ 2816 w 3038"/>
              <a:gd name="T105" fmla="*/ 746 h 1150"/>
              <a:gd name="T106" fmla="*/ 2811 w 3038"/>
              <a:gd name="T107" fmla="*/ 710 h 1150"/>
              <a:gd name="T108" fmla="*/ 2816 w 3038"/>
              <a:gd name="T109" fmla="*/ 672 h 1150"/>
              <a:gd name="T110" fmla="*/ 2808 w 3038"/>
              <a:gd name="T111" fmla="*/ 648 h 1150"/>
              <a:gd name="T112" fmla="*/ 2821 w 3038"/>
              <a:gd name="T113" fmla="*/ 618 h 1150"/>
              <a:gd name="T114" fmla="*/ 2763 w 3038"/>
              <a:gd name="T115" fmla="*/ 869 h 1150"/>
              <a:gd name="T116" fmla="*/ 2740 w 3038"/>
              <a:gd name="T117" fmla="*/ 901 h 1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038" h="1150">
                <a:moveTo>
                  <a:pt x="811" y="311"/>
                </a:moveTo>
                <a:lnTo>
                  <a:pt x="812" y="313"/>
                </a:lnTo>
                <a:lnTo>
                  <a:pt x="812" y="316"/>
                </a:lnTo>
                <a:lnTo>
                  <a:pt x="814" y="320"/>
                </a:lnTo>
                <a:lnTo>
                  <a:pt x="815" y="322"/>
                </a:lnTo>
                <a:lnTo>
                  <a:pt x="818" y="323"/>
                </a:lnTo>
                <a:lnTo>
                  <a:pt x="820" y="325"/>
                </a:lnTo>
                <a:lnTo>
                  <a:pt x="823" y="326"/>
                </a:lnTo>
                <a:lnTo>
                  <a:pt x="827" y="326"/>
                </a:lnTo>
                <a:lnTo>
                  <a:pt x="829" y="326"/>
                </a:lnTo>
                <a:lnTo>
                  <a:pt x="832" y="325"/>
                </a:lnTo>
                <a:lnTo>
                  <a:pt x="835" y="323"/>
                </a:lnTo>
                <a:lnTo>
                  <a:pt x="837" y="322"/>
                </a:lnTo>
                <a:lnTo>
                  <a:pt x="838" y="320"/>
                </a:lnTo>
                <a:lnTo>
                  <a:pt x="841" y="316"/>
                </a:lnTo>
                <a:lnTo>
                  <a:pt x="842" y="313"/>
                </a:lnTo>
                <a:lnTo>
                  <a:pt x="842" y="311"/>
                </a:lnTo>
                <a:lnTo>
                  <a:pt x="842" y="308"/>
                </a:lnTo>
                <a:lnTo>
                  <a:pt x="841" y="305"/>
                </a:lnTo>
                <a:lnTo>
                  <a:pt x="838" y="303"/>
                </a:lnTo>
                <a:lnTo>
                  <a:pt x="837" y="299"/>
                </a:lnTo>
                <a:lnTo>
                  <a:pt x="835" y="298"/>
                </a:lnTo>
                <a:lnTo>
                  <a:pt x="832" y="296"/>
                </a:lnTo>
                <a:lnTo>
                  <a:pt x="829" y="296"/>
                </a:lnTo>
                <a:lnTo>
                  <a:pt x="827" y="295"/>
                </a:lnTo>
                <a:lnTo>
                  <a:pt x="823" y="296"/>
                </a:lnTo>
                <a:lnTo>
                  <a:pt x="820" y="296"/>
                </a:lnTo>
                <a:lnTo>
                  <a:pt x="818" y="298"/>
                </a:lnTo>
                <a:lnTo>
                  <a:pt x="815" y="299"/>
                </a:lnTo>
                <a:lnTo>
                  <a:pt x="814" y="303"/>
                </a:lnTo>
                <a:lnTo>
                  <a:pt x="812" y="305"/>
                </a:lnTo>
                <a:lnTo>
                  <a:pt x="812" y="308"/>
                </a:lnTo>
                <a:lnTo>
                  <a:pt x="811" y="311"/>
                </a:lnTo>
                <a:close/>
                <a:moveTo>
                  <a:pt x="2442" y="311"/>
                </a:moveTo>
                <a:lnTo>
                  <a:pt x="2443" y="313"/>
                </a:lnTo>
                <a:lnTo>
                  <a:pt x="2443" y="316"/>
                </a:lnTo>
                <a:lnTo>
                  <a:pt x="2445" y="320"/>
                </a:lnTo>
                <a:lnTo>
                  <a:pt x="2446" y="322"/>
                </a:lnTo>
                <a:lnTo>
                  <a:pt x="2450" y="323"/>
                </a:lnTo>
                <a:lnTo>
                  <a:pt x="2452" y="325"/>
                </a:lnTo>
                <a:lnTo>
                  <a:pt x="2455" y="326"/>
                </a:lnTo>
                <a:lnTo>
                  <a:pt x="2458" y="326"/>
                </a:lnTo>
                <a:lnTo>
                  <a:pt x="2460" y="326"/>
                </a:lnTo>
                <a:lnTo>
                  <a:pt x="2464" y="325"/>
                </a:lnTo>
                <a:lnTo>
                  <a:pt x="2467" y="323"/>
                </a:lnTo>
                <a:lnTo>
                  <a:pt x="2469" y="322"/>
                </a:lnTo>
                <a:lnTo>
                  <a:pt x="2470" y="320"/>
                </a:lnTo>
                <a:lnTo>
                  <a:pt x="2472" y="316"/>
                </a:lnTo>
                <a:lnTo>
                  <a:pt x="2473" y="313"/>
                </a:lnTo>
                <a:lnTo>
                  <a:pt x="2473" y="311"/>
                </a:lnTo>
                <a:lnTo>
                  <a:pt x="2473" y="308"/>
                </a:lnTo>
                <a:lnTo>
                  <a:pt x="2472" y="305"/>
                </a:lnTo>
                <a:lnTo>
                  <a:pt x="2470" y="303"/>
                </a:lnTo>
                <a:lnTo>
                  <a:pt x="2469" y="299"/>
                </a:lnTo>
                <a:lnTo>
                  <a:pt x="2467" y="298"/>
                </a:lnTo>
                <a:lnTo>
                  <a:pt x="2464" y="296"/>
                </a:lnTo>
                <a:lnTo>
                  <a:pt x="2460" y="296"/>
                </a:lnTo>
                <a:lnTo>
                  <a:pt x="2458" y="295"/>
                </a:lnTo>
                <a:lnTo>
                  <a:pt x="2455" y="296"/>
                </a:lnTo>
                <a:lnTo>
                  <a:pt x="2452" y="296"/>
                </a:lnTo>
                <a:lnTo>
                  <a:pt x="2450" y="298"/>
                </a:lnTo>
                <a:lnTo>
                  <a:pt x="2446" y="299"/>
                </a:lnTo>
                <a:lnTo>
                  <a:pt x="2445" y="303"/>
                </a:lnTo>
                <a:lnTo>
                  <a:pt x="2443" y="305"/>
                </a:lnTo>
                <a:lnTo>
                  <a:pt x="2443" y="308"/>
                </a:lnTo>
                <a:lnTo>
                  <a:pt x="2442" y="311"/>
                </a:lnTo>
                <a:close/>
                <a:moveTo>
                  <a:pt x="283" y="624"/>
                </a:moveTo>
                <a:lnTo>
                  <a:pt x="316" y="624"/>
                </a:lnTo>
                <a:lnTo>
                  <a:pt x="316" y="617"/>
                </a:lnTo>
                <a:lnTo>
                  <a:pt x="232" y="617"/>
                </a:lnTo>
                <a:lnTo>
                  <a:pt x="233" y="630"/>
                </a:lnTo>
                <a:lnTo>
                  <a:pt x="235" y="646"/>
                </a:lnTo>
                <a:lnTo>
                  <a:pt x="236" y="685"/>
                </a:lnTo>
                <a:lnTo>
                  <a:pt x="316" y="685"/>
                </a:lnTo>
                <a:lnTo>
                  <a:pt x="316" y="634"/>
                </a:lnTo>
                <a:lnTo>
                  <a:pt x="283" y="634"/>
                </a:lnTo>
                <a:lnTo>
                  <a:pt x="283" y="624"/>
                </a:lnTo>
                <a:close/>
                <a:moveTo>
                  <a:pt x="2833" y="520"/>
                </a:moveTo>
                <a:lnTo>
                  <a:pt x="2815" y="520"/>
                </a:lnTo>
                <a:lnTo>
                  <a:pt x="2814" y="535"/>
                </a:lnTo>
                <a:lnTo>
                  <a:pt x="2813" y="540"/>
                </a:lnTo>
                <a:lnTo>
                  <a:pt x="2813" y="542"/>
                </a:lnTo>
                <a:lnTo>
                  <a:pt x="2810" y="542"/>
                </a:lnTo>
                <a:lnTo>
                  <a:pt x="2772" y="542"/>
                </a:lnTo>
                <a:lnTo>
                  <a:pt x="2772" y="550"/>
                </a:lnTo>
                <a:lnTo>
                  <a:pt x="2821" y="550"/>
                </a:lnTo>
                <a:lnTo>
                  <a:pt x="2821" y="541"/>
                </a:lnTo>
                <a:lnTo>
                  <a:pt x="2833" y="541"/>
                </a:lnTo>
                <a:lnTo>
                  <a:pt x="2833" y="520"/>
                </a:lnTo>
                <a:close/>
                <a:moveTo>
                  <a:pt x="498" y="634"/>
                </a:moveTo>
                <a:lnTo>
                  <a:pt x="451" y="634"/>
                </a:lnTo>
                <a:lnTo>
                  <a:pt x="451" y="685"/>
                </a:lnTo>
                <a:lnTo>
                  <a:pt x="498" y="685"/>
                </a:lnTo>
                <a:lnTo>
                  <a:pt x="498" y="634"/>
                </a:lnTo>
                <a:close/>
                <a:moveTo>
                  <a:pt x="818" y="1020"/>
                </a:moveTo>
                <a:lnTo>
                  <a:pt x="812" y="1015"/>
                </a:lnTo>
                <a:lnTo>
                  <a:pt x="809" y="1012"/>
                </a:lnTo>
                <a:lnTo>
                  <a:pt x="807" y="1008"/>
                </a:lnTo>
                <a:lnTo>
                  <a:pt x="805" y="1005"/>
                </a:lnTo>
                <a:lnTo>
                  <a:pt x="804" y="1001"/>
                </a:lnTo>
                <a:lnTo>
                  <a:pt x="803" y="997"/>
                </a:lnTo>
                <a:lnTo>
                  <a:pt x="803" y="992"/>
                </a:lnTo>
                <a:lnTo>
                  <a:pt x="803" y="869"/>
                </a:lnTo>
                <a:lnTo>
                  <a:pt x="784" y="869"/>
                </a:lnTo>
                <a:lnTo>
                  <a:pt x="784" y="1020"/>
                </a:lnTo>
                <a:lnTo>
                  <a:pt x="818" y="1020"/>
                </a:lnTo>
                <a:close/>
                <a:moveTo>
                  <a:pt x="1295" y="1020"/>
                </a:moveTo>
                <a:lnTo>
                  <a:pt x="1743" y="1020"/>
                </a:lnTo>
                <a:lnTo>
                  <a:pt x="2471" y="1020"/>
                </a:lnTo>
                <a:lnTo>
                  <a:pt x="2471" y="871"/>
                </a:lnTo>
                <a:lnTo>
                  <a:pt x="1647" y="869"/>
                </a:lnTo>
                <a:lnTo>
                  <a:pt x="1647" y="910"/>
                </a:lnTo>
                <a:lnTo>
                  <a:pt x="1625" y="910"/>
                </a:lnTo>
                <a:lnTo>
                  <a:pt x="1625" y="869"/>
                </a:lnTo>
                <a:lnTo>
                  <a:pt x="952" y="869"/>
                </a:lnTo>
                <a:lnTo>
                  <a:pt x="952" y="992"/>
                </a:lnTo>
                <a:lnTo>
                  <a:pt x="952" y="997"/>
                </a:lnTo>
                <a:lnTo>
                  <a:pt x="951" y="1001"/>
                </a:lnTo>
                <a:lnTo>
                  <a:pt x="950" y="1005"/>
                </a:lnTo>
                <a:lnTo>
                  <a:pt x="948" y="1008"/>
                </a:lnTo>
                <a:lnTo>
                  <a:pt x="946" y="1012"/>
                </a:lnTo>
                <a:lnTo>
                  <a:pt x="944" y="1015"/>
                </a:lnTo>
                <a:lnTo>
                  <a:pt x="940" y="1018"/>
                </a:lnTo>
                <a:lnTo>
                  <a:pt x="937" y="1020"/>
                </a:lnTo>
                <a:lnTo>
                  <a:pt x="1295" y="1020"/>
                </a:lnTo>
                <a:close/>
                <a:moveTo>
                  <a:pt x="2976" y="1020"/>
                </a:moveTo>
                <a:lnTo>
                  <a:pt x="3038" y="1086"/>
                </a:lnTo>
                <a:lnTo>
                  <a:pt x="2938" y="1150"/>
                </a:lnTo>
                <a:lnTo>
                  <a:pt x="2340" y="1150"/>
                </a:lnTo>
                <a:lnTo>
                  <a:pt x="1743" y="1150"/>
                </a:lnTo>
                <a:lnTo>
                  <a:pt x="1295" y="1150"/>
                </a:lnTo>
                <a:lnTo>
                  <a:pt x="698" y="1150"/>
                </a:lnTo>
                <a:lnTo>
                  <a:pt x="101" y="1150"/>
                </a:lnTo>
                <a:lnTo>
                  <a:pt x="0" y="1086"/>
                </a:lnTo>
                <a:lnTo>
                  <a:pt x="63" y="1020"/>
                </a:lnTo>
                <a:lnTo>
                  <a:pt x="711" y="1020"/>
                </a:lnTo>
                <a:lnTo>
                  <a:pt x="711" y="871"/>
                </a:lnTo>
                <a:lnTo>
                  <a:pt x="538" y="869"/>
                </a:lnTo>
                <a:lnTo>
                  <a:pt x="536" y="883"/>
                </a:lnTo>
                <a:lnTo>
                  <a:pt x="535" y="889"/>
                </a:lnTo>
                <a:lnTo>
                  <a:pt x="534" y="894"/>
                </a:lnTo>
                <a:lnTo>
                  <a:pt x="531" y="900"/>
                </a:lnTo>
                <a:lnTo>
                  <a:pt x="530" y="901"/>
                </a:lnTo>
                <a:lnTo>
                  <a:pt x="529" y="902"/>
                </a:lnTo>
                <a:lnTo>
                  <a:pt x="515" y="902"/>
                </a:lnTo>
                <a:lnTo>
                  <a:pt x="514" y="901"/>
                </a:lnTo>
                <a:lnTo>
                  <a:pt x="512" y="897"/>
                </a:lnTo>
                <a:lnTo>
                  <a:pt x="510" y="889"/>
                </a:lnTo>
                <a:lnTo>
                  <a:pt x="509" y="881"/>
                </a:lnTo>
                <a:lnTo>
                  <a:pt x="508" y="869"/>
                </a:lnTo>
                <a:lnTo>
                  <a:pt x="506" y="855"/>
                </a:lnTo>
                <a:lnTo>
                  <a:pt x="504" y="821"/>
                </a:lnTo>
                <a:lnTo>
                  <a:pt x="237" y="821"/>
                </a:lnTo>
                <a:lnTo>
                  <a:pt x="236" y="842"/>
                </a:lnTo>
                <a:lnTo>
                  <a:pt x="235" y="861"/>
                </a:lnTo>
                <a:lnTo>
                  <a:pt x="235" y="879"/>
                </a:lnTo>
                <a:lnTo>
                  <a:pt x="233" y="894"/>
                </a:lnTo>
                <a:lnTo>
                  <a:pt x="232" y="905"/>
                </a:lnTo>
                <a:lnTo>
                  <a:pt x="231" y="914"/>
                </a:lnTo>
                <a:lnTo>
                  <a:pt x="230" y="919"/>
                </a:lnTo>
                <a:lnTo>
                  <a:pt x="229" y="920"/>
                </a:lnTo>
                <a:lnTo>
                  <a:pt x="228" y="922"/>
                </a:lnTo>
                <a:lnTo>
                  <a:pt x="221" y="922"/>
                </a:lnTo>
                <a:lnTo>
                  <a:pt x="114" y="922"/>
                </a:lnTo>
                <a:lnTo>
                  <a:pt x="112" y="938"/>
                </a:lnTo>
                <a:lnTo>
                  <a:pt x="111" y="944"/>
                </a:lnTo>
                <a:lnTo>
                  <a:pt x="111" y="949"/>
                </a:lnTo>
                <a:lnTo>
                  <a:pt x="108" y="956"/>
                </a:lnTo>
                <a:lnTo>
                  <a:pt x="107" y="957"/>
                </a:lnTo>
                <a:lnTo>
                  <a:pt x="107" y="958"/>
                </a:lnTo>
                <a:lnTo>
                  <a:pt x="106" y="959"/>
                </a:lnTo>
                <a:lnTo>
                  <a:pt x="98" y="959"/>
                </a:lnTo>
                <a:lnTo>
                  <a:pt x="54" y="959"/>
                </a:lnTo>
                <a:lnTo>
                  <a:pt x="53" y="958"/>
                </a:lnTo>
                <a:lnTo>
                  <a:pt x="51" y="955"/>
                </a:lnTo>
                <a:lnTo>
                  <a:pt x="49" y="950"/>
                </a:lnTo>
                <a:lnTo>
                  <a:pt x="48" y="945"/>
                </a:lnTo>
                <a:lnTo>
                  <a:pt x="46" y="928"/>
                </a:lnTo>
                <a:lnTo>
                  <a:pt x="45" y="906"/>
                </a:lnTo>
                <a:lnTo>
                  <a:pt x="43" y="880"/>
                </a:lnTo>
                <a:lnTo>
                  <a:pt x="42" y="849"/>
                </a:lnTo>
                <a:lnTo>
                  <a:pt x="42" y="815"/>
                </a:lnTo>
                <a:lnTo>
                  <a:pt x="41" y="778"/>
                </a:lnTo>
                <a:lnTo>
                  <a:pt x="12" y="778"/>
                </a:lnTo>
                <a:lnTo>
                  <a:pt x="12" y="746"/>
                </a:lnTo>
                <a:lnTo>
                  <a:pt x="41" y="746"/>
                </a:lnTo>
                <a:lnTo>
                  <a:pt x="42" y="709"/>
                </a:lnTo>
                <a:lnTo>
                  <a:pt x="42" y="675"/>
                </a:lnTo>
                <a:lnTo>
                  <a:pt x="43" y="645"/>
                </a:lnTo>
                <a:lnTo>
                  <a:pt x="45" y="618"/>
                </a:lnTo>
                <a:lnTo>
                  <a:pt x="46" y="595"/>
                </a:lnTo>
                <a:lnTo>
                  <a:pt x="47" y="587"/>
                </a:lnTo>
                <a:lnTo>
                  <a:pt x="48" y="579"/>
                </a:lnTo>
                <a:lnTo>
                  <a:pt x="49" y="573"/>
                </a:lnTo>
                <a:lnTo>
                  <a:pt x="51" y="569"/>
                </a:lnTo>
                <a:lnTo>
                  <a:pt x="53" y="566"/>
                </a:lnTo>
                <a:lnTo>
                  <a:pt x="54" y="565"/>
                </a:lnTo>
                <a:lnTo>
                  <a:pt x="84" y="565"/>
                </a:lnTo>
                <a:lnTo>
                  <a:pt x="93" y="565"/>
                </a:lnTo>
                <a:lnTo>
                  <a:pt x="106" y="565"/>
                </a:lnTo>
                <a:lnTo>
                  <a:pt x="107" y="565"/>
                </a:lnTo>
                <a:lnTo>
                  <a:pt x="108" y="567"/>
                </a:lnTo>
                <a:lnTo>
                  <a:pt x="111" y="575"/>
                </a:lnTo>
                <a:lnTo>
                  <a:pt x="112" y="587"/>
                </a:lnTo>
                <a:lnTo>
                  <a:pt x="114" y="603"/>
                </a:lnTo>
                <a:lnTo>
                  <a:pt x="135" y="603"/>
                </a:lnTo>
                <a:lnTo>
                  <a:pt x="135" y="507"/>
                </a:lnTo>
                <a:lnTo>
                  <a:pt x="135" y="501"/>
                </a:lnTo>
                <a:lnTo>
                  <a:pt x="137" y="495"/>
                </a:lnTo>
                <a:lnTo>
                  <a:pt x="140" y="488"/>
                </a:lnTo>
                <a:lnTo>
                  <a:pt x="142" y="484"/>
                </a:lnTo>
                <a:lnTo>
                  <a:pt x="145" y="480"/>
                </a:lnTo>
                <a:lnTo>
                  <a:pt x="149" y="476"/>
                </a:lnTo>
                <a:lnTo>
                  <a:pt x="151" y="475"/>
                </a:lnTo>
                <a:lnTo>
                  <a:pt x="154" y="474"/>
                </a:lnTo>
                <a:lnTo>
                  <a:pt x="158" y="473"/>
                </a:lnTo>
                <a:lnTo>
                  <a:pt x="163" y="474"/>
                </a:lnTo>
                <a:lnTo>
                  <a:pt x="168" y="476"/>
                </a:lnTo>
                <a:lnTo>
                  <a:pt x="169" y="477"/>
                </a:lnTo>
                <a:lnTo>
                  <a:pt x="171" y="480"/>
                </a:lnTo>
                <a:lnTo>
                  <a:pt x="174" y="484"/>
                </a:lnTo>
                <a:lnTo>
                  <a:pt x="177" y="488"/>
                </a:lnTo>
                <a:lnTo>
                  <a:pt x="179" y="495"/>
                </a:lnTo>
                <a:lnTo>
                  <a:pt x="180" y="501"/>
                </a:lnTo>
                <a:lnTo>
                  <a:pt x="180" y="507"/>
                </a:lnTo>
                <a:lnTo>
                  <a:pt x="180" y="603"/>
                </a:lnTo>
                <a:lnTo>
                  <a:pt x="209" y="603"/>
                </a:lnTo>
                <a:lnTo>
                  <a:pt x="217" y="603"/>
                </a:lnTo>
                <a:lnTo>
                  <a:pt x="228" y="603"/>
                </a:lnTo>
                <a:lnTo>
                  <a:pt x="229" y="603"/>
                </a:lnTo>
                <a:lnTo>
                  <a:pt x="229" y="604"/>
                </a:lnTo>
                <a:lnTo>
                  <a:pt x="231" y="608"/>
                </a:lnTo>
                <a:lnTo>
                  <a:pt x="316" y="608"/>
                </a:lnTo>
                <a:lnTo>
                  <a:pt x="316" y="0"/>
                </a:lnTo>
                <a:lnTo>
                  <a:pt x="451" y="0"/>
                </a:lnTo>
                <a:lnTo>
                  <a:pt x="451" y="607"/>
                </a:lnTo>
                <a:lnTo>
                  <a:pt x="498" y="607"/>
                </a:lnTo>
                <a:lnTo>
                  <a:pt x="498" y="555"/>
                </a:lnTo>
                <a:lnTo>
                  <a:pt x="499" y="504"/>
                </a:lnTo>
                <a:lnTo>
                  <a:pt x="501" y="460"/>
                </a:lnTo>
                <a:lnTo>
                  <a:pt x="504" y="421"/>
                </a:lnTo>
                <a:lnTo>
                  <a:pt x="505" y="404"/>
                </a:lnTo>
                <a:lnTo>
                  <a:pt x="506" y="389"/>
                </a:lnTo>
                <a:lnTo>
                  <a:pt x="508" y="375"/>
                </a:lnTo>
                <a:lnTo>
                  <a:pt x="509" y="365"/>
                </a:lnTo>
                <a:lnTo>
                  <a:pt x="511" y="356"/>
                </a:lnTo>
                <a:lnTo>
                  <a:pt x="512" y="350"/>
                </a:lnTo>
                <a:lnTo>
                  <a:pt x="514" y="345"/>
                </a:lnTo>
                <a:lnTo>
                  <a:pt x="515" y="344"/>
                </a:lnTo>
                <a:lnTo>
                  <a:pt x="529" y="344"/>
                </a:lnTo>
                <a:lnTo>
                  <a:pt x="530" y="344"/>
                </a:lnTo>
                <a:lnTo>
                  <a:pt x="531" y="345"/>
                </a:lnTo>
                <a:lnTo>
                  <a:pt x="534" y="350"/>
                </a:lnTo>
                <a:lnTo>
                  <a:pt x="535" y="357"/>
                </a:lnTo>
                <a:lnTo>
                  <a:pt x="537" y="367"/>
                </a:lnTo>
                <a:lnTo>
                  <a:pt x="761" y="367"/>
                </a:lnTo>
                <a:lnTo>
                  <a:pt x="761" y="358"/>
                </a:lnTo>
                <a:lnTo>
                  <a:pt x="780" y="358"/>
                </a:lnTo>
                <a:lnTo>
                  <a:pt x="783" y="356"/>
                </a:lnTo>
                <a:lnTo>
                  <a:pt x="785" y="351"/>
                </a:lnTo>
                <a:lnTo>
                  <a:pt x="787" y="345"/>
                </a:lnTo>
                <a:lnTo>
                  <a:pt x="788" y="338"/>
                </a:lnTo>
                <a:lnTo>
                  <a:pt x="797" y="300"/>
                </a:lnTo>
                <a:lnTo>
                  <a:pt x="798" y="295"/>
                </a:lnTo>
                <a:lnTo>
                  <a:pt x="800" y="290"/>
                </a:lnTo>
                <a:lnTo>
                  <a:pt x="802" y="285"/>
                </a:lnTo>
                <a:lnTo>
                  <a:pt x="804" y="282"/>
                </a:lnTo>
                <a:lnTo>
                  <a:pt x="806" y="279"/>
                </a:lnTo>
                <a:lnTo>
                  <a:pt x="809" y="277"/>
                </a:lnTo>
                <a:lnTo>
                  <a:pt x="814" y="272"/>
                </a:lnTo>
                <a:lnTo>
                  <a:pt x="819" y="271"/>
                </a:lnTo>
                <a:lnTo>
                  <a:pt x="822" y="270"/>
                </a:lnTo>
                <a:lnTo>
                  <a:pt x="827" y="269"/>
                </a:lnTo>
                <a:lnTo>
                  <a:pt x="830" y="270"/>
                </a:lnTo>
                <a:lnTo>
                  <a:pt x="834" y="271"/>
                </a:lnTo>
                <a:lnTo>
                  <a:pt x="838" y="272"/>
                </a:lnTo>
                <a:lnTo>
                  <a:pt x="844" y="277"/>
                </a:lnTo>
                <a:lnTo>
                  <a:pt x="846" y="279"/>
                </a:lnTo>
                <a:lnTo>
                  <a:pt x="848" y="282"/>
                </a:lnTo>
                <a:lnTo>
                  <a:pt x="850" y="285"/>
                </a:lnTo>
                <a:lnTo>
                  <a:pt x="852" y="290"/>
                </a:lnTo>
                <a:lnTo>
                  <a:pt x="855" y="295"/>
                </a:lnTo>
                <a:lnTo>
                  <a:pt x="856" y="300"/>
                </a:lnTo>
                <a:lnTo>
                  <a:pt x="864" y="338"/>
                </a:lnTo>
                <a:lnTo>
                  <a:pt x="866" y="345"/>
                </a:lnTo>
                <a:lnTo>
                  <a:pt x="867" y="351"/>
                </a:lnTo>
                <a:lnTo>
                  <a:pt x="870" y="356"/>
                </a:lnTo>
                <a:lnTo>
                  <a:pt x="872" y="358"/>
                </a:lnTo>
                <a:lnTo>
                  <a:pt x="891" y="358"/>
                </a:lnTo>
                <a:lnTo>
                  <a:pt x="891" y="367"/>
                </a:lnTo>
                <a:lnTo>
                  <a:pt x="1053" y="367"/>
                </a:lnTo>
                <a:lnTo>
                  <a:pt x="1053" y="0"/>
                </a:lnTo>
                <a:lnTo>
                  <a:pt x="1075" y="0"/>
                </a:lnTo>
                <a:lnTo>
                  <a:pt x="1075" y="367"/>
                </a:lnTo>
                <a:lnTo>
                  <a:pt x="1625" y="367"/>
                </a:lnTo>
                <a:lnTo>
                  <a:pt x="1625" y="313"/>
                </a:lnTo>
                <a:lnTo>
                  <a:pt x="1647" y="313"/>
                </a:lnTo>
                <a:lnTo>
                  <a:pt x="1647" y="367"/>
                </a:lnTo>
                <a:lnTo>
                  <a:pt x="2393" y="367"/>
                </a:lnTo>
                <a:lnTo>
                  <a:pt x="2393" y="358"/>
                </a:lnTo>
                <a:lnTo>
                  <a:pt x="2412" y="358"/>
                </a:lnTo>
                <a:lnTo>
                  <a:pt x="2414" y="356"/>
                </a:lnTo>
                <a:lnTo>
                  <a:pt x="2416" y="351"/>
                </a:lnTo>
                <a:lnTo>
                  <a:pt x="2419" y="345"/>
                </a:lnTo>
                <a:lnTo>
                  <a:pt x="2420" y="338"/>
                </a:lnTo>
                <a:lnTo>
                  <a:pt x="2428" y="300"/>
                </a:lnTo>
                <a:lnTo>
                  <a:pt x="2429" y="295"/>
                </a:lnTo>
                <a:lnTo>
                  <a:pt x="2431" y="290"/>
                </a:lnTo>
                <a:lnTo>
                  <a:pt x="2434" y="285"/>
                </a:lnTo>
                <a:lnTo>
                  <a:pt x="2436" y="282"/>
                </a:lnTo>
                <a:lnTo>
                  <a:pt x="2438" y="279"/>
                </a:lnTo>
                <a:lnTo>
                  <a:pt x="2441" y="277"/>
                </a:lnTo>
                <a:lnTo>
                  <a:pt x="2445" y="272"/>
                </a:lnTo>
                <a:lnTo>
                  <a:pt x="2451" y="271"/>
                </a:lnTo>
                <a:lnTo>
                  <a:pt x="2454" y="270"/>
                </a:lnTo>
                <a:lnTo>
                  <a:pt x="2458" y="269"/>
                </a:lnTo>
                <a:lnTo>
                  <a:pt x="2461" y="270"/>
                </a:lnTo>
                <a:lnTo>
                  <a:pt x="2466" y="271"/>
                </a:lnTo>
                <a:lnTo>
                  <a:pt x="2470" y="272"/>
                </a:lnTo>
                <a:lnTo>
                  <a:pt x="2475" y="277"/>
                </a:lnTo>
                <a:lnTo>
                  <a:pt x="2478" y="279"/>
                </a:lnTo>
                <a:lnTo>
                  <a:pt x="2480" y="282"/>
                </a:lnTo>
                <a:lnTo>
                  <a:pt x="2482" y="285"/>
                </a:lnTo>
                <a:lnTo>
                  <a:pt x="2484" y="290"/>
                </a:lnTo>
                <a:lnTo>
                  <a:pt x="2486" y="295"/>
                </a:lnTo>
                <a:lnTo>
                  <a:pt x="2487" y="300"/>
                </a:lnTo>
                <a:lnTo>
                  <a:pt x="2496" y="338"/>
                </a:lnTo>
                <a:lnTo>
                  <a:pt x="2498" y="345"/>
                </a:lnTo>
                <a:lnTo>
                  <a:pt x="2499" y="351"/>
                </a:lnTo>
                <a:lnTo>
                  <a:pt x="2501" y="356"/>
                </a:lnTo>
                <a:lnTo>
                  <a:pt x="2503" y="358"/>
                </a:lnTo>
                <a:lnTo>
                  <a:pt x="2523" y="358"/>
                </a:lnTo>
                <a:lnTo>
                  <a:pt x="2523" y="367"/>
                </a:lnTo>
                <a:lnTo>
                  <a:pt x="2734" y="367"/>
                </a:lnTo>
                <a:lnTo>
                  <a:pt x="2735" y="357"/>
                </a:lnTo>
                <a:lnTo>
                  <a:pt x="2737" y="350"/>
                </a:lnTo>
                <a:lnTo>
                  <a:pt x="2738" y="348"/>
                </a:lnTo>
                <a:lnTo>
                  <a:pt x="2740" y="345"/>
                </a:lnTo>
                <a:lnTo>
                  <a:pt x="2740" y="344"/>
                </a:lnTo>
                <a:lnTo>
                  <a:pt x="2741" y="344"/>
                </a:lnTo>
                <a:lnTo>
                  <a:pt x="2755" y="344"/>
                </a:lnTo>
                <a:lnTo>
                  <a:pt x="2756" y="344"/>
                </a:lnTo>
                <a:lnTo>
                  <a:pt x="2757" y="347"/>
                </a:lnTo>
                <a:lnTo>
                  <a:pt x="2759" y="352"/>
                </a:lnTo>
                <a:lnTo>
                  <a:pt x="2761" y="362"/>
                </a:lnTo>
                <a:lnTo>
                  <a:pt x="2763" y="374"/>
                </a:lnTo>
                <a:lnTo>
                  <a:pt x="2764" y="390"/>
                </a:lnTo>
                <a:lnTo>
                  <a:pt x="2766" y="410"/>
                </a:lnTo>
                <a:lnTo>
                  <a:pt x="2767" y="432"/>
                </a:lnTo>
                <a:lnTo>
                  <a:pt x="2768" y="456"/>
                </a:lnTo>
                <a:lnTo>
                  <a:pt x="2807" y="456"/>
                </a:lnTo>
                <a:lnTo>
                  <a:pt x="2809" y="456"/>
                </a:lnTo>
                <a:lnTo>
                  <a:pt x="2813" y="456"/>
                </a:lnTo>
                <a:lnTo>
                  <a:pt x="2813" y="458"/>
                </a:lnTo>
                <a:lnTo>
                  <a:pt x="2814" y="462"/>
                </a:lnTo>
                <a:lnTo>
                  <a:pt x="2815" y="477"/>
                </a:lnTo>
                <a:lnTo>
                  <a:pt x="2833" y="477"/>
                </a:lnTo>
                <a:lnTo>
                  <a:pt x="2836" y="473"/>
                </a:lnTo>
                <a:lnTo>
                  <a:pt x="2839" y="469"/>
                </a:lnTo>
                <a:lnTo>
                  <a:pt x="2844" y="465"/>
                </a:lnTo>
                <a:lnTo>
                  <a:pt x="2849" y="461"/>
                </a:lnTo>
                <a:lnTo>
                  <a:pt x="2853" y="458"/>
                </a:lnTo>
                <a:lnTo>
                  <a:pt x="2860" y="457"/>
                </a:lnTo>
                <a:lnTo>
                  <a:pt x="2865" y="456"/>
                </a:lnTo>
                <a:lnTo>
                  <a:pt x="2872" y="455"/>
                </a:lnTo>
                <a:lnTo>
                  <a:pt x="2879" y="456"/>
                </a:lnTo>
                <a:lnTo>
                  <a:pt x="2885" y="457"/>
                </a:lnTo>
                <a:lnTo>
                  <a:pt x="2892" y="460"/>
                </a:lnTo>
                <a:lnTo>
                  <a:pt x="2898" y="465"/>
                </a:lnTo>
                <a:lnTo>
                  <a:pt x="2901" y="467"/>
                </a:lnTo>
                <a:lnTo>
                  <a:pt x="2904" y="469"/>
                </a:lnTo>
                <a:lnTo>
                  <a:pt x="2906" y="472"/>
                </a:lnTo>
                <a:lnTo>
                  <a:pt x="2908" y="474"/>
                </a:lnTo>
                <a:lnTo>
                  <a:pt x="2911" y="481"/>
                </a:lnTo>
                <a:lnTo>
                  <a:pt x="2912" y="484"/>
                </a:lnTo>
                <a:lnTo>
                  <a:pt x="2913" y="487"/>
                </a:lnTo>
                <a:lnTo>
                  <a:pt x="2975" y="487"/>
                </a:lnTo>
                <a:lnTo>
                  <a:pt x="2975" y="495"/>
                </a:lnTo>
                <a:lnTo>
                  <a:pt x="2997" y="495"/>
                </a:lnTo>
                <a:lnTo>
                  <a:pt x="2997" y="452"/>
                </a:lnTo>
                <a:lnTo>
                  <a:pt x="2998" y="448"/>
                </a:lnTo>
                <a:lnTo>
                  <a:pt x="2999" y="445"/>
                </a:lnTo>
                <a:lnTo>
                  <a:pt x="3001" y="443"/>
                </a:lnTo>
                <a:lnTo>
                  <a:pt x="3004" y="443"/>
                </a:lnTo>
                <a:lnTo>
                  <a:pt x="3006" y="443"/>
                </a:lnTo>
                <a:lnTo>
                  <a:pt x="3008" y="445"/>
                </a:lnTo>
                <a:lnTo>
                  <a:pt x="3009" y="448"/>
                </a:lnTo>
                <a:lnTo>
                  <a:pt x="3010" y="452"/>
                </a:lnTo>
                <a:lnTo>
                  <a:pt x="3010" y="495"/>
                </a:lnTo>
                <a:lnTo>
                  <a:pt x="3026" y="495"/>
                </a:lnTo>
                <a:lnTo>
                  <a:pt x="3026" y="503"/>
                </a:lnTo>
                <a:lnTo>
                  <a:pt x="3010" y="503"/>
                </a:lnTo>
                <a:lnTo>
                  <a:pt x="3010" y="547"/>
                </a:lnTo>
                <a:lnTo>
                  <a:pt x="3009" y="550"/>
                </a:lnTo>
                <a:lnTo>
                  <a:pt x="3008" y="552"/>
                </a:lnTo>
                <a:lnTo>
                  <a:pt x="3006" y="555"/>
                </a:lnTo>
                <a:lnTo>
                  <a:pt x="3004" y="556"/>
                </a:lnTo>
                <a:lnTo>
                  <a:pt x="3001" y="555"/>
                </a:lnTo>
                <a:lnTo>
                  <a:pt x="2999" y="552"/>
                </a:lnTo>
                <a:lnTo>
                  <a:pt x="2998" y="550"/>
                </a:lnTo>
                <a:lnTo>
                  <a:pt x="2997" y="547"/>
                </a:lnTo>
                <a:lnTo>
                  <a:pt x="2997" y="503"/>
                </a:lnTo>
                <a:lnTo>
                  <a:pt x="2975" y="503"/>
                </a:lnTo>
                <a:lnTo>
                  <a:pt x="2975" y="511"/>
                </a:lnTo>
                <a:lnTo>
                  <a:pt x="2913" y="511"/>
                </a:lnTo>
                <a:lnTo>
                  <a:pt x="2912" y="515"/>
                </a:lnTo>
                <a:lnTo>
                  <a:pt x="2911" y="518"/>
                </a:lnTo>
                <a:lnTo>
                  <a:pt x="2907" y="526"/>
                </a:lnTo>
                <a:lnTo>
                  <a:pt x="2901" y="531"/>
                </a:lnTo>
                <a:lnTo>
                  <a:pt x="2897" y="534"/>
                </a:lnTo>
                <a:lnTo>
                  <a:pt x="2894" y="536"/>
                </a:lnTo>
                <a:lnTo>
                  <a:pt x="2894" y="636"/>
                </a:lnTo>
                <a:lnTo>
                  <a:pt x="2899" y="634"/>
                </a:lnTo>
                <a:lnTo>
                  <a:pt x="2904" y="634"/>
                </a:lnTo>
                <a:lnTo>
                  <a:pt x="2909" y="634"/>
                </a:lnTo>
                <a:lnTo>
                  <a:pt x="2913" y="635"/>
                </a:lnTo>
                <a:lnTo>
                  <a:pt x="2917" y="637"/>
                </a:lnTo>
                <a:lnTo>
                  <a:pt x="2920" y="640"/>
                </a:lnTo>
                <a:lnTo>
                  <a:pt x="2923" y="644"/>
                </a:lnTo>
                <a:lnTo>
                  <a:pt x="2925" y="648"/>
                </a:lnTo>
                <a:lnTo>
                  <a:pt x="2926" y="652"/>
                </a:lnTo>
                <a:lnTo>
                  <a:pt x="2927" y="657"/>
                </a:lnTo>
                <a:lnTo>
                  <a:pt x="2926" y="661"/>
                </a:lnTo>
                <a:lnTo>
                  <a:pt x="2925" y="665"/>
                </a:lnTo>
                <a:lnTo>
                  <a:pt x="2923" y="669"/>
                </a:lnTo>
                <a:lnTo>
                  <a:pt x="2920" y="673"/>
                </a:lnTo>
                <a:lnTo>
                  <a:pt x="2917" y="676"/>
                </a:lnTo>
                <a:lnTo>
                  <a:pt x="2913" y="678"/>
                </a:lnTo>
                <a:lnTo>
                  <a:pt x="2909" y="679"/>
                </a:lnTo>
                <a:lnTo>
                  <a:pt x="2904" y="679"/>
                </a:lnTo>
                <a:lnTo>
                  <a:pt x="2899" y="679"/>
                </a:lnTo>
                <a:lnTo>
                  <a:pt x="2896" y="678"/>
                </a:lnTo>
                <a:lnTo>
                  <a:pt x="2894" y="677"/>
                </a:lnTo>
                <a:lnTo>
                  <a:pt x="2894" y="710"/>
                </a:lnTo>
                <a:lnTo>
                  <a:pt x="2910" y="710"/>
                </a:lnTo>
                <a:lnTo>
                  <a:pt x="2913" y="710"/>
                </a:lnTo>
                <a:lnTo>
                  <a:pt x="2917" y="711"/>
                </a:lnTo>
                <a:lnTo>
                  <a:pt x="2920" y="712"/>
                </a:lnTo>
                <a:lnTo>
                  <a:pt x="2922" y="714"/>
                </a:lnTo>
                <a:lnTo>
                  <a:pt x="2924" y="718"/>
                </a:lnTo>
                <a:lnTo>
                  <a:pt x="2925" y="720"/>
                </a:lnTo>
                <a:lnTo>
                  <a:pt x="2926" y="723"/>
                </a:lnTo>
                <a:lnTo>
                  <a:pt x="2927" y="726"/>
                </a:lnTo>
                <a:lnTo>
                  <a:pt x="2926" y="729"/>
                </a:lnTo>
                <a:lnTo>
                  <a:pt x="2925" y="733"/>
                </a:lnTo>
                <a:lnTo>
                  <a:pt x="2924" y="736"/>
                </a:lnTo>
                <a:lnTo>
                  <a:pt x="2922" y="738"/>
                </a:lnTo>
                <a:lnTo>
                  <a:pt x="2920" y="740"/>
                </a:lnTo>
                <a:lnTo>
                  <a:pt x="2917" y="741"/>
                </a:lnTo>
                <a:lnTo>
                  <a:pt x="2913" y="742"/>
                </a:lnTo>
                <a:lnTo>
                  <a:pt x="2910" y="742"/>
                </a:lnTo>
                <a:lnTo>
                  <a:pt x="2894" y="742"/>
                </a:lnTo>
                <a:lnTo>
                  <a:pt x="2894" y="885"/>
                </a:lnTo>
                <a:lnTo>
                  <a:pt x="2894" y="891"/>
                </a:lnTo>
                <a:lnTo>
                  <a:pt x="2892" y="897"/>
                </a:lnTo>
                <a:lnTo>
                  <a:pt x="2891" y="900"/>
                </a:lnTo>
                <a:lnTo>
                  <a:pt x="2889" y="902"/>
                </a:lnTo>
                <a:lnTo>
                  <a:pt x="2885" y="906"/>
                </a:lnTo>
                <a:lnTo>
                  <a:pt x="2881" y="911"/>
                </a:lnTo>
                <a:lnTo>
                  <a:pt x="2876" y="913"/>
                </a:lnTo>
                <a:lnTo>
                  <a:pt x="2869" y="915"/>
                </a:lnTo>
                <a:lnTo>
                  <a:pt x="2866" y="916"/>
                </a:lnTo>
                <a:lnTo>
                  <a:pt x="2863" y="916"/>
                </a:lnTo>
                <a:lnTo>
                  <a:pt x="2858" y="915"/>
                </a:lnTo>
                <a:lnTo>
                  <a:pt x="2851" y="913"/>
                </a:lnTo>
                <a:lnTo>
                  <a:pt x="2846" y="911"/>
                </a:lnTo>
                <a:lnTo>
                  <a:pt x="2841" y="906"/>
                </a:lnTo>
                <a:lnTo>
                  <a:pt x="2838" y="902"/>
                </a:lnTo>
                <a:lnTo>
                  <a:pt x="2835" y="897"/>
                </a:lnTo>
                <a:lnTo>
                  <a:pt x="2833" y="891"/>
                </a:lnTo>
                <a:lnTo>
                  <a:pt x="2833" y="888"/>
                </a:lnTo>
                <a:lnTo>
                  <a:pt x="2833" y="885"/>
                </a:lnTo>
                <a:lnTo>
                  <a:pt x="2833" y="749"/>
                </a:lnTo>
                <a:lnTo>
                  <a:pt x="2828" y="749"/>
                </a:lnTo>
                <a:lnTo>
                  <a:pt x="2823" y="749"/>
                </a:lnTo>
                <a:lnTo>
                  <a:pt x="2819" y="748"/>
                </a:lnTo>
                <a:lnTo>
                  <a:pt x="2816" y="746"/>
                </a:lnTo>
                <a:lnTo>
                  <a:pt x="2811" y="742"/>
                </a:lnTo>
                <a:lnTo>
                  <a:pt x="2809" y="739"/>
                </a:lnTo>
                <a:lnTo>
                  <a:pt x="2807" y="735"/>
                </a:lnTo>
                <a:lnTo>
                  <a:pt x="2806" y="731"/>
                </a:lnTo>
                <a:lnTo>
                  <a:pt x="2805" y="726"/>
                </a:lnTo>
                <a:lnTo>
                  <a:pt x="2806" y="722"/>
                </a:lnTo>
                <a:lnTo>
                  <a:pt x="2807" y="718"/>
                </a:lnTo>
                <a:lnTo>
                  <a:pt x="2809" y="713"/>
                </a:lnTo>
                <a:lnTo>
                  <a:pt x="2811" y="710"/>
                </a:lnTo>
                <a:lnTo>
                  <a:pt x="2816" y="707"/>
                </a:lnTo>
                <a:lnTo>
                  <a:pt x="2819" y="706"/>
                </a:lnTo>
                <a:lnTo>
                  <a:pt x="2823" y="704"/>
                </a:lnTo>
                <a:lnTo>
                  <a:pt x="2828" y="704"/>
                </a:lnTo>
                <a:lnTo>
                  <a:pt x="2833" y="704"/>
                </a:lnTo>
                <a:lnTo>
                  <a:pt x="2833" y="673"/>
                </a:lnTo>
                <a:lnTo>
                  <a:pt x="2821" y="673"/>
                </a:lnTo>
                <a:lnTo>
                  <a:pt x="2818" y="673"/>
                </a:lnTo>
                <a:lnTo>
                  <a:pt x="2816" y="672"/>
                </a:lnTo>
                <a:lnTo>
                  <a:pt x="2813" y="670"/>
                </a:lnTo>
                <a:lnTo>
                  <a:pt x="2810" y="668"/>
                </a:lnTo>
                <a:lnTo>
                  <a:pt x="2808" y="666"/>
                </a:lnTo>
                <a:lnTo>
                  <a:pt x="2806" y="663"/>
                </a:lnTo>
                <a:lnTo>
                  <a:pt x="2805" y="660"/>
                </a:lnTo>
                <a:lnTo>
                  <a:pt x="2805" y="657"/>
                </a:lnTo>
                <a:lnTo>
                  <a:pt x="2805" y="653"/>
                </a:lnTo>
                <a:lnTo>
                  <a:pt x="2806" y="650"/>
                </a:lnTo>
                <a:lnTo>
                  <a:pt x="2808" y="648"/>
                </a:lnTo>
                <a:lnTo>
                  <a:pt x="2810" y="645"/>
                </a:lnTo>
                <a:lnTo>
                  <a:pt x="2813" y="643"/>
                </a:lnTo>
                <a:lnTo>
                  <a:pt x="2816" y="642"/>
                </a:lnTo>
                <a:lnTo>
                  <a:pt x="2818" y="640"/>
                </a:lnTo>
                <a:lnTo>
                  <a:pt x="2821" y="640"/>
                </a:lnTo>
                <a:lnTo>
                  <a:pt x="2833" y="640"/>
                </a:lnTo>
                <a:lnTo>
                  <a:pt x="2833" y="626"/>
                </a:lnTo>
                <a:lnTo>
                  <a:pt x="2821" y="626"/>
                </a:lnTo>
                <a:lnTo>
                  <a:pt x="2821" y="618"/>
                </a:lnTo>
                <a:lnTo>
                  <a:pt x="2773" y="618"/>
                </a:lnTo>
                <a:lnTo>
                  <a:pt x="2773" y="623"/>
                </a:lnTo>
                <a:lnTo>
                  <a:pt x="2772" y="679"/>
                </a:lnTo>
                <a:lnTo>
                  <a:pt x="2771" y="732"/>
                </a:lnTo>
                <a:lnTo>
                  <a:pt x="2770" y="779"/>
                </a:lnTo>
                <a:lnTo>
                  <a:pt x="2767" y="821"/>
                </a:lnTo>
                <a:lnTo>
                  <a:pt x="2766" y="839"/>
                </a:lnTo>
                <a:lnTo>
                  <a:pt x="2764" y="855"/>
                </a:lnTo>
                <a:lnTo>
                  <a:pt x="2763" y="869"/>
                </a:lnTo>
                <a:lnTo>
                  <a:pt x="2762" y="880"/>
                </a:lnTo>
                <a:lnTo>
                  <a:pt x="2760" y="889"/>
                </a:lnTo>
                <a:lnTo>
                  <a:pt x="2758" y="897"/>
                </a:lnTo>
                <a:lnTo>
                  <a:pt x="2758" y="899"/>
                </a:lnTo>
                <a:lnTo>
                  <a:pt x="2757" y="901"/>
                </a:lnTo>
                <a:lnTo>
                  <a:pt x="2756" y="902"/>
                </a:lnTo>
                <a:lnTo>
                  <a:pt x="2755" y="902"/>
                </a:lnTo>
                <a:lnTo>
                  <a:pt x="2741" y="902"/>
                </a:lnTo>
                <a:lnTo>
                  <a:pt x="2740" y="901"/>
                </a:lnTo>
                <a:lnTo>
                  <a:pt x="2738" y="900"/>
                </a:lnTo>
                <a:lnTo>
                  <a:pt x="2737" y="897"/>
                </a:lnTo>
                <a:lnTo>
                  <a:pt x="2736" y="894"/>
                </a:lnTo>
                <a:lnTo>
                  <a:pt x="2734" y="883"/>
                </a:lnTo>
                <a:lnTo>
                  <a:pt x="2733" y="869"/>
                </a:lnTo>
                <a:lnTo>
                  <a:pt x="2544" y="869"/>
                </a:lnTo>
                <a:lnTo>
                  <a:pt x="2544" y="1020"/>
                </a:lnTo>
                <a:lnTo>
                  <a:pt x="2976" y="1020"/>
                </a:lnTo>
                <a:close/>
              </a:path>
            </a:pathLst>
          </a:custGeom>
          <a:solidFill>
            <a:schemeClr val="tx1"/>
          </a:solidFill>
          <a:ln w="9525">
            <a:solidFill>
              <a:schemeClr val="bg1"/>
            </a:solid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endParaRPr>
          </a:p>
        </p:txBody>
      </p:sp>
      <p:sp>
        <p:nvSpPr>
          <p:cNvPr id="138" name="Freeform 20">
            <a:extLst>
              <a:ext uri="{FF2B5EF4-FFF2-40B4-BE49-F238E27FC236}">
                <a16:creationId xmlns:a16="http://schemas.microsoft.com/office/drawing/2014/main" id="{8374E81F-53A5-3D92-F7F5-C5648BC01401}"/>
              </a:ext>
            </a:extLst>
          </p:cNvPr>
          <p:cNvSpPr>
            <a:spLocks noEditPoints="1"/>
          </p:cNvSpPr>
          <p:nvPr/>
        </p:nvSpPr>
        <p:spPr bwMode="auto">
          <a:xfrm>
            <a:off x="1571005" y="4767859"/>
            <a:ext cx="475242" cy="598487"/>
          </a:xfrm>
          <a:custGeom>
            <a:avLst/>
            <a:gdLst>
              <a:gd name="T0" fmla="*/ 326 w 1413"/>
              <a:gd name="T1" fmla="*/ 660 h 1760"/>
              <a:gd name="T2" fmla="*/ 448 w 1413"/>
              <a:gd name="T3" fmla="*/ 672 h 1760"/>
              <a:gd name="T4" fmla="*/ 383 w 1413"/>
              <a:gd name="T5" fmla="*/ 398 h 1760"/>
              <a:gd name="T6" fmla="*/ 686 w 1413"/>
              <a:gd name="T7" fmla="*/ 793 h 1760"/>
              <a:gd name="T8" fmla="*/ 485 w 1413"/>
              <a:gd name="T9" fmla="*/ 431 h 1760"/>
              <a:gd name="T10" fmla="*/ 482 w 1413"/>
              <a:gd name="T11" fmla="*/ 477 h 1760"/>
              <a:gd name="T12" fmla="*/ 833 w 1413"/>
              <a:gd name="T13" fmla="*/ 318 h 1760"/>
              <a:gd name="T14" fmla="*/ 896 w 1413"/>
              <a:gd name="T15" fmla="*/ 216 h 1760"/>
              <a:gd name="T16" fmla="*/ 856 w 1413"/>
              <a:gd name="T17" fmla="*/ 104 h 1760"/>
              <a:gd name="T18" fmla="*/ 628 w 1413"/>
              <a:gd name="T19" fmla="*/ 162 h 1760"/>
              <a:gd name="T20" fmla="*/ 643 w 1413"/>
              <a:gd name="T21" fmla="*/ 275 h 1760"/>
              <a:gd name="T22" fmla="*/ 1117 w 1413"/>
              <a:gd name="T23" fmla="*/ 625 h 1760"/>
              <a:gd name="T24" fmla="*/ 994 w 1413"/>
              <a:gd name="T25" fmla="*/ 651 h 1760"/>
              <a:gd name="T26" fmla="*/ 1112 w 1413"/>
              <a:gd name="T27" fmla="*/ 682 h 1760"/>
              <a:gd name="T28" fmla="*/ 1147 w 1413"/>
              <a:gd name="T29" fmla="*/ 466 h 1760"/>
              <a:gd name="T30" fmla="*/ 1121 w 1413"/>
              <a:gd name="T31" fmla="*/ 400 h 1760"/>
              <a:gd name="T32" fmla="*/ 1035 w 1413"/>
              <a:gd name="T33" fmla="*/ 408 h 1760"/>
              <a:gd name="T34" fmla="*/ 381 w 1413"/>
              <a:gd name="T35" fmla="*/ 1470 h 1760"/>
              <a:gd name="T36" fmla="*/ 254 w 1413"/>
              <a:gd name="T37" fmla="*/ 1627 h 1760"/>
              <a:gd name="T38" fmla="*/ 355 w 1413"/>
              <a:gd name="T39" fmla="*/ 1578 h 1760"/>
              <a:gd name="T40" fmla="*/ 1186 w 1413"/>
              <a:gd name="T41" fmla="*/ 1510 h 1760"/>
              <a:gd name="T42" fmla="*/ 1125 w 1413"/>
              <a:gd name="T43" fmla="*/ 1503 h 1760"/>
              <a:gd name="T44" fmla="*/ 1241 w 1413"/>
              <a:gd name="T45" fmla="*/ 1530 h 1760"/>
              <a:gd name="T46" fmla="*/ 1264 w 1413"/>
              <a:gd name="T47" fmla="*/ 1609 h 1760"/>
              <a:gd name="T48" fmla="*/ 1356 w 1413"/>
              <a:gd name="T49" fmla="*/ 1556 h 1760"/>
              <a:gd name="T50" fmla="*/ 119 w 1413"/>
              <a:gd name="T51" fmla="*/ 1551 h 1760"/>
              <a:gd name="T52" fmla="*/ 215 w 1413"/>
              <a:gd name="T53" fmla="*/ 1535 h 1760"/>
              <a:gd name="T54" fmla="*/ 560 w 1413"/>
              <a:gd name="T55" fmla="*/ 1698 h 1760"/>
              <a:gd name="T56" fmla="*/ 419 w 1413"/>
              <a:gd name="T57" fmla="*/ 1510 h 1760"/>
              <a:gd name="T58" fmla="*/ 131 w 1413"/>
              <a:gd name="T59" fmla="*/ 1623 h 1760"/>
              <a:gd name="T60" fmla="*/ 87 w 1413"/>
              <a:gd name="T61" fmla="*/ 1321 h 1760"/>
              <a:gd name="T62" fmla="*/ 292 w 1413"/>
              <a:gd name="T63" fmla="*/ 1302 h 1760"/>
              <a:gd name="T64" fmla="*/ 494 w 1413"/>
              <a:gd name="T65" fmla="*/ 1329 h 1760"/>
              <a:gd name="T66" fmla="*/ 571 w 1413"/>
              <a:gd name="T67" fmla="*/ 1076 h 1760"/>
              <a:gd name="T68" fmla="*/ 588 w 1413"/>
              <a:gd name="T69" fmla="*/ 919 h 1760"/>
              <a:gd name="T70" fmla="*/ 642 w 1413"/>
              <a:gd name="T71" fmla="*/ 607 h 1760"/>
              <a:gd name="T72" fmla="*/ 294 w 1413"/>
              <a:gd name="T73" fmla="*/ 678 h 1760"/>
              <a:gd name="T74" fmla="*/ 3 w 1413"/>
              <a:gd name="T75" fmla="*/ 589 h 1760"/>
              <a:gd name="T76" fmla="*/ 234 w 1413"/>
              <a:gd name="T77" fmla="*/ 463 h 1760"/>
              <a:gd name="T78" fmla="*/ 527 w 1413"/>
              <a:gd name="T79" fmla="*/ 423 h 1760"/>
              <a:gd name="T80" fmla="*/ 593 w 1413"/>
              <a:gd name="T81" fmla="*/ 251 h 1760"/>
              <a:gd name="T82" fmla="*/ 701 w 1413"/>
              <a:gd name="T83" fmla="*/ 3 h 1760"/>
              <a:gd name="T84" fmla="*/ 933 w 1413"/>
              <a:gd name="T85" fmla="*/ 201 h 1760"/>
              <a:gd name="T86" fmla="*/ 854 w 1413"/>
              <a:gd name="T87" fmla="*/ 461 h 1760"/>
              <a:gd name="T88" fmla="*/ 1225 w 1413"/>
              <a:gd name="T89" fmla="*/ 434 h 1760"/>
              <a:gd name="T90" fmla="*/ 1196 w 1413"/>
              <a:gd name="T91" fmla="*/ 676 h 1760"/>
              <a:gd name="T92" fmla="*/ 847 w 1413"/>
              <a:gd name="T93" fmla="*/ 626 h 1760"/>
              <a:gd name="T94" fmla="*/ 933 w 1413"/>
              <a:gd name="T95" fmla="*/ 904 h 1760"/>
              <a:gd name="T96" fmla="*/ 884 w 1413"/>
              <a:gd name="T97" fmla="*/ 1063 h 1760"/>
              <a:gd name="T98" fmla="*/ 963 w 1413"/>
              <a:gd name="T99" fmla="*/ 1277 h 1760"/>
              <a:gd name="T100" fmla="*/ 1076 w 1413"/>
              <a:gd name="T101" fmla="*/ 1299 h 1760"/>
              <a:gd name="T102" fmla="*/ 1272 w 1413"/>
              <a:gd name="T103" fmla="*/ 1262 h 1760"/>
              <a:gd name="T104" fmla="*/ 1401 w 1413"/>
              <a:gd name="T105" fmla="*/ 1544 h 1760"/>
              <a:gd name="T106" fmla="*/ 1147 w 1413"/>
              <a:gd name="T107" fmla="*/ 1606 h 1760"/>
              <a:gd name="T108" fmla="*/ 1007 w 1413"/>
              <a:gd name="T109" fmla="*/ 1485 h 1760"/>
              <a:gd name="T110" fmla="*/ 868 w 1413"/>
              <a:gd name="T111" fmla="*/ 1727 h 1760"/>
              <a:gd name="T112" fmla="*/ 683 w 1413"/>
              <a:gd name="T113" fmla="*/ 1758 h 1760"/>
              <a:gd name="T114" fmla="*/ 863 w 1413"/>
              <a:gd name="T115" fmla="*/ 986 h 1760"/>
              <a:gd name="T116" fmla="*/ 902 w 1413"/>
              <a:gd name="T117" fmla="*/ 881 h 1760"/>
              <a:gd name="T118" fmla="*/ 859 w 1413"/>
              <a:gd name="T119" fmla="*/ 799 h 1760"/>
              <a:gd name="T120" fmla="*/ 647 w 1413"/>
              <a:gd name="T121" fmla="*/ 806 h 1760"/>
              <a:gd name="T122" fmla="*/ 619 w 1413"/>
              <a:gd name="T123" fmla="*/ 922 h 1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13" h="1760">
                <a:moveTo>
                  <a:pt x="486" y="606"/>
                </a:moveTo>
                <a:lnTo>
                  <a:pt x="480" y="613"/>
                </a:lnTo>
                <a:lnTo>
                  <a:pt x="472" y="619"/>
                </a:lnTo>
                <a:lnTo>
                  <a:pt x="464" y="625"/>
                </a:lnTo>
                <a:lnTo>
                  <a:pt x="455" y="630"/>
                </a:lnTo>
                <a:lnTo>
                  <a:pt x="446" y="634"/>
                </a:lnTo>
                <a:lnTo>
                  <a:pt x="436" y="637"/>
                </a:lnTo>
                <a:lnTo>
                  <a:pt x="426" y="638"/>
                </a:lnTo>
                <a:lnTo>
                  <a:pt x="420" y="639"/>
                </a:lnTo>
                <a:lnTo>
                  <a:pt x="415" y="639"/>
                </a:lnTo>
                <a:lnTo>
                  <a:pt x="403" y="638"/>
                </a:lnTo>
                <a:lnTo>
                  <a:pt x="392" y="636"/>
                </a:lnTo>
                <a:lnTo>
                  <a:pt x="387" y="635"/>
                </a:lnTo>
                <a:lnTo>
                  <a:pt x="382" y="633"/>
                </a:lnTo>
                <a:lnTo>
                  <a:pt x="376" y="631"/>
                </a:lnTo>
                <a:lnTo>
                  <a:pt x="372" y="628"/>
                </a:lnTo>
                <a:lnTo>
                  <a:pt x="367" y="625"/>
                </a:lnTo>
                <a:lnTo>
                  <a:pt x="362" y="622"/>
                </a:lnTo>
                <a:lnTo>
                  <a:pt x="358" y="619"/>
                </a:lnTo>
                <a:lnTo>
                  <a:pt x="353" y="616"/>
                </a:lnTo>
                <a:lnTo>
                  <a:pt x="346" y="608"/>
                </a:lnTo>
                <a:lnTo>
                  <a:pt x="339" y="599"/>
                </a:lnTo>
                <a:lnTo>
                  <a:pt x="336" y="608"/>
                </a:lnTo>
                <a:lnTo>
                  <a:pt x="333" y="617"/>
                </a:lnTo>
                <a:lnTo>
                  <a:pt x="328" y="630"/>
                </a:lnTo>
                <a:lnTo>
                  <a:pt x="323" y="643"/>
                </a:lnTo>
                <a:lnTo>
                  <a:pt x="308" y="643"/>
                </a:lnTo>
                <a:lnTo>
                  <a:pt x="311" y="646"/>
                </a:lnTo>
                <a:lnTo>
                  <a:pt x="313" y="649"/>
                </a:lnTo>
                <a:lnTo>
                  <a:pt x="314" y="652"/>
                </a:lnTo>
                <a:lnTo>
                  <a:pt x="315" y="654"/>
                </a:lnTo>
                <a:lnTo>
                  <a:pt x="316" y="657"/>
                </a:lnTo>
                <a:lnTo>
                  <a:pt x="317" y="660"/>
                </a:lnTo>
                <a:lnTo>
                  <a:pt x="320" y="660"/>
                </a:lnTo>
                <a:lnTo>
                  <a:pt x="323" y="660"/>
                </a:lnTo>
                <a:lnTo>
                  <a:pt x="326" y="660"/>
                </a:lnTo>
                <a:lnTo>
                  <a:pt x="330" y="660"/>
                </a:lnTo>
                <a:lnTo>
                  <a:pt x="335" y="661"/>
                </a:lnTo>
                <a:lnTo>
                  <a:pt x="340" y="663"/>
                </a:lnTo>
                <a:lnTo>
                  <a:pt x="344" y="666"/>
                </a:lnTo>
                <a:lnTo>
                  <a:pt x="348" y="668"/>
                </a:lnTo>
                <a:lnTo>
                  <a:pt x="350" y="671"/>
                </a:lnTo>
                <a:lnTo>
                  <a:pt x="352" y="674"/>
                </a:lnTo>
                <a:lnTo>
                  <a:pt x="354" y="676"/>
                </a:lnTo>
                <a:lnTo>
                  <a:pt x="356" y="678"/>
                </a:lnTo>
                <a:lnTo>
                  <a:pt x="360" y="678"/>
                </a:lnTo>
                <a:lnTo>
                  <a:pt x="362" y="678"/>
                </a:lnTo>
                <a:lnTo>
                  <a:pt x="365" y="676"/>
                </a:lnTo>
                <a:lnTo>
                  <a:pt x="369" y="675"/>
                </a:lnTo>
                <a:lnTo>
                  <a:pt x="374" y="675"/>
                </a:lnTo>
                <a:lnTo>
                  <a:pt x="379" y="675"/>
                </a:lnTo>
                <a:lnTo>
                  <a:pt x="384" y="676"/>
                </a:lnTo>
                <a:lnTo>
                  <a:pt x="388" y="678"/>
                </a:lnTo>
                <a:lnTo>
                  <a:pt x="391" y="680"/>
                </a:lnTo>
                <a:lnTo>
                  <a:pt x="394" y="682"/>
                </a:lnTo>
                <a:lnTo>
                  <a:pt x="396" y="684"/>
                </a:lnTo>
                <a:lnTo>
                  <a:pt x="399" y="685"/>
                </a:lnTo>
                <a:lnTo>
                  <a:pt x="402" y="684"/>
                </a:lnTo>
                <a:lnTo>
                  <a:pt x="404" y="682"/>
                </a:lnTo>
                <a:lnTo>
                  <a:pt x="407" y="680"/>
                </a:lnTo>
                <a:lnTo>
                  <a:pt x="410" y="678"/>
                </a:lnTo>
                <a:lnTo>
                  <a:pt x="415" y="676"/>
                </a:lnTo>
                <a:lnTo>
                  <a:pt x="420" y="675"/>
                </a:lnTo>
                <a:lnTo>
                  <a:pt x="424" y="675"/>
                </a:lnTo>
                <a:lnTo>
                  <a:pt x="429" y="675"/>
                </a:lnTo>
                <a:lnTo>
                  <a:pt x="433" y="676"/>
                </a:lnTo>
                <a:lnTo>
                  <a:pt x="436" y="677"/>
                </a:lnTo>
                <a:lnTo>
                  <a:pt x="439" y="678"/>
                </a:lnTo>
                <a:lnTo>
                  <a:pt x="442" y="678"/>
                </a:lnTo>
                <a:lnTo>
                  <a:pt x="444" y="677"/>
                </a:lnTo>
                <a:lnTo>
                  <a:pt x="446" y="675"/>
                </a:lnTo>
                <a:lnTo>
                  <a:pt x="448" y="672"/>
                </a:lnTo>
                <a:lnTo>
                  <a:pt x="450" y="669"/>
                </a:lnTo>
                <a:lnTo>
                  <a:pt x="454" y="666"/>
                </a:lnTo>
                <a:lnTo>
                  <a:pt x="459" y="663"/>
                </a:lnTo>
                <a:lnTo>
                  <a:pt x="463" y="662"/>
                </a:lnTo>
                <a:lnTo>
                  <a:pt x="468" y="660"/>
                </a:lnTo>
                <a:lnTo>
                  <a:pt x="471" y="660"/>
                </a:lnTo>
                <a:lnTo>
                  <a:pt x="475" y="660"/>
                </a:lnTo>
                <a:lnTo>
                  <a:pt x="478" y="660"/>
                </a:lnTo>
                <a:lnTo>
                  <a:pt x="481" y="660"/>
                </a:lnTo>
                <a:lnTo>
                  <a:pt x="483" y="657"/>
                </a:lnTo>
                <a:lnTo>
                  <a:pt x="484" y="655"/>
                </a:lnTo>
                <a:lnTo>
                  <a:pt x="484" y="651"/>
                </a:lnTo>
                <a:lnTo>
                  <a:pt x="486" y="648"/>
                </a:lnTo>
                <a:lnTo>
                  <a:pt x="489" y="644"/>
                </a:lnTo>
                <a:lnTo>
                  <a:pt x="492" y="640"/>
                </a:lnTo>
                <a:lnTo>
                  <a:pt x="496" y="637"/>
                </a:lnTo>
                <a:lnTo>
                  <a:pt x="500" y="635"/>
                </a:lnTo>
                <a:lnTo>
                  <a:pt x="504" y="633"/>
                </a:lnTo>
                <a:lnTo>
                  <a:pt x="507" y="633"/>
                </a:lnTo>
                <a:lnTo>
                  <a:pt x="510" y="632"/>
                </a:lnTo>
                <a:lnTo>
                  <a:pt x="513" y="630"/>
                </a:lnTo>
                <a:lnTo>
                  <a:pt x="514" y="627"/>
                </a:lnTo>
                <a:lnTo>
                  <a:pt x="514" y="625"/>
                </a:lnTo>
                <a:lnTo>
                  <a:pt x="513" y="621"/>
                </a:lnTo>
                <a:lnTo>
                  <a:pt x="486" y="606"/>
                </a:lnTo>
                <a:close/>
                <a:moveTo>
                  <a:pt x="336" y="492"/>
                </a:moveTo>
                <a:lnTo>
                  <a:pt x="341" y="485"/>
                </a:lnTo>
                <a:lnTo>
                  <a:pt x="346" y="479"/>
                </a:lnTo>
                <a:lnTo>
                  <a:pt x="352" y="473"/>
                </a:lnTo>
                <a:lnTo>
                  <a:pt x="358" y="468"/>
                </a:lnTo>
                <a:lnTo>
                  <a:pt x="364" y="464"/>
                </a:lnTo>
                <a:lnTo>
                  <a:pt x="371" y="460"/>
                </a:lnTo>
                <a:lnTo>
                  <a:pt x="378" y="456"/>
                </a:lnTo>
                <a:lnTo>
                  <a:pt x="386" y="453"/>
                </a:lnTo>
                <a:lnTo>
                  <a:pt x="386" y="400"/>
                </a:lnTo>
                <a:lnTo>
                  <a:pt x="383" y="398"/>
                </a:lnTo>
                <a:lnTo>
                  <a:pt x="381" y="397"/>
                </a:lnTo>
                <a:lnTo>
                  <a:pt x="378" y="396"/>
                </a:lnTo>
                <a:lnTo>
                  <a:pt x="375" y="398"/>
                </a:lnTo>
                <a:lnTo>
                  <a:pt x="373" y="400"/>
                </a:lnTo>
                <a:lnTo>
                  <a:pt x="371" y="402"/>
                </a:lnTo>
                <a:lnTo>
                  <a:pt x="368" y="405"/>
                </a:lnTo>
                <a:lnTo>
                  <a:pt x="363" y="407"/>
                </a:lnTo>
                <a:lnTo>
                  <a:pt x="359" y="409"/>
                </a:lnTo>
                <a:lnTo>
                  <a:pt x="354" y="410"/>
                </a:lnTo>
                <a:lnTo>
                  <a:pt x="349" y="410"/>
                </a:lnTo>
                <a:lnTo>
                  <a:pt x="345" y="410"/>
                </a:lnTo>
                <a:lnTo>
                  <a:pt x="342" y="409"/>
                </a:lnTo>
                <a:lnTo>
                  <a:pt x="339" y="409"/>
                </a:lnTo>
                <a:lnTo>
                  <a:pt x="336" y="409"/>
                </a:lnTo>
                <a:lnTo>
                  <a:pt x="334" y="411"/>
                </a:lnTo>
                <a:lnTo>
                  <a:pt x="333" y="414"/>
                </a:lnTo>
                <a:lnTo>
                  <a:pt x="331" y="417"/>
                </a:lnTo>
                <a:lnTo>
                  <a:pt x="329" y="420"/>
                </a:lnTo>
                <a:lnTo>
                  <a:pt x="326" y="423"/>
                </a:lnTo>
                <a:lnTo>
                  <a:pt x="322" y="427"/>
                </a:lnTo>
                <a:lnTo>
                  <a:pt x="318" y="429"/>
                </a:lnTo>
                <a:lnTo>
                  <a:pt x="314" y="431"/>
                </a:lnTo>
                <a:lnTo>
                  <a:pt x="310" y="432"/>
                </a:lnTo>
                <a:lnTo>
                  <a:pt x="306" y="432"/>
                </a:lnTo>
                <a:lnTo>
                  <a:pt x="303" y="432"/>
                </a:lnTo>
                <a:lnTo>
                  <a:pt x="300" y="434"/>
                </a:lnTo>
                <a:lnTo>
                  <a:pt x="299" y="436"/>
                </a:lnTo>
                <a:lnTo>
                  <a:pt x="298" y="439"/>
                </a:lnTo>
                <a:lnTo>
                  <a:pt x="298" y="441"/>
                </a:lnTo>
                <a:lnTo>
                  <a:pt x="298" y="443"/>
                </a:lnTo>
                <a:lnTo>
                  <a:pt x="296" y="449"/>
                </a:lnTo>
                <a:lnTo>
                  <a:pt x="318" y="449"/>
                </a:lnTo>
                <a:lnTo>
                  <a:pt x="324" y="461"/>
                </a:lnTo>
                <a:lnTo>
                  <a:pt x="330" y="475"/>
                </a:lnTo>
                <a:lnTo>
                  <a:pt x="336" y="492"/>
                </a:lnTo>
                <a:close/>
                <a:moveTo>
                  <a:pt x="686" y="793"/>
                </a:moveTo>
                <a:lnTo>
                  <a:pt x="686" y="773"/>
                </a:lnTo>
                <a:lnTo>
                  <a:pt x="683" y="773"/>
                </a:lnTo>
                <a:lnTo>
                  <a:pt x="680" y="774"/>
                </a:lnTo>
                <a:lnTo>
                  <a:pt x="678" y="776"/>
                </a:lnTo>
                <a:lnTo>
                  <a:pt x="677" y="779"/>
                </a:lnTo>
                <a:lnTo>
                  <a:pt x="676" y="782"/>
                </a:lnTo>
                <a:lnTo>
                  <a:pt x="686" y="793"/>
                </a:lnTo>
                <a:close/>
                <a:moveTo>
                  <a:pt x="493" y="491"/>
                </a:moveTo>
                <a:lnTo>
                  <a:pt x="527" y="491"/>
                </a:lnTo>
                <a:lnTo>
                  <a:pt x="527" y="490"/>
                </a:lnTo>
                <a:lnTo>
                  <a:pt x="525" y="485"/>
                </a:lnTo>
                <a:lnTo>
                  <a:pt x="524" y="481"/>
                </a:lnTo>
                <a:lnTo>
                  <a:pt x="524" y="477"/>
                </a:lnTo>
                <a:lnTo>
                  <a:pt x="525" y="473"/>
                </a:lnTo>
                <a:lnTo>
                  <a:pt x="525" y="472"/>
                </a:lnTo>
                <a:lnTo>
                  <a:pt x="525" y="471"/>
                </a:lnTo>
                <a:lnTo>
                  <a:pt x="525" y="467"/>
                </a:lnTo>
                <a:lnTo>
                  <a:pt x="522" y="465"/>
                </a:lnTo>
                <a:lnTo>
                  <a:pt x="521" y="465"/>
                </a:lnTo>
                <a:lnTo>
                  <a:pt x="520" y="464"/>
                </a:lnTo>
                <a:lnTo>
                  <a:pt x="517" y="463"/>
                </a:lnTo>
                <a:lnTo>
                  <a:pt x="513" y="461"/>
                </a:lnTo>
                <a:lnTo>
                  <a:pt x="512" y="460"/>
                </a:lnTo>
                <a:lnTo>
                  <a:pt x="510" y="458"/>
                </a:lnTo>
                <a:lnTo>
                  <a:pt x="506" y="454"/>
                </a:lnTo>
                <a:lnTo>
                  <a:pt x="503" y="450"/>
                </a:lnTo>
                <a:lnTo>
                  <a:pt x="501" y="446"/>
                </a:lnTo>
                <a:lnTo>
                  <a:pt x="500" y="443"/>
                </a:lnTo>
                <a:lnTo>
                  <a:pt x="500" y="439"/>
                </a:lnTo>
                <a:lnTo>
                  <a:pt x="499" y="436"/>
                </a:lnTo>
                <a:lnTo>
                  <a:pt x="498" y="434"/>
                </a:lnTo>
                <a:lnTo>
                  <a:pt x="495" y="432"/>
                </a:lnTo>
                <a:lnTo>
                  <a:pt x="494" y="432"/>
                </a:lnTo>
                <a:lnTo>
                  <a:pt x="492" y="432"/>
                </a:lnTo>
                <a:lnTo>
                  <a:pt x="489" y="432"/>
                </a:lnTo>
                <a:lnTo>
                  <a:pt x="485" y="431"/>
                </a:lnTo>
                <a:lnTo>
                  <a:pt x="481" y="429"/>
                </a:lnTo>
                <a:lnTo>
                  <a:pt x="476" y="427"/>
                </a:lnTo>
                <a:lnTo>
                  <a:pt x="472" y="424"/>
                </a:lnTo>
                <a:lnTo>
                  <a:pt x="469" y="420"/>
                </a:lnTo>
                <a:lnTo>
                  <a:pt x="467" y="417"/>
                </a:lnTo>
                <a:lnTo>
                  <a:pt x="466" y="414"/>
                </a:lnTo>
                <a:lnTo>
                  <a:pt x="464" y="412"/>
                </a:lnTo>
                <a:lnTo>
                  <a:pt x="462" y="409"/>
                </a:lnTo>
                <a:lnTo>
                  <a:pt x="459" y="409"/>
                </a:lnTo>
                <a:lnTo>
                  <a:pt x="456" y="409"/>
                </a:lnTo>
                <a:lnTo>
                  <a:pt x="453" y="410"/>
                </a:lnTo>
                <a:lnTo>
                  <a:pt x="449" y="410"/>
                </a:lnTo>
                <a:lnTo>
                  <a:pt x="444" y="410"/>
                </a:lnTo>
                <a:lnTo>
                  <a:pt x="440" y="409"/>
                </a:lnTo>
                <a:lnTo>
                  <a:pt x="435" y="407"/>
                </a:lnTo>
                <a:lnTo>
                  <a:pt x="431" y="405"/>
                </a:lnTo>
                <a:lnTo>
                  <a:pt x="428" y="403"/>
                </a:lnTo>
                <a:lnTo>
                  <a:pt x="426" y="400"/>
                </a:lnTo>
                <a:lnTo>
                  <a:pt x="424" y="398"/>
                </a:lnTo>
                <a:lnTo>
                  <a:pt x="421" y="396"/>
                </a:lnTo>
                <a:lnTo>
                  <a:pt x="419" y="397"/>
                </a:lnTo>
                <a:lnTo>
                  <a:pt x="418" y="397"/>
                </a:lnTo>
                <a:lnTo>
                  <a:pt x="415" y="398"/>
                </a:lnTo>
                <a:lnTo>
                  <a:pt x="412" y="400"/>
                </a:lnTo>
                <a:lnTo>
                  <a:pt x="412" y="449"/>
                </a:lnTo>
                <a:lnTo>
                  <a:pt x="415" y="449"/>
                </a:lnTo>
                <a:lnTo>
                  <a:pt x="427" y="449"/>
                </a:lnTo>
                <a:lnTo>
                  <a:pt x="433" y="450"/>
                </a:lnTo>
                <a:lnTo>
                  <a:pt x="439" y="452"/>
                </a:lnTo>
                <a:lnTo>
                  <a:pt x="450" y="455"/>
                </a:lnTo>
                <a:lnTo>
                  <a:pt x="455" y="458"/>
                </a:lnTo>
                <a:lnTo>
                  <a:pt x="460" y="460"/>
                </a:lnTo>
                <a:lnTo>
                  <a:pt x="470" y="466"/>
                </a:lnTo>
                <a:lnTo>
                  <a:pt x="474" y="470"/>
                </a:lnTo>
                <a:lnTo>
                  <a:pt x="478" y="473"/>
                </a:lnTo>
                <a:lnTo>
                  <a:pt x="482" y="477"/>
                </a:lnTo>
                <a:lnTo>
                  <a:pt x="486" y="482"/>
                </a:lnTo>
                <a:lnTo>
                  <a:pt x="493" y="491"/>
                </a:lnTo>
                <a:close/>
                <a:moveTo>
                  <a:pt x="836" y="179"/>
                </a:moveTo>
                <a:lnTo>
                  <a:pt x="840" y="188"/>
                </a:lnTo>
                <a:lnTo>
                  <a:pt x="843" y="198"/>
                </a:lnTo>
                <a:lnTo>
                  <a:pt x="844" y="203"/>
                </a:lnTo>
                <a:lnTo>
                  <a:pt x="844" y="209"/>
                </a:lnTo>
                <a:lnTo>
                  <a:pt x="845" y="214"/>
                </a:lnTo>
                <a:lnTo>
                  <a:pt x="845" y="219"/>
                </a:lnTo>
                <a:lnTo>
                  <a:pt x="845" y="225"/>
                </a:lnTo>
                <a:lnTo>
                  <a:pt x="844" y="231"/>
                </a:lnTo>
                <a:lnTo>
                  <a:pt x="843" y="237"/>
                </a:lnTo>
                <a:lnTo>
                  <a:pt x="843" y="240"/>
                </a:lnTo>
                <a:lnTo>
                  <a:pt x="842" y="243"/>
                </a:lnTo>
                <a:lnTo>
                  <a:pt x="840" y="249"/>
                </a:lnTo>
                <a:lnTo>
                  <a:pt x="838" y="254"/>
                </a:lnTo>
                <a:lnTo>
                  <a:pt x="833" y="265"/>
                </a:lnTo>
                <a:lnTo>
                  <a:pt x="826" y="274"/>
                </a:lnTo>
                <a:lnTo>
                  <a:pt x="822" y="279"/>
                </a:lnTo>
                <a:lnTo>
                  <a:pt x="819" y="283"/>
                </a:lnTo>
                <a:lnTo>
                  <a:pt x="814" y="287"/>
                </a:lnTo>
                <a:lnTo>
                  <a:pt x="810" y="291"/>
                </a:lnTo>
                <a:lnTo>
                  <a:pt x="805" y="295"/>
                </a:lnTo>
                <a:lnTo>
                  <a:pt x="800" y="298"/>
                </a:lnTo>
                <a:lnTo>
                  <a:pt x="800" y="334"/>
                </a:lnTo>
                <a:lnTo>
                  <a:pt x="804" y="334"/>
                </a:lnTo>
                <a:lnTo>
                  <a:pt x="807" y="335"/>
                </a:lnTo>
                <a:lnTo>
                  <a:pt x="810" y="336"/>
                </a:lnTo>
                <a:lnTo>
                  <a:pt x="813" y="336"/>
                </a:lnTo>
                <a:lnTo>
                  <a:pt x="816" y="334"/>
                </a:lnTo>
                <a:lnTo>
                  <a:pt x="817" y="332"/>
                </a:lnTo>
                <a:lnTo>
                  <a:pt x="818" y="329"/>
                </a:lnTo>
                <a:lnTo>
                  <a:pt x="821" y="326"/>
                </a:lnTo>
                <a:lnTo>
                  <a:pt x="824" y="323"/>
                </a:lnTo>
                <a:lnTo>
                  <a:pt x="829" y="320"/>
                </a:lnTo>
                <a:lnTo>
                  <a:pt x="833" y="318"/>
                </a:lnTo>
                <a:lnTo>
                  <a:pt x="837" y="316"/>
                </a:lnTo>
                <a:lnTo>
                  <a:pt x="841" y="315"/>
                </a:lnTo>
                <a:lnTo>
                  <a:pt x="845" y="316"/>
                </a:lnTo>
                <a:lnTo>
                  <a:pt x="847" y="315"/>
                </a:lnTo>
                <a:lnTo>
                  <a:pt x="850" y="314"/>
                </a:lnTo>
                <a:lnTo>
                  <a:pt x="852" y="312"/>
                </a:lnTo>
                <a:lnTo>
                  <a:pt x="853" y="309"/>
                </a:lnTo>
                <a:lnTo>
                  <a:pt x="853" y="306"/>
                </a:lnTo>
                <a:lnTo>
                  <a:pt x="855" y="302"/>
                </a:lnTo>
                <a:lnTo>
                  <a:pt x="857" y="298"/>
                </a:lnTo>
                <a:lnTo>
                  <a:pt x="860" y="294"/>
                </a:lnTo>
                <a:lnTo>
                  <a:pt x="864" y="291"/>
                </a:lnTo>
                <a:lnTo>
                  <a:pt x="868" y="288"/>
                </a:lnTo>
                <a:lnTo>
                  <a:pt x="871" y="286"/>
                </a:lnTo>
                <a:lnTo>
                  <a:pt x="874" y="285"/>
                </a:lnTo>
                <a:lnTo>
                  <a:pt x="877" y="284"/>
                </a:lnTo>
                <a:lnTo>
                  <a:pt x="880" y="283"/>
                </a:lnTo>
                <a:lnTo>
                  <a:pt x="880" y="279"/>
                </a:lnTo>
                <a:lnTo>
                  <a:pt x="880" y="277"/>
                </a:lnTo>
                <a:lnTo>
                  <a:pt x="880" y="274"/>
                </a:lnTo>
                <a:lnTo>
                  <a:pt x="880" y="270"/>
                </a:lnTo>
                <a:lnTo>
                  <a:pt x="881" y="265"/>
                </a:lnTo>
                <a:lnTo>
                  <a:pt x="883" y="260"/>
                </a:lnTo>
                <a:lnTo>
                  <a:pt x="886" y="256"/>
                </a:lnTo>
                <a:lnTo>
                  <a:pt x="888" y="252"/>
                </a:lnTo>
                <a:lnTo>
                  <a:pt x="891" y="250"/>
                </a:lnTo>
                <a:lnTo>
                  <a:pt x="894" y="248"/>
                </a:lnTo>
                <a:lnTo>
                  <a:pt x="896" y="246"/>
                </a:lnTo>
                <a:lnTo>
                  <a:pt x="898" y="243"/>
                </a:lnTo>
                <a:lnTo>
                  <a:pt x="898" y="240"/>
                </a:lnTo>
                <a:lnTo>
                  <a:pt x="897" y="238"/>
                </a:lnTo>
                <a:lnTo>
                  <a:pt x="896" y="235"/>
                </a:lnTo>
                <a:lnTo>
                  <a:pt x="895" y="231"/>
                </a:lnTo>
                <a:lnTo>
                  <a:pt x="895" y="226"/>
                </a:lnTo>
                <a:lnTo>
                  <a:pt x="895" y="221"/>
                </a:lnTo>
                <a:lnTo>
                  <a:pt x="896" y="216"/>
                </a:lnTo>
                <a:lnTo>
                  <a:pt x="898" y="212"/>
                </a:lnTo>
                <a:lnTo>
                  <a:pt x="900" y="209"/>
                </a:lnTo>
                <a:lnTo>
                  <a:pt x="902" y="206"/>
                </a:lnTo>
                <a:lnTo>
                  <a:pt x="903" y="204"/>
                </a:lnTo>
                <a:lnTo>
                  <a:pt x="905" y="201"/>
                </a:lnTo>
                <a:lnTo>
                  <a:pt x="903" y="198"/>
                </a:lnTo>
                <a:lnTo>
                  <a:pt x="902" y="196"/>
                </a:lnTo>
                <a:lnTo>
                  <a:pt x="900" y="193"/>
                </a:lnTo>
                <a:lnTo>
                  <a:pt x="898" y="190"/>
                </a:lnTo>
                <a:lnTo>
                  <a:pt x="896" y="185"/>
                </a:lnTo>
                <a:lnTo>
                  <a:pt x="895" y="180"/>
                </a:lnTo>
                <a:lnTo>
                  <a:pt x="894" y="175"/>
                </a:lnTo>
                <a:lnTo>
                  <a:pt x="895" y="171"/>
                </a:lnTo>
                <a:lnTo>
                  <a:pt x="895" y="167"/>
                </a:lnTo>
                <a:lnTo>
                  <a:pt x="897" y="164"/>
                </a:lnTo>
                <a:lnTo>
                  <a:pt x="898" y="161"/>
                </a:lnTo>
                <a:lnTo>
                  <a:pt x="898" y="158"/>
                </a:lnTo>
                <a:lnTo>
                  <a:pt x="896" y="155"/>
                </a:lnTo>
                <a:lnTo>
                  <a:pt x="894" y="154"/>
                </a:lnTo>
                <a:lnTo>
                  <a:pt x="891" y="152"/>
                </a:lnTo>
                <a:lnTo>
                  <a:pt x="836" y="179"/>
                </a:lnTo>
                <a:close/>
                <a:moveTo>
                  <a:pt x="806" y="145"/>
                </a:moveTo>
                <a:lnTo>
                  <a:pt x="813" y="150"/>
                </a:lnTo>
                <a:lnTo>
                  <a:pt x="817" y="154"/>
                </a:lnTo>
                <a:lnTo>
                  <a:pt x="820" y="157"/>
                </a:lnTo>
                <a:lnTo>
                  <a:pt x="879" y="128"/>
                </a:lnTo>
                <a:lnTo>
                  <a:pt x="880" y="125"/>
                </a:lnTo>
                <a:lnTo>
                  <a:pt x="880" y="122"/>
                </a:lnTo>
                <a:lnTo>
                  <a:pt x="879" y="119"/>
                </a:lnTo>
                <a:lnTo>
                  <a:pt x="876" y="117"/>
                </a:lnTo>
                <a:lnTo>
                  <a:pt x="874" y="116"/>
                </a:lnTo>
                <a:lnTo>
                  <a:pt x="871" y="116"/>
                </a:lnTo>
                <a:lnTo>
                  <a:pt x="867" y="114"/>
                </a:lnTo>
                <a:lnTo>
                  <a:pt x="863" y="111"/>
                </a:lnTo>
                <a:lnTo>
                  <a:pt x="860" y="108"/>
                </a:lnTo>
                <a:lnTo>
                  <a:pt x="856" y="104"/>
                </a:lnTo>
                <a:lnTo>
                  <a:pt x="854" y="100"/>
                </a:lnTo>
                <a:lnTo>
                  <a:pt x="852" y="96"/>
                </a:lnTo>
                <a:lnTo>
                  <a:pt x="852" y="93"/>
                </a:lnTo>
                <a:lnTo>
                  <a:pt x="851" y="90"/>
                </a:lnTo>
                <a:lnTo>
                  <a:pt x="849" y="88"/>
                </a:lnTo>
                <a:lnTo>
                  <a:pt x="846" y="87"/>
                </a:lnTo>
                <a:lnTo>
                  <a:pt x="844" y="86"/>
                </a:lnTo>
                <a:lnTo>
                  <a:pt x="841" y="87"/>
                </a:lnTo>
                <a:lnTo>
                  <a:pt x="837" y="86"/>
                </a:lnTo>
                <a:lnTo>
                  <a:pt x="837" y="128"/>
                </a:lnTo>
                <a:lnTo>
                  <a:pt x="837" y="129"/>
                </a:lnTo>
                <a:lnTo>
                  <a:pt x="836" y="130"/>
                </a:lnTo>
                <a:lnTo>
                  <a:pt x="834" y="133"/>
                </a:lnTo>
                <a:lnTo>
                  <a:pt x="830" y="135"/>
                </a:lnTo>
                <a:lnTo>
                  <a:pt x="825" y="138"/>
                </a:lnTo>
                <a:lnTo>
                  <a:pt x="815" y="142"/>
                </a:lnTo>
                <a:lnTo>
                  <a:pt x="806" y="145"/>
                </a:lnTo>
                <a:close/>
                <a:moveTo>
                  <a:pt x="653" y="219"/>
                </a:moveTo>
                <a:lnTo>
                  <a:pt x="654" y="211"/>
                </a:lnTo>
                <a:lnTo>
                  <a:pt x="655" y="203"/>
                </a:lnTo>
                <a:lnTo>
                  <a:pt x="657" y="195"/>
                </a:lnTo>
                <a:lnTo>
                  <a:pt x="659" y="188"/>
                </a:lnTo>
                <a:lnTo>
                  <a:pt x="662" y="180"/>
                </a:lnTo>
                <a:lnTo>
                  <a:pt x="666" y="173"/>
                </a:lnTo>
                <a:lnTo>
                  <a:pt x="670" y="167"/>
                </a:lnTo>
                <a:lnTo>
                  <a:pt x="675" y="161"/>
                </a:lnTo>
                <a:lnTo>
                  <a:pt x="636" y="134"/>
                </a:lnTo>
                <a:lnTo>
                  <a:pt x="633" y="136"/>
                </a:lnTo>
                <a:lnTo>
                  <a:pt x="631" y="137"/>
                </a:lnTo>
                <a:lnTo>
                  <a:pt x="629" y="139"/>
                </a:lnTo>
                <a:lnTo>
                  <a:pt x="628" y="142"/>
                </a:lnTo>
                <a:lnTo>
                  <a:pt x="629" y="145"/>
                </a:lnTo>
                <a:lnTo>
                  <a:pt x="630" y="148"/>
                </a:lnTo>
                <a:lnTo>
                  <a:pt x="630" y="152"/>
                </a:lnTo>
                <a:lnTo>
                  <a:pt x="629" y="157"/>
                </a:lnTo>
                <a:lnTo>
                  <a:pt x="628" y="162"/>
                </a:lnTo>
                <a:lnTo>
                  <a:pt x="627" y="166"/>
                </a:lnTo>
                <a:lnTo>
                  <a:pt x="624" y="170"/>
                </a:lnTo>
                <a:lnTo>
                  <a:pt x="622" y="173"/>
                </a:lnTo>
                <a:lnTo>
                  <a:pt x="620" y="176"/>
                </a:lnTo>
                <a:lnTo>
                  <a:pt x="618" y="178"/>
                </a:lnTo>
                <a:lnTo>
                  <a:pt x="616" y="181"/>
                </a:lnTo>
                <a:lnTo>
                  <a:pt x="616" y="182"/>
                </a:lnTo>
                <a:lnTo>
                  <a:pt x="617" y="184"/>
                </a:lnTo>
                <a:lnTo>
                  <a:pt x="618" y="186"/>
                </a:lnTo>
                <a:lnTo>
                  <a:pt x="620" y="189"/>
                </a:lnTo>
                <a:lnTo>
                  <a:pt x="621" y="192"/>
                </a:lnTo>
                <a:lnTo>
                  <a:pt x="622" y="197"/>
                </a:lnTo>
                <a:lnTo>
                  <a:pt x="622" y="202"/>
                </a:lnTo>
                <a:lnTo>
                  <a:pt x="622" y="207"/>
                </a:lnTo>
                <a:lnTo>
                  <a:pt x="621" y="211"/>
                </a:lnTo>
                <a:lnTo>
                  <a:pt x="620" y="215"/>
                </a:lnTo>
                <a:lnTo>
                  <a:pt x="618" y="218"/>
                </a:lnTo>
                <a:lnTo>
                  <a:pt x="617" y="221"/>
                </a:lnTo>
                <a:lnTo>
                  <a:pt x="616" y="224"/>
                </a:lnTo>
                <a:lnTo>
                  <a:pt x="618" y="227"/>
                </a:lnTo>
                <a:lnTo>
                  <a:pt x="619" y="228"/>
                </a:lnTo>
                <a:lnTo>
                  <a:pt x="622" y="230"/>
                </a:lnTo>
                <a:lnTo>
                  <a:pt x="625" y="234"/>
                </a:lnTo>
                <a:lnTo>
                  <a:pt x="627" y="238"/>
                </a:lnTo>
                <a:lnTo>
                  <a:pt x="629" y="242"/>
                </a:lnTo>
                <a:lnTo>
                  <a:pt x="630" y="247"/>
                </a:lnTo>
                <a:lnTo>
                  <a:pt x="630" y="252"/>
                </a:lnTo>
                <a:lnTo>
                  <a:pt x="630" y="256"/>
                </a:lnTo>
                <a:lnTo>
                  <a:pt x="629" y="259"/>
                </a:lnTo>
                <a:lnTo>
                  <a:pt x="629" y="262"/>
                </a:lnTo>
                <a:lnTo>
                  <a:pt x="629" y="265"/>
                </a:lnTo>
                <a:lnTo>
                  <a:pt x="631" y="267"/>
                </a:lnTo>
                <a:lnTo>
                  <a:pt x="634" y="268"/>
                </a:lnTo>
                <a:lnTo>
                  <a:pt x="637" y="270"/>
                </a:lnTo>
                <a:lnTo>
                  <a:pt x="640" y="272"/>
                </a:lnTo>
                <a:lnTo>
                  <a:pt x="643" y="275"/>
                </a:lnTo>
                <a:lnTo>
                  <a:pt x="647" y="279"/>
                </a:lnTo>
                <a:lnTo>
                  <a:pt x="649" y="283"/>
                </a:lnTo>
                <a:lnTo>
                  <a:pt x="651" y="288"/>
                </a:lnTo>
                <a:lnTo>
                  <a:pt x="652" y="291"/>
                </a:lnTo>
                <a:lnTo>
                  <a:pt x="652" y="295"/>
                </a:lnTo>
                <a:lnTo>
                  <a:pt x="652" y="298"/>
                </a:lnTo>
                <a:lnTo>
                  <a:pt x="654" y="301"/>
                </a:lnTo>
                <a:lnTo>
                  <a:pt x="656" y="302"/>
                </a:lnTo>
                <a:lnTo>
                  <a:pt x="659" y="303"/>
                </a:lnTo>
                <a:lnTo>
                  <a:pt x="662" y="303"/>
                </a:lnTo>
                <a:lnTo>
                  <a:pt x="666" y="304"/>
                </a:lnTo>
                <a:lnTo>
                  <a:pt x="670" y="306"/>
                </a:lnTo>
                <a:lnTo>
                  <a:pt x="675" y="309"/>
                </a:lnTo>
                <a:lnTo>
                  <a:pt x="679" y="313"/>
                </a:lnTo>
                <a:lnTo>
                  <a:pt x="679" y="299"/>
                </a:lnTo>
                <a:lnTo>
                  <a:pt x="692" y="309"/>
                </a:lnTo>
                <a:lnTo>
                  <a:pt x="692" y="304"/>
                </a:lnTo>
                <a:lnTo>
                  <a:pt x="699" y="304"/>
                </a:lnTo>
                <a:lnTo>
                  <a:pt x="699" y="298"/>
                </a:lnTo>
                <a:lnTo>
                  <a:pt x="694" y="295"/>
                </a:lnTo>
                <a:lnTo>
                  <a:pt x="689" y="291"/>
                </a:lnTo>
                <a:lnTo>
                  <a:pt x="680" y="284"/>
                </a:lnTo>
                <a:lnTo>
                  <a:pt x="672" y="275"/>
                </a:lnTo>
                <a:lnTo>
                  <a:pt x="669" y="270"/>
                </a:lnTo>
                <a:lnTo>
                  <a:pt x="666" y="265"/>
                </a:lnTo>
                <a:lnTo>
                  <a:pt x="663" y="260"/>
                </a:lnTo>
                <a:lnTo>
                  <a:pt x="660" y="255"/>
                </a:lnTo>
                <a:lnTo>
                  <a:pt x="656" y="243"/>
                </a:lnTo>
                <a:lnTo>
                  <a:pt x="655" y="238"/>
                </a:lnTo>
                <a:lnTo>
                  <a:pt x="654" y="232"/>
                </a:lnTo>
                <a:lnTo>
                  <a:pt x="653" y="225"/>
                </a:lnTo>
                <a:lnTo>
                  <a:pt x="653" y="219"/>
                </a:lnTo>
                <a:close/>
                <a:moveTo>
                  <a:pt x="1140" y="608"/>
                </a:moveTo>
                <a:lnTo>
                  <a:pt x="1133" y="615"/>
                </a:lnTo>
                <a:lnTo>
                  <a:pt x="1125" y="620"/>
                </a:lnTo>
                <a:lnTo>
                  <a:pt x="1117" y="625"/>
                </a:lnTo>
                <a:lnTo>
                  <a:pt x="1108" y="629"/>
                </a:lnTo>
                <a:lnTo>
                  <a:pt x="1099" y="633"/>
                </a:lnTo>
                <a:lnTo>
                  <a:pt x="1089" y="635"/>
                </a:lnTo>
                <a:lnTo>
                  <a:pt x="1084" y="636"/>
                </a:lnTo>
                <a:lnTo>
                  <a:pt x="1079" y="636"/>
                </a:lnTo>
                <a:lnTo>
                  <a:pt x="1069" y="637"/>
                </a:lnTo>
                <a:lnTo>
                  <a:pt x="1063" y="637"/>
                </a:lnTo>
                <a:lnTo>
                  <a:pt x="1057" y="636"/>
                </a:lnTo>
                <a:lnTo>
                  <a:pt x="1045" y="634"/>
                </a:lnTo>
                <a:lnTo>
                  <a:pt x="1034" y="631"/>
                </a:lnTo>
                <a:lnTo>
                  <a:pt x="1024" y="626"/>
                </a:lnTo>
                <a:lnTo>
                  <a:pt x="1014" y="621"/>
                </a:lnTo>
                <a:lnTo>
                  <a:pt x="1009" y="618"/>
                </a:lnTo>
                <a:lnTo>
                  <a:pt x="1005" y="614"/>
                </a:lnTo>
                <a:lnTo>
                  <a:pt x="997" y="607"/>
                </a:lnTo>
                <a:lnTo>
                  <a:pt x="989" y="598"/>
                </a:lnTo>
                <a:lnTo>
                  <a:pt x="965" y="609"/>
                </a:lnTo>
                <a:lnTo>
                  <a:pt x="965" y="612"/>
                </a:lnTo>
                <a:lnTo>
                  <a:pt x="965" y="615"/>
                </a:lnTo>
                <a:lnTo>
                  <a:pt x="965" y="618"/>
                </a:lnTo>
                <a:lnTo>
                  <a:pt x="968" y="620"/>
                </a:lnTo>
                <a:lnTo>
                  <a:pt x="970" y="621"/>
                </a:lnTo>
                <a:lnTo>
                  <a:pt x="972" y="621"/>
                </a:lnTo>
                <a:lnTo>
                  <a:pt x="973" y="622"/>
                </a:lnTo>
                <a:lnTo>
                  <a:pt x="977" y="624"/>
                </a:lnTo>
                <a:lnTo>
                  <a:pt x="981" y="627"/>
                </a:lnTo>
                <a:lnTo>
                  <a:pt x="983" y="628"/>
                </a:lnTo>
                <a:lnTo>
                  <a:pt x="984" y="630"/>
                </a:lnTo>
                <a:lnTo>
                  <a:pt x="986" y="632"/>
                </a:lnTo>
                <a:lnTo>
                  <a:pt x="987" y="634"/>
                </a:lnTo>
                <a:lnTo>
                  <a:pt x="989" y="636"/>
                </a:lnTo>
                <a:lnTo>
                  <a:pt x="990" y="638"/>
                </a:lnTo>
                <a:lnTo>
                  <a:pt x="991" y="642"/>
                </a:lnTo>
                <a:lnTo>
                  <a:pt x="992" y="645"/>
                </a:lnTo>
                <a:lnTo>
                  <a:pt x="992" y="648"/>
                </a:lnTo>
                <a:lnTo>
                  <a:pt x="994" y="651"/>
                </a:lnTo>
                <a:lnTo>
                  <a:pt x="997" y="652"/>
                </a:lnTo>
                <a:lnTo>
                  <a:pt x="999" y="652"/>
                </a:lnTo>
                <a:lnTo>
                  <a:pt x="1003" y="652"/>
                </a:lnTo>
                <a:lnTo>
                  <a:pt x="1007" y="653"/>
                </a:lnTo>
                <a:lnTo>
                  <a:pt x="1011" y="654"/>
                </a:lnTo>
                <a:lnTo>
                  <a:pt x="1016" y="657"/>
                </a:lnTo>
                <a:lnTo>
                  <a:pt x="1020" y="660"/>
                </a:lnTo>
                <a:lnTo>
                  <a:pt x="1023" y="663"/>
                </a:lnTo>
                <a:lnTo>
                  <a:pt x="1025" y="666"/>
                </a:lnTo>
                <a:lnTo>
                  <a:pt x="1027" y="669"/>
                </a:lnTo>
                <a:lnTo>
                  <a:pt x="1028" y="671"/>
                </a:lnTo>
                <a:lnTo>
                  <a:pt x="1031" y="673"/>
                </a:lnTo>
                <a:lnTo>
                  <a:pt x="1034" y="674"/>
                </a:lnTo>
                <a:lnTo>
                  <a:pt x="1036" y="673"/>
                </a:lnTo>
                <a:lnTo>
                  <a:pt x="1039" y="672"/>
                </a:lnTo>
                <a:lnTo>
                  <a:pt x="1043" y="672"/>
                </a:lnTo>
                <a:lnTo>
                  <a:pt x="1048" y="672"/>
                </a:lnTo>
                <a:lnTo>
                  <a:pt x="1053" y="673"/>
                </a:lnTo>
                <a:lnTo>
                  <a:pt x="1058" y="674"/>
                </a:lnTo>
                <a:lnTo>
                  <a:pt x="1062" y="676"/>
                </a:lnTo>
                <a:lnTo>
                  <a:pt x="1065" y="679"/>
                </a:lnTo>
                <a:lnTo>
                  <a:pt x="1066" y="680"/>
                </a:lnTo>
                <a:lnTo>
                  <a:pt x="1067" y="681"/>
                </a:lnTo>
                <a:lnTo>
                  <a:pt x="1069" y="683"/>
                </a:lnTo>
                <a:lnTo>
                  <a:pt x="1072" y="684"/>
                </a:lnTo>
                <a:lnTo>
                  <a:pt x="1076" y="684"/>
                </a:lnTo>
                <a:lnTo>
                  <a:pt x="1078" y="682"/>
                </a:lnTo>
                <a:lnTo>
                  <a:pt x="1080" y="680"/>
                </a:lnTo>
                <a:lnTo>
                  <a:pt x="1084" y="679"/>
                </a:lnTo>
                <a:lnTo>
                  <a:pt x="1089" y="678"/>
                </a:lnTo>
                <a:lnTo>
                  <a:pt x="1094" y="677"/>
                </a:lnTo>
                <a:lnTo>
                  <a:pt x="1099" y="677"/>
                </a:lnTo>
                <a:lnTo>
                  <a:pt x="1103" y="678"/>
                </a:lnTo>
                <a:lnTo>
                  <a:pt x="1107" y="679"/>
                </a:lnTo>
                <a:lnTo>
                  <a:pt x="1110" y="681"/>
                </a:lnTo>
                <a:lnTo>
                  <a:pt x="1112" y="682"/>
                </a:lnTo>
                <a:lnTo>
                  <a:pt x="1116" y="682"/>
                </a:lnTo>
                <a:lnTo>
                  <a:pt x="1118" y="681"/>
                </a:lnTo>
                <a:lnTo>
                  <a:pt x="1120" y="679"/>
                </a:lnTo>
                <a:lnTo>
                  <a:pt x="1122" y="676"/>
                </a:lnTo>
                <a:lnTo>
                  <a:pt x="1125" y="674"/>
                </a:lnTo>
                <a:lnTo>
                  <a:pt x="1129" y="671"/>
                </a:lnTo>
                <a:lnTo>
                  <a:pt x="1134" y="669"/>
                </a:lnTo>
                <a:lnTo>
                  <a:pt x="1139" y="668"/>
                </a:lnTo>
                <a:lnTo>
                  <a:pt x="1143" y="667"/>
                </a:lnTo>
                <a:lnTo>
                  <a:pt x="1147" y="667"/>
                </a:lnTo>
                <a:lnTo>
                  <a:pt x="1150" y="668"/>
                </a:lnTo>
                <a:lnTo>
                  <a:pt x="1153" y="668"/>
                </a:lnTo>
                <a:lnTo>
                  <a:pt x="1156" y="668"/>
                </a:lnTo>
                <a:lnTo>
                  <a:pt x="1158" y="665"/>
                </a:lnTo>
                <a:lnTo>
                  <a:pt x="1160" y="663"/>
                </a:lnTo>
                <a:lnTo>
                  <a:pt x="1161" y="660"/>
                </a:lnTo>
                <a:lnTo>
                  <a:pt x="1163" y="657"/>
                </a:lnTo>
                <a:lnTo>
                  <a:pt x="1166" y="653"/>
                </a:lnTo>
                <a:lnTo>
                  <a:pt x="1170" y="650"/>
                </a:lnTo>
                <a:lnTo>
                  <a:pt x="1175" y="646"/>
                </a:lnTo>
                <a:lnTo>
                  <a:pt x="1152" y="647"/>
                </a:lnTo>
                <a:lnTo>
                  <a:pt x="1150" y="644"/>
                </a:lnTo>
                <a:lnTo>
                  <a:pt x="1146" y="636"/>
                </a:lnTo>
                <a:lnTo>
                  <a:pt x="1143" y="631"/>
                </a:lnTo>
                <a:lnTo>
                  <a:pt x="1141" y="624"/>
                </a:lnTo>
                <a:lnTo>
                  <a:pt x="1140" y="617"/>
                </a:lnTo>
                <a:lnTo>
                  <a:pt x="1140" y="608"/>
                </a:lnTo>
                <a:close/>
                <a:moveTo>
                  <a:pt x="1109" y="459"/>
                </a:moveTo>
                <a:lnTo>
                  <a:pt x="1118" y="463"/>
                </a:lnTo>
                <a:lnTo>
                  <a:pt x="1126" y="468"/>
                </a:lnTo>
                <a:lnTo>
                  <a:pt x="1133" y="474"/>
                </a:lnTo>
                <a:lnTo>
                  <a:pt x="1137" y="477"/>
                </a:lnTo>
                <a:lnTo>
                  <a:pt x="1140" y="480"/>
                </a:lnTo>
                <a:lnTo>
                  <a:pt x="1143" y="473"/>
                </a:lnTo>
                <a:lnTo>
                  <a:pt x="1145" y="469"/>
                </a:lnTo>
                <a:lnTo>
                  <a:pt x="1147" y="466"/>
                </a:lnTo>
                <a:lnTo>
                  <a:pt x="1149" y="463"/>
                </a:lnTo>
                <a:lnTo>
                  <a:pt x="1151" y="460"/>
                </a:lnTo>
                <a:lnTo>
                  <a:pt x="1153" y="459"/>
                </a:lnTo>
                <a:lnTo>
                  <a:pt x="1155" y="458"/>
                </a:lnTo>
                <a:lnTo>
                  <a:pt x="1199" y="458"/>
                </a:lnTo>
                <a:lnTo>
                  <a:pt x="1198" y="454"/>
                </a:lnTo>
                <a:lnTo>
                  <a:pt x="1198" y="451"/>
                </a:lnTo>
                <a:lnTo>
                  <a:pt x="1198" y="448"/>
                </a:lnTo>
                <a:lnTo>
                  <a:pt x="1197" y="446"/>
                </a:lnTo>
                <a:lnTo>
                  <a:pt x="1197" y="445"/>
                </a:lnTo>
                <a:lnTo>
                  <a:pt x="1194" y="443"/>
                </a:lnTo>
                <a:lnTo>
                  <a:pt x="1192" y="443"/>
                </a:lnTo>
                <a:lnTo>
                  <a:pt x="1190" y="442"/>
                </a:lnTo>
                <a:lnTo>
                  <a:pt x="1188" y="442"/>
                </a:lnTo>
                <a:lnTo>
                  <a:pt x="1184" y="441"/>
                </a:lnTo>
                <a:lnTo>
                  <a:pt x="1180" y="439"/>
                </a:lnTo>
                <a:lnTo>
                  <a:pt x="1176" y="436"/>
                </a:lnTo>
                <a:lnTo>
                  <a:pt x="1173" y="432"/>
                </a:lnTo>
                <a:lnTo>
                  <a:pt x="1170" y="429"/>
                </a:lnTo>
                <a:lnTo>
                  <a:pt x="1168" y="425"/>
                </a:lnTo>
                <a:lnTo>
                  <a:pt x="1167" y="422"/>
                </a:lnTo>
                <a:lnTo>
                  <a:pt x="1166" y="419"/>
                </a:lnTo>
                <a:lnTo>
                  <a:pt x="1164" y="417"/>
                </a:lnTo>
                <a:lnTo>
                  <a:pt x="1161" y="416"/>
                </a:lnTo>
                <a:lnTo>
                  <a:pt x="1158" y="416"/>
                </a:lnTo>
                <a:lnTo>
                  <a:pt x="1155" y="417"/>
                </a:lnTo>
                <a:lnTo>
                  <a:pt x="1151" y="417"/>
                </a:lnTo>
                <a:lnTo>
                  <a:pt x="1146" y="416"/>
                </a:lnTo>
                <a:lnTo>
                  <a:pt x="1141" y="414"/>
                </a:lnTo>
                <a:lnTo>
                  <a:pt x="1137" y="412"/>
                </a:lnTo>
                <a:lnTo>
                  <a:pt x="1133" y="409"/>
                </a:lnTo>
                <a:lnTo>
                  <a:pt x="1130" y="407"/>
                </a:lnTo>
                <a:lnTo>
                  <a:pt x="1129" y="404"/>
                </a:lnTo>
                <a:lnTo>
                  <a:pt x="1127" y="402"/>
                </a:lnTo>
                <a:lnTo>
                  <a:pt x="1124" y="400"/>
                </a:lnTo>
                <a:lnTo>
                  <a:pt x="1121" y="400"/>
                </a:lnTo>
                <a:lnTo>
                  <a:pt x="1119" y="401"/>
                </a:lnTo>
                <a:lnTo>
                  <a:pt x="1115" y="403"/>
                </a:lnTo>
                <a:lnTo>
                  <a:pt x="1109" y="459"/>
                </a:lnTo>
                <a:close/>
                <a:moveTo>
                  <a:pt x="989" y="490"/>
                </a:moveTo>
                <a:lnTo>
                  <a:pt x="992" y="486"/>
                </a:lnTo>
                <a:lnTo>
                  <a:pt x="996" y="482"/>
                </a:lnTo>
                <a:lnTo>
                  <a:pt x="1000" y="478"/>
                </a:lnTo>
                <a:lnTo>
                  <a:pt x="1004" y="474"/>
                </a:lnTo>
                <a:lnTo>
                  <a:pt x="1013" y="467"/>
                </a:lnTo>
                <a:lnTo>
                  <a:pt x="1023" y="462"/>
                </a:lnTo>
                <a:lnTo>
                  <a:pt x="1028" y="459"/>
                </a:lnTo>
                <a:lnTo>
                  <a:pt x="1034" y="457"/>
                </a:lnTo>
                <a:lnTo>
                  <a:pt x="1045" y="454"/>
                </a:lnTo>
                <a:lnTo>
                  <a:pt x="1051" y="452"/>
                </a:lnTo>
                <a:lnTo>
                  <a:pt x="1057" y="452"/>
                </a:lnTo>
                <a:lnTo>
                  <a:pt x="1069" y="451"/>
                </a:lnTo>
                <a:lnTo>
                  <a:pt x="1076" y="451"/>
                </a:lnTo>
                <a:lnTo>
                  <a:pt x="1083" y="452"/>
                </a:lnTo>
                <a:lnTo>
                  <a:pt x="1089" y="400"/>
                </a:lnTo>
                <a:lnTo>
                  <a:pt x="1087" y="398"/>
                </a:lnTo>
                <a:lnTo>
                  <a:pt x="1084" y="396"/>
                </a:lnTo>
                <a:lnTo>
                  <a:pt x="1081" y="395"/>
                </a:lnTo>
                <a:lnTo>
                  <a:pt x="1078" y="396"/>
                </a:lnTo>
                <a:lnTo>
                  <a:pt x="1076" y="398"/>
                </a:lnTo>
                <a:lnTo>
                  <a:pt x="1074" y="400"/>
                </a:lnTo>
                <a:lnTo>
                  <a:pt x="1070" y="402"/>
                </a:lnTo>
                <a:lnTo>
                  <a:pt x="1066" y="404"/>
                </a:lnTo>
                <a:lnTo>
                  <a:pt x="1061" y="406"/>
                </a:lnTo>
                <a:lnTo>
                  <a:pt x="1056" y="406"/>
                </a:lnTo>
                <a:lnTo>
                  <a:pt x="1052" y="406"/>
                </a:lnTo>
                <a:lnTo>
                  <a:pt x="1048" y="406"/>
                </a:lnTo>
                <a:lnTo>
                  <a:pt x="1045" y="404"/>
                </a:lnTo>
                <a:lnTo>
                  <a:pt x="1042" y="404"/>
                </a:lnTo>
                <a:lnTo>
                  <a:pt x="1039" y="404"/>
                </a:lnTo>
                <a:lnTo>
                  <a:pt x="1036" y="406"/>
                </a:lnTo>
                <a:lnTo>
                  <a:pt x="1035" y="408"/>
                </a:lnTo>
                <a:lnTo>
                  <a:pt x="1033" y="411"/>
                </a:lnTo>
                <a:lnTo>
                  <a:pt x="1031" y="414"/>
                </a:lnTo>
                <a:lnTo>
                  <a:pt x="1027" y="417"/>
                </a:lnTo>
                <a:lnTo>
                  <a:pt x="1023" y="419"/>
                </a:lnTo>
                <a:lnTo>
                  <a:pt x="1018" y="421"/>
                </a:lnTo>
                <a:lnTo>
                  <a:pt x="1014" y="423"/>
                </a:lnTo>
                <a:lnTo>
                  <a:pt x="1010" y="423"/>
                </a:lnTo>
                <a:lnTo>
                  <a:pt x="1007" y="423"/>
                </a:lnTo>
                <a:lnTo>
                  <a:pt x="1004" y="423"/>
                </a:lnTo>
                <a:lnTo>
                  <a:pt x="1001" y="424"/>
                </a:lnTo>
                <a:lnTo>
                  <a:pt x="999" y="427"/>
                </a:lnTo>
                <a:lnTo>
                  <a:pt x="998" y="429"/>
                </a:lnTo>
                <a:lnTo>
                  <a:pt x="997" y="432"/>
                </a:lnTo>
                <a:lnTo>
                  <a:pt x="996" y="436"/>
                </a:lnTo>
                <a:lnTo>
                  <a:pt x="993" y="440"/>
                </a:lnTo>
                <a:lnTo>
                  <a:pt x="990" y="444"/>
                </a:lnTo>
                <a:lnTo>
                  <a:pt x="986" y="447"/>
                </a:lnTo>
                <a:lnTo>
                  <a:pt x="983" y="450"/>
                </a:lnTo>
                <a:lnTo>
                  <a:pt x="979" y="451"/>
                </a:lnTo>
                <a:lnTo>
                  <a:pt x="976" y="452"/>
                </a:lnTo>
                <a:lnTo>
                  <a:pt x="973" y="453"/>
                </a:lnTo>
                <a:lnTo>
                  <a:pt x="970" y="455"/>
                </a:lnTo>
                <a:lnTo>
                  <a:pt x="969" y="458"/>
                </a:lnTo>
                <a:lnTo>
                  <a:pt x="969" y="460"/>
                </a:lnTo>
                <a:lnTo>
                  <a:pt x="970" y="462"/>
                </a:lnTo>
                <a:lnTo>
                  <a:pt x="970" y="464"/>
                </a:lnTo>
                <a:lnTo>
                  <a:pt x="969" y="468"/>
                </a:lnTo>
                <a:lnTo>
                  <a:pt x="968" y="472"/>
                </a:lnTo>
                <a:lnTo>
                  <a:pt x="966" y="477"/>
                </a:lnTo>
                <a:lnTo>
                  <a:pt x="963" y="481"/>
                </a:lnTo>
                <a:lnTo>
                  <a:pt x="961" y="485"/>
                </a:lnTo>
                <a:lnTo>
                  <a:pt x="958" y="487"/>
                </a:lnTo>
                <a:lnTo>
                  <a:pt x="955" y="489"/>
                </a:lnTo>
                <a:lnTo>
                  <a:pt x="953" y="490"/>
                </a:lnTo>
                <a:lnTo>
                  <a:pt x="989" y="490"/>
                </a:lnTo>
                <a:close/>
                <a:moveTo>
                  <a:pt x="381" y="1470"/>
                </a:moveTo>
                <a:lnTo>
                  <a:pt x="381" y="1464"/>
                </a:lnTo>
                <a:lnTo>
                  <a:pt x="358" y="1464"/>
                </a:lnTo>
                <a:lnTo>
                  <a:pt x="355" y="1470"/>
                </a:lnTo>
                <a:lnTo>
                  <a:pt x="348" y="1483"/>
                </a:lnTo>
                <a:lnTo>
                  <a:pt x="343" y="1491"/>
                </a:lnTo>
                <a:lnTo>
                  <a:pt x="338" y="1498"/>
                </a:lnTo>
                <a:lnTo>
                  <a:pt x="333" y="1504"/>
                </a:lnTo>
                <a:lnTo>
                  <a:pt x="331" y="1506"/>
                </a:lnTo>
                <a:lnTo>
                  <a:pt x="328" y="1508"/>
                </a:lnTo>
                <a:lnTo>
                  <a:pt x="323" y="1510"/>
                </a:lnTo>
                <a:lnTo>
                  <a:pt x="318" y="1512"/>
                </a:lnTo>
                <a:lnTo>
                  <a:pt x="313" y="1513"/>
                </a:lnTo>
                <a:lnTo>
                  <a:pt x="308" y="1515"/>
                </a:lnTo>
                <a:lnTo>
                  <a:pt x="297" y="1516"/>
                </a:lnTo>
                <a:lnTo>
                  <a:pt x="294" y="1519"/>
                </a:lnTo>
                <a:lnTo>
                  <a:pt x="290" y="1521"/>
                </a:lnTo>
                <a:lnTo>
                  <a:pt x="285" y="1522"/>
                </a:lnTo>
                <a:lnTo>
                  <a:pt x="282" y="1526"/>
                </a:lnTo>
                <a:lnTo>
                  <a:pt x="279" y="1530"/>
                </a:lnTo>
                <a:lnTo>
                  <a:pt x="277" y="1532"/>
                </a:lnTo>
                <a:lnTo>
                  <a:pt x="274" y="1534"/>
                </a:lnTo>
                <a:lnTo>
                  <a:pt x="268" y="1538"/>
                </a:lnTo>
                <a:lnTo>
                  <a:pt x="265" y="1540"/>
                </a:lnTo>
                <a:lnTo>
                  <a:pt x="262" y="1542"/>
                </a:lnTo>
                <a:lnTo>
                  <a:pt x="254" y="1545"/>
                </a:lnTo>
                <a:lnTo>
                  <a:pt x="250" y="1546"/>
                </a:lnTo>
                <a:lnTo>
                  <a:pt x="246" y="1546"/>
                </a:lnTo>
                <a:lnTo>
                  <a:pt x="231" y="1630"/>
                </a:lnTo>
                <a:lnTo>
                  <a:pt x="233" y="1632"/>
                </a:lnTo>
                <a:lnTo>
                  <a:pt x="236" y="1634"/>
                </a:lnTo>
                <a:lnTo>
                  <a:pt x="239" y="1635"/>
                </a:lnTo>
                <a:lnTo>
                  <a:pt x="242" y="1634"/>
                </a:lnTo>
                <a:lnTo>
                  <a:pt x="244" y="1633"/>
                </a:lnTo>
                <a:lnTo>
                  <a:pt x="246" y="1631"/>
                </a:lnTo>
                <a:lnTo>
                  <a:pt x="250" y="1629"/>
                </a:lnTo>
                <a:lnTo>
                  <a:pt x="254" y="1627"/>
                </a:lnTo>
                <a:lnTo>
                  <a:pt x="259" y="1626"/>
                </a:lnTo>
                <a:lnTo>
                  <a:pt x="264" y="1626"/>
                </a:lnTo>
                <a:lnTo>
                  <a:pt x="269" y="1626"/>
                </a:lnTo>
                <a:lnTo>
                  <a:pt x="273" y="1627"/>
                </a:lnTo>
                <a:lnTo>
                  <a:pt x="274" y="1628"/>
                </a:lnTo>
                <a:lnTo>
                  <a:pt x="276" y="1628"/>
                </a:lnTo>
                <a:lnTo>
                  <a:pt x="278" y="1629"/>
                </a:lnTo>
                <a:lnTo>
                  <a:pt x="282" y="1630"/>
                </a:lnTo>
                <a:lnTo>
                  <a:pt x="284" y="1628"/>
                </a:lnTo>
                <a:lnTo>
                  <a:pt x="286" y="1626"/>
                </a:lnTo>
                <a:lnTo>
                  <a:pt x="288" y="1623"/>
                </a:lnTo>
                <a:lnTo>
                  <a:pt x="290" y="1620"/>
                </a:lnTo>
                <a:lnTo>
                  <a:pt x="294" y="1617"/>
                </a:lnTo>
                <a:lnTo>
                  <a:pt x="299" y="1615"/>
                </a:lnTo>
                <a:lnTo>
                  <a:pt x="303" y="1613"/>
                </a:lnTo>
                <a:lnTo>
                  <a:pt x="308" y="1612"/>
                </a:lnTo>
                <a:lnTo>
                  <a:pt x="312" y="1612"/>
                </a:lnTo>
                <a:lnTo>
                  <a:pt x="315" y="1612"/>
                </a:lnTo>
                <a:lnTo>
                  <a:pt x="318" y="1613"/>
                </a:lnTo>
                <a:lnTo>
                  <a:pt x="321" y="1612"/>
                </a:lnTo>
                <a:lnTo>
                  <a:pt x="323" y="1609"/>
                </a:lnTo>
                <a:lnTo>
                  <a:pt x="324" y="1607"/>
                </a:lnTo>
                <a:lnTo>
                  <a:pt x="325" y="1604"/>
                </a:lnTo>
                <a:lnTo>
                  <a:pt x="327" y="1600"/>
                </a:lnTo>
                <a:lnTo>
                  <a:pt x="329" y="1597"/>
                </a:lnTo>
                <a:lnTo>
                  <a:pt x="333" y="1593"/>
                </a:lnTo>
                <a:lnTo>
                  <a:pt x="335" y="1591"/>
                </a:lnTo>
                <a:lnTo>
                  <a:pt x="337" y="1590"/>
                </a:lnTo>
                <a:lnTo>
                  <a:pt x="339" y="1589"/>
                </a:lnTo>
                <a:lnTo>
                  <a:pt x="341" y="1588"/>
                </a:lnTo>
                <a:lnTo>
                  <a:pt x="344" y="1586"/>
                </a:lnTo>
                <a:lnTo>
                  <a:pt x="348" y="1586"/>
                </a:lnTo>
                <a:lnTo>
                  <a:pt x="351" y="1585"/>
                </a:lnTo>
                <a:lnTo>
                  <a:pt x="353" y="1583"/>
                </a:lnTo>
                <a:lnTo>
                  <a:pt x="354" y="1580"/>
                </a:lnTo>
                <a:lnTo>
                  <a:pt x="355" y="1578"/>
                </a:lnTo>
                <a:lnTo>
                  <a:pt x="355" y="1574"/>
                </a:lnTo>
                <a:lnTo>
                  <a:pt x="355" y="1571"/>
                </a:lnTo>
                <a:lnTo>
                  <a:pt x="357" y="1566"/>
                </a:lnTo>
                <a:lnTo>
                  <a:pt x="359" y="1562"/>
                </a:lnTo>
                <a:lnTo>
                  <a:pt x="362" y="1558"/>
                </a:lnTo>
                <a:lnTo>
                  <a:pt x="365" y="1554"/>
                </a:lnTo>
                <a:lnTo>
                  <a:pt x="368" y="1552"/>
                </a:lnTo>
                <a:lnTo>
                  <a:pt x="371" y="1550"/>
                </a:lnTo>
                <a:lnTo>
                  <a:pt x="374" y="1549"/>
                </a:lnTo>
                <a:lnTo>
                  <a:pt x="376" y="1546"/>
                </a:lnTo>
                <a:lnTo>
                  <a:pt x="376" y="1543"/>
                </a:lnTo>
                <a:lnTo>
                  <a:pt x="376" y="1541"/>
                </a:lnTo>
                <a:lnTo>
                  <a:pt x="374" y="1538"/>
                </a:lnTo>
                <a:lnTo>
                  <a:pt x="374" y="1534"/>
                </a:lnTo>
                <a:lnTo>
                  <a:pt x="374" y="1529"/>
                </a:lnTo>
                <a:lnTo>
                  <a:pt x="375" y="1524"/>
                </a:lnTo>
                <a:lnTo>
                  <a:pt x="377" y="1519"/>
                </a:lnTo>
                <a:lnTo>
                  <a:pt x="379" y="1515"/>
                </a:lnTo>
                <a:lnTo>
                  <a:pt x="381" y="1512"/>
                </a:lnTo>
                <a:lnTo>
                  <a:pt x="382" y="1511"/>
                </a:lnTo>
                <a:lnTo>
                  <a:pt x="383" y="1510"/>
                </a:lnTo>
                <a:lnTo>
                  <a:pt x="385" y="1507"/>
                </a:lnTo>
                <a:lnTo>
                  <a:pt x="387" y="1505"/>
                </a:lnTo>
                <a:lnTo>
                  <a:pt x="386" y="1501"/>
                </a:lnTo>
                <a:lnTo>
                  <a:pt x="385" y="1499"/>
                </a:lnTo>
                <a:lnTo>
                  <a:pt x="383" y="1497"/>
                </a:lnTo>
                <a:lnTo>
                  <a:pt x="381" y="1493"/>
                </a:lnTo>
                <a:lnTo>
                  <a:pt x="380" y="1488"/>
                </a:lnTo>
                <a:lnTo>
                  <a:pt x="379" y="1483"/>
                </a:lnTo>
                <a:lnTo>
                  <a:pt x="379" y="1479"/>
                </a:lnTo>
                <a:lnTo>
                  <a:pt x="380" y="1476"/>
                </a:lnTo>
                <a:lnTo>
                  <a:pt x="380" y="1473"/>
                </a:lnTo>
                <a:lnTo>
                  <a:pt x="381" y="1470"/>
                </a:lnTo>
                <a:close/>
                <a:moveTo>
                  <a:pt x="1201" y="1513"/>
                </a:moveTo>
                <a:lnTo>
                  <a:pt x="1192" y="1512"/>
                </a:lnTo>
                <a:lnTo>
                  <a:pt x="1186" y="1510"/>
                </a:lnTo>
                <a:lnTo>
                  <a:pt x="1179" y="1508"/>
                </a:lnTo>
                <a:lnTo>
                  <a:pt x="1172" y="1506"/>
                </a:lnTo>
                <a:lnTo>
                  <a:pt x="1165" y="1502"/>
                </a:lnTo>
                <a:lnTo>
                  <a:pt x="1159" y="1497"/>
                </a:lnTo>
                <a:lnTo>
                  <a:pt x="1156" y="1494"/>
                </a:lnTo>
                <a:lnTo>
                  <a:pt x="1152" y="1491"/>
                </a:lnTo>
                <a:lnTo>
                  <a:pt x="1147" y="1485"/>
                </a:lnTo>
                <a:lnTo>
                  <a:pt x="1143" y="1478"/>
                </a:lnTo>
                <a:lnTo>
                  <a:pt x="1138" y="1471"/>
                </a:lnTo>
                <a:lnTo>
                  <a:pt x="1135" y="1464"/>
                </a:lnTo>
                <a:lnTo>
                  <a:pt x="1132" y="1457"/>
                </a:lnTo>
                <a:lnTo>
                  <a:pt x="1130" y="1451"/>
                </a:lnTo>
                <a:lnTo>
                  <a:pt x="1126" y="1440"/>
                </a:lnTo>
                <a:lnTo>
                  <a:pt x="1125" y="1440"/>
                </a:lnTo>
                <a:lnTo>
                  <a:pt x="1123" y="1442"/>
                </a:lnTo>
                <a:lnTo>
                  <a:pt x="1121" y="1444"/>
                </a:lnTo>
                <a:lnTo>
                  <a:pt x="1122" y="1447"/>
                </a:lnTo>
                <a:lnTo>
                  <a:pt x="1122" y="1450"/>
                </a:lnTo>
                <a:lnTo>
                  <a:pt x="1124" y="1452"/>
                </a:lnTo>
                <a:lnTo>
                  <a:pt x="1125" y="1456"/>
                </a:lnTo>
                <a:lnTo>
                  <a:pt x="1125" y="1460"/>
                </a:lnTo>
                <a:lnTo>
                  <a:pt x="1125" y="1465"/>
                </a:lnTo>
                <a:lnTo>
                  <a:pt x="1124" y="1470"/>
                </a:lnTo>
                <a:lnTo>
                  <a:pt x="1122" y="1474"/>
                </a:lnTo>
                <a:lnTo>
                  <a:pt x="1121" y="1477"/>
                </a:lnTo>
                <a:lnTo>
                  <a:pt x="1119" y="1479"/>
                </a:lnTo>
                <a:lnTo>
                  <a:pt x="1118" y="1480"/>
                </a:lnTo>
                <a:lnTo>
                  <a:pt x="1117" y="1482"/>
                </a:lnTo>
                <a:lnTo>
                  <a:pt x="1116" y="1484"/>
                </a:lnTo>
                <a:lnTo>
                  <a:pt x="1117" y="1487"/>
                </a:lnTo>
                <a:lnTo>
                  <a:pt x="1119" y="1489"/>
                </a:lnTo>
                <a:lnTo>
                  <a:pt x="1121" y="1491"/>
                </a:lnTo>
                <a:lnTo>
                  <a:pt x="1123" y="1495"/>
                </a:lnTo>
                <a:lnTo>
                  <a:pt x="1124" y="1497"/>
                </a:lnTo>
                <a:lnTo>
                  <a:pt x="1124" y="1499"/>
                </a:lnTo>
                <a:lnTo>
                  <a:pt x="1125" y="1503"/>
                </a:lnTo>
                <a:lnTo>
                  <a:pt x="1126" y="1508"/>
                </a:lnTo>
                <a:lnTo>
                  <a:pt x="1126" y="1512"/>
                </a:lnTo>
                <a:lnTo>
                  <a:pt x="1125" y="1516"/>
                </a:lnTo>
                <a:lnTo>
                  <a:pt x="1124" y="1519"/>
                </a:lnTo>
                <a:lnTo>
                  <a:pt x="1123" y="1520"/>
                </a:lnTo>
                <a:lnTo>
                  <a:pt x="1123" y="1521"/>
                </a:lnTo>
                <a:lnTo>
                  <a:pt x="1123" y="1524"/>
                </a:lnTo>
                <a:lnTo>
                  <a:pt x="1125" y="1526"/>
                </a:lnTo>
                <a:lnTo>
                  <a:pt x="1127" y="1528"/>
                </a:lnTo>
                <a:lnTo>
                  <a:pt x="1129" y="1529"/>
                </a:lnTo>
                <a:lnTo>
                  <a:pt x="1132" y="1532"/>
                </a:lnTo>
                <a:lnTo>
                  <a:pt x="1135" y="1535"/>
                </a:lnTo>
                <a:lnTo>
                  <a:pt x="1137" y="1539"/>
                </a:lnTo>
                <a:lnTo>
                  <a:pt x="1139" y="1544"/>
                </a:lnTo>
                <a:lnTo>
                  <a:pt x="1140" y="1548"/>
                </a:lnTo>
                <a:lnTo>
                  <a:pt x="1141" y="1551"/>
                </a:lnTo>
                <a:lnTo>
                  <a:pt x="1140" y="1554"/>
                </a:lnTo>
                <a:lnTo>
                  <a:pt x="1140" y="1557"/>
                </a:lnTo>
                <a:lnTo>
                  <a:pt x="1141" y="1560"/>
                </a:lnTo>
                <a:lnTo>
                  <a:pt x="1144" y="1562"/>
                </a:lnTo>
                <a:lnTo>
                  <a:pt x="1146" y="1563"/>
                </a:lnTo>
                <a:lnTo>
                  <a:pt x="1149" y="1563"/>
                </a:lnTo>
                <a:lnTo>
                  <a:pt x="1201" y="1513"/>
                </a:lnTo>
                <a:close/>
                <a:moveTo>
                  <a:pt x="1304" y="1510"/>
                </a:moveTo>
                <a:lnTo>
                  <a:pt x="1301" y="1514"/>
                </a:lnTo>
                <a:lnTo>
                  <a:pt x="1298" y="1518"/>
                </a:lnTo>
                <a:lnTo>
                  <a:pt x="1294" y="1522"/>
                </a:lnTo>
                <a:lnTo>
                  <a:pt x="1289" y="1526"/>
                </a:lnTo>
                <a:lnTo>
                  <a:pt x="1285" y="1530"/>
                </a:lnTo>
                <a:lnTo>
                  <a:pt x="1280" y="1532"/>
                </a:lnTo>
                <a:lnTo>
                  <a:pt x="1274" y="1534"/>
                </a:lnTo>
                <a:lnTo>
                  <a:pt x="1269" y="1535"/>
                </a:lnTo>
                <a:lnTo>
                  <a:pt x="1256" y="1535"/>
                </a:lnTo>
                <a:lnTo>
                  <a:pt x="1251" y="1534"/>
                </a:lnTo>
                <a:lnTo>
                  <a:pt x="1246" y="1532"/>
                </a:lnTo>
                <a:lnTo>
                  <a:pt x="1241" y="1530"/>
                </a:lnTo>
                <a:lnTo>
                  <a:pt x="1237" y="1528"/>
                </a:lnTo>
                <a:lnTo>
                  <a:pt x="1233" y="1525"/>
                </a:lnTo>
                <a:lnTo>
                  <a:pt x="1229" y="1521"/>
                </a:lnTo>
                <a:lnTo>
                  <a:pt x="1166" y="1581"/>
                </a:lnTo>
                <a:lnTo>
                  <a:pt x="1167" y="1584"/>
                </a:lnTo>
                <a:lnTo>
                  <a:pt x="1168" y="1587"/>
                </a:lnTo>
                <a:lnTo>
                  <a:pt x="1169" y="1589"/>
                </a:lnTo>
                <a:lnTo>
                  <a:pt x="1172" y="1590"/>
                </a:lnTo>
                <a:lnTo>
                  <a:pt x="1174" y="1590"/>
                </a:lnTo>
                <a:lnTo>
                  <a:pt x="1178" y="1590"/>
                </a:lnTo>
                <a:lnTo>
                  <a:pt x="1181" y="1590"/>
                </a:lnTo>
                <a:lnTo>
                  <a:pt x="1185" y="1592"/>
                </a:lnTo>
                <a:lnTo>
                  <a:pt x="1190" y="1594"/>
                </a:lnTo>
                <a:lnTo>
                  <a:pt x="1194" y="1596"/>
                </a:lnTo>
                <a:lnTo>
                  <a:pt x="1197" y="1599"/>
                </a:lnTo>
                <a:lnTo>
                  <a:pt x="1199" y="1602"/>
                </a:lnTo>
                <a:lnTo>
                  <a:pt x="1201" y="1604"/>
                </a:lnTo>
                <a:lnTo>
                  <a:pt x="1202" y="1607"/>
                </a:lnTo>
                <a:lnTo>
                  <a:pt x="1205" y="1609"/>
                </a:lnTo>
                <a:lnTo>
                  <a:pt x="1207" y="1609"/>
                </a:lnTo>
                <a:lnTo>
                  <a:pt x="1210" y="1608"/>
                </a:lnTo>
                <a:lnTo>
                  <a:pt x="1213" y="1607"/>
                </a:lnTo>
                <a:lnTo>
                  <a:pt x="1216" y="1606"/>
                </a:lnTo>
                <a:lnTo>
                  <a:pt x="1221" y="1606"/>
                </a:lnTo>
                <a:lnTo>
                  <a:pt x="1225" y="1607"/>
                </a:lnTo>
                <a:lnTo>
                  <a:pt x="1234" y="1610"/>
                </a:lnTo>
                <a:lnTo>
                  <a:pt x="1237" y="1612"/>
                </a:lnTo>
                <a:lnTo>
                  <a:pt x="1239" y="1614"/>
                </a:lnTo>
                <a:lnTo>
                  <a:pt x="1241" y="1616"/>
                </a:lnTo>
                <a:lnTo>
                  <a:pt x="1244" y="1617"/>
                </a:lnTo>
                <a:lnTo>
                  <a:pt x="1247" y="1616"/>
                </a:lnTo>
                <a:lnTo>
                  <a:pt x="1249" y="1615"/>
                </a:lnTo>
                <a:lnTo>
                  <a:pt x="1251" y="1613"/>
                </a:lnTo>
                <a:lnTo>
                  <a:pt x="1255" y="1611"/>
                </a:lnTo>
                <a:lnTo>
                  <a:pt x="1259" y="1610"/>
                </a:lnTo>
                <a:lnTo>
                  <a:pt x="1264" y="1609"/>
                </a:lnTo>
                <a:lnTo>
                  <a:pt x="1268" y="1609"/>
                </a:lnTo>
                <a:lnTo>
                  <a:pt x="1272" y="1609"/>
                </a:lnTo>
                <a:lnTo>
                  <a:pt x="1276" y="1610"/>
                </a:lnTo>
                <a:lnTo>
                  <a:pt x="1277" y="1611"/>
                </a:lnTo>
                <a:lnTo>
                  <a:pt x="1279" y="1612"/>
                </a:lnTo>
                <a:lnTo>
                  <a:pt x="1281" y="1613"/>
                </a:lnTo>
                <a:lnTo>
                  <a:pt x="1284" y="1613"/>
                </a:lnTo>
                <a:lnTo>
                  <a:pt x="1287" y="1611"/>
                </a:lnTo>
                <a:lnTo>
                  <a:pt x="1288" y="1610"/>
                </a:lnTo>
                <a:lnTo>
                  <a:pt x="1290" y="1607"/>
                </a:lnTo>
                <a:lnTo>
                  <a:pt x="1293" y="1604"/>
                </a:lnTo>
                <a:lnTo>
                  <a:pt x="1296" y="1602"/>
                </a:lnTo>
                <a:lnTo>
                  <a:pt x="1300" y="1600"/>
                </a:lnTo>
                <a:lnTo>
                  <a:pt x="1305" y="1598"/>
                </a:lnTo>
                <a:lnTo>
                  <a:pt x="1309" y="1597"/>
                </a:lnTo>
                <a:lnTo>
                  <a:pt x="1313" y="1597"/>
                </a:lnTo>
                <a:lnTo>
                  <a:pt x="1316" y="1598"/>
                </a:lnTo>
                <a:lnTo>
                  <a:pt x="1318" y="1598"/>
                </a:lnTo>
                <a:lnTo>
                  <a:pt x="1321" y="1597"/>
                </a:lnTo>
                <a:lnTo>
                  <a:pt x="1323" y="1595"/>
                </a:lnTo>
                <a:lnTo>
                  <a:pt x="1324" y="1593"/>
                </a:lnTo>
                <a:lnTo>
                  <a:pt x="1325" y="1590"/>
                </a:lnTo>
                <a:lnTo>
                  <a:pt x="1327" y="1587"/>
                </a:lnTo>
                <a:lnTo>
                  <a:pt x="1330" y="1583"/>
                </a:lnTo>
                <a:lnTo>
                  <a:pt x="1333" y="1580"/>
                </a:lnTo>
                <a:lnTo>
                  <a:pt x="1337" y="1577"/>
                </a:lnTo>
                <a:lnTo>
                  <a:pt x="1340" y="1575"/>
                </a:lnTo>
                <a:lnTo>
                  <a:pt x="1344" y="1574"/>
                </a:lnTo>
                <a:lnTo>
                  <a:pt x="1347" y="1574"/>
                </a:lnTo>
                <a:lnTo>
                  <a:pt x="1350" y="1573"/>
                </a:lnTo>
                <a:lnTo>
                  <a:pt x="1352" y="1572"/>
                </a:lnTo>
                <a:lnTo>
                  <a:pt x="1353" y="1569"/>
                </a:lnTo>
                <a:lnTo>
                  <a:pt x="1354" y="1567"/>
                </a:lnTo>
                <a:lnTo>
                  <a:pt x="1354" y="1563"/>
                </a:lnTo>
                <a:lnTo>
                  <a:pt x="1355" y="1560"/>
                </a:lnTo>
                <a:lnTo>
                  <a:pt x="1356" y="1556"/>
                </a:lnTo>
                <a:lnTo>
                  <a:pt x="1358" y="1552"/>
                </a:lnTo>
                <a:lnTo>
                  <a:pt x="1361" y="1548"/>
                </a:lnTo>
                <a:lnTo>
                  <a:pt x="1364" y="1545"/>
                </a:lnTo>
                <a:lnTo>
                  <a:pt x="1367" y="1543"/>
                </a:lnTo>
                <a:lnTo>
                  <a:pt x="1370" y="1541"/>
                </a:lnTo>
                <a:lnTo>
                  <a:pt x="1372" y="1540"/>
                </a:lnTo>
                <a:lnTo>
                  <a:pt x="1374" y="1538"/>
                </a:lnTo>
                <a:lnTo>
                  <a:pt x="1375" y="1535"/>
                </a:lnTo>
                <a:lnTo>
                  <a:pt x="1374" y="1533"/>
                </a:lnTo>
                <a:lnTo>
                  <a:pt x="1373" y="1530"/>
                </a:lnTo>
                <a:lnTo>
                  <a:pt x="1304" y="1510"/>
                </a:lnTo>
                <a:close/>
                <a:moveTo>
                  <a:pt x="156" y="1491"/>
                </a:moveTo>
                <a:lnTo>
                  <a:pt x="154" y="1494"/>
                </a:lnTo>
                <a:lnTo>
                  <a:pt x="152" y="1497"/>
                </a:lnTo>
                <a:lnTo>
                  <a:pt x="149" y="1499"/>
                </a:lnTo>
                <a:lnTo>
                  <a:pt x="146" y="1501"/>
                </a:lnTo>
                <a:lnTo>
                  <a:pt x="142" y="1503"/>
                </a:lnTo>
                <a:lnTo>
                  <a:pt x="139" y="1504"/>
                </a:lnTo>
                <a:lnTo>
                  <a:pt x="131" y="1506"/>
                </a:lnTo>
                <a:lnTo>
                  <a:pt x="124" y="1508"/>
                </a:lnTo>
                <a:lnTo>
                  <a:pt x="117" y="1508"/>
                </a:lnTo>
                <a:lnTo>
                  <a:pt x="111" y="1509"/>
                </a:lnTo>
                <a:lnTo>
                  <a:pt x="107" y="1515"/>
                </a:lnTo>
                <a:lnTo>
                  <a:pt x="108" y="1517"/>
                </a:lnTo>
                <a:lnTo>
                  <a:pt x="109" y="1522"/>
                </a:lnTo>
                <a:lnTo>
                  <a:pt x="109" y="1527"/>
                </a:lnTo>
                <a:lnTo>
                  <a:pt x="108" y="1531"/>
                </a:lnTo>
                <a:lnTo>
                  <a:pt x="107" y="1534"/>
                </a:lnTo>
                <a:lnTo>
                  <a:pt x="106" y="1535"/>
                </a:lnTo>
                <a:lnTo>
                  <a:pt x="106" y="1536"/>
                </a:lnTo>
                <a:lnTo>
                  <a:pt x="106" y="1540"/>
                </a:lnTo>
                <a:lnTo>
                  <a:pt x="108" y="1542"/>
                </a:lnTo>
                <a:lnTo>
                  <a:pt x="110" y="1544"/>
                </a:lnTo>
                <a:lnTo>
                  <a:pt x="113" y="1545"/>
                </a:lnTo>
                <a:lnTo>
                  <a:pt x="116" y="1548"/>
                </a:lnTo>
                <a:lnTo>
                  <a:pt x="119" y="1551"/>
                </a:lnTo>
                <a:lnTo>
                  <a:pt x="122" y="1556"/>
                </a:lnTo>
                <a:lnTo>
                  <a:pt x="124" y="1560"/>
                </a:lnTo>
                <a:lnTo>
                  <a:pt x="125" y="1564"/>
                </a:lnTo>
                <a:lnTo>
                  <a:pt x="126" y="1568"/>
                </a:lnTo>
                <a:lnTo>
                  <a:pt x="126" y="1572"/>
                </a:lnTo>
                <a:lnTo>
                  <a:pt x="126" y="1575"/>
                </a:lnTo>
                <a:lnTo>
                  <a:pt x="127" y="1578"/>
                </a:lnTo>
                <a:lnTo>
                  <a:pt x="129" y="1579"/>
                </a:lnTo>
                <a:lnTo>
                  <a:pt x="132" y="1580"/>
                </a:lnTo>
                <a:lnTo>
                  <a:pt x="135" y="1581"/>
                </a:lnTo>
                <a:lnTo>
                  <a:pt x="139" y="1582"/>
                </a:lnTo>
                <a:lnTo>
                  <a:pt x="143" y="1585"/>
                </a:lnTo>
                <a:lnTo>
                  <a:pt x="147" y="1588"/>
                </a:lnTo>
                <a:lnTo>
                  <a:pt x="150" y="1592"/>
                </a:lnTo>
                <a:lnTo>
                  <a:pt x="152" y="1596"/>
                </a:lnTo>
                <a:lnTo>
                  <a:pt x="154" y="1599"/>
                </a:lnTo>
                <a:lnTo>
                  <a:pt x="155" y="1602"/>
                </a:lnTo>
                <a:lnTo>
                  <a:pt x="156" y="1605"/>
                </a:lnTo>
                <a:lnTo>
                  <a:pt x="158" y="1608"/>
                </a:lnTo>
                <a:lnTo>
                  <a:pt x="161" y="1609"/>
                </a:lnTo>
                <a:lnTo>
                  <a:pt x="163" y="1609"/>
                </a:lnTo>
                <a:lnTo>
                  <a:pt x="167" y="1608"/>
                </a:lnTo>
                <a:lnTo>
                  <a:pt x="171" y="1609"/>
                </a:lnTo>
                <a:lnTo>
                  <a:pt x="175" y="1610"/>
                </a:lnTo>
                <a:lnTo>
                  <a:pt x="180" y="1612"/>
                </a:lnTo>
                <a:lnTo>
                  <a:pt x="184" y="1615"/>
                </a:lnTo>
                <a:lnTo>
                  <a:pt x="187" y="1617"/>
                </a:lnTo>
                <a:lnTo>
                  <a:pt x="190" y="1620"/>
                </a:lnTo>
                <a:lnTo>
                  <a:pt x="192" y="1623"/>
                </a:lnTo>
                <a:lnTo>
                  <a:pt x="194" y="1626"/>
                </a:lnTo>
                <a:lnTo>
                  <a:pt x="196" y="1628"/>
                </a:lnTo>
                <a:lnTo>
                  <a:pt x="199" y="1628"/>
                </a:lnTo>
                <a:lnTo>
                  <a:pt x="202" y="1627"/>
                </a:lnTo>
                <a:lnTo>
                  <a:pt x="205" y="1625"/>
                </a:lnTo>
                <a:lnTo>
                  <a:pt x="220" y="1538"/>
                </a:lnTo>
                <a:lnTo>
                  <a:pt x="215" y="1535"/>
                </a:lnTo>
                <a:lnTo>
                  <a:pt x="211" y="1531"/>
                </a:lnTo>
                <a:lnTo>
                  <a:pt x="207" y="1527"/>
                </a:lnTo>
                <a:lnTo>
                  <a:pt x="203" y="1522"/>
                </a:lnTo>
                <a:lnTo>
                  <a:pt x="201" y="1517"/>
                </a:lnTo>
                <a:lnTo>
                  <a:pt x="199" y="1511"/>
                </a:lnTo>
                <a:lnTo>
                  <a:pt x="198" y="1505"/>
                </a:lnTo>
                <a:lnTo>
                  <a:pt x="198" y="1499"/>
                </a:lnTo>
                <a:lnTo>
                  <a:pt x="194" y="1495"/>
                </a:lnTo>
                <a:lnTo>
                  <a:pt x="191" y="1491"/>
                </a:lnTo>
                <a:lnTo>
                  <a:pt x="187" y="1485"/>
                </a:lnTo>
                <a:lnTo>
                  <a:pt x="183" y="1478"/>
                </a:lnTo>
                <a:lnTo>
                  <a:pt x="181" y="1474"/>
                </a:lnTo>
                <a:lnTo>
                  <a:pt x="179" y="1470"/>
                </a:lnTo>
                <a:lnTo>
                  <a:pt x="175" y="1460"/>
                </a:lnTo>
                <a:lnTo>
                  <a:pt x="174" y="1455"/>
                </a:lnTo>
                <a:lnTo>
                  <a:pt x="173" y="1449"/>
                </a:lnTo>
                <a:lnTo>
                  <a:pt x="158" y="1437"/>
                </a:lnTo>
                <a:lnTo>
                  <a:pt x="156" y="1491"/>
                </a:lnTo>
                <a:close/>
                <a:moveTo>
                  <a:pt x="638" y="1724"/>
                </a:moveTo>
                <a:lnTo>
                  <a:pt x="637" y="1726"/>
                </a:lnTo>
                <a:lnTo>
                  <a:pt x="636" y="1728"/>
                </a:lnTo>
                <a:lnTo>
                  <a:pt x="634" y="1731"/>
                </a:lnTo>
                <a:lnTo>
                  <a:pt x="631" y="1733"/>
                </a:lnTo>
                <a:lnTo>
                  <a:pt x="627" y="1736"/>
                </a:lnTo>
                <a:lnTo>
                  <a:pt x="622" y="1738"/>
                </a:lnTo>
                <a:lnTo>
                  <a:pt x="615" y="1739"/>
                </a:lnTo>
                <a:lnTo>
                  <a:pt x="607" y="1740"/>
                </a:lnTo>
                <a:lnTo>
                  <a:pt x="598" y="1739"/>
                </a:lnTo>
                <a:lnTo>
                  <a:pt x="590" y="1738"/>
                </a:lnTo>
                <a:lnTo>
                  <a:pt x="585" y="1736"/>
                </a:lnTo>
                <a:lnTo>
                  <a:pt x="581" y="1734"/>
                </a:lnTo>
                <a:lnTo>
                  <a:pt x="579" y="1732"/>
                </a:lnTo>
                <a:lnTo>
                  <a:pt x="577" y="1731"/>
                </a:lnTo>
                <a:lnTo>
                  <a:pt x="577" y="1729"/>
                </a:lnTo>
                <a:lnTo>
                  <a:pt x="577" y="1706"/>
                </a:lnTo>
                <a:lnTo>
                  <a:pt x="560" y="1698"/>
                </a:lnTo>
                <a:lnTo>
                  <a:pt x="552" y="1694"/>
                </a:lnTo>
                <a:lnTo>
                  <a:pt x="545" y="1690"/>
                </a:lnTo>
                <a:lnTo>
                  <a:pt x="534" y="1682"/>
                </a:lnTo>
                <a:lnTo>
                  <a:pt x="525" y="1675"/>
                </a:lnTo>
                <a:lnTo>
                  <a:pt x="518" y="1669"/>
                </a:lnTo>
                <a:lnTo>
                  <a:pt x="514" y="1664"/>
                </a:lnTo>
                <a:lnTo>
                  <a:pt x="510" y="1660"/>
                </a:lnTo>
                <a:lnTo>
                  <a:pt x="510" y="1504"/>
                </a:lnTo>
                <a:lnTo>
                  <a:pt x="511" y="1502"/>
                </a:lnTo>
                <a:lnTo>
                  <a:pt x="513" y="1499"/>
                </a:lnTo>
                <a:lnTo>
                  <a:pt x="517" y="1494"/>
                </a:lnTo>
                <a:lnTo>
                  <a:pt x="523" y="1488"/>
                </a:lnTo>
                <a:lnTo>
                  <a:pt x="523" y="1452"/>
                </a:lnTo>
                <a:lnTo>
                  <a:pt x="517" y="1451"/>
                </a:lnTo>
                <a:lnTo>
                  <a:pt x="505" y="1447"/>
                </a:lnTo>
                <a:lnTo>
                  <a:pt x="497" y="1443"/>
                </a:lnTo>
                <a:lnTo>
                  <a:pt x="489" y="1440"/>
                </a:lnTo>
                <a:lnTo>
                  <a:pt x="485" y="1437"/>
                </a:lnTo>
                <a:lnTo>
                  <a:pt x="481" y="1435"/>
                </a:lnTo>
                <a:lnTo>
                  <a:pt x="474" y="1430"/>
                </a:lnTo>
                <a:lnTo>
                  <a:pt x="474" y="1492"/>
                </a:lnTo>
                <a:lnTo>
                  <a:pt x="473" y="1495"/>
                </a:lnTo>
                <a:lnTo>
                  <a:pt x="472" y="1498"/>
                </a:lnTo>
                <a:lnTo>
                  <a:pt x="470" y="1500"/>
                </a:lnTo>
                <a:lnTo>
                  <a:pt x="468" y="1502"/>
                </a:lnTo>
                <a:lnTo>
                  <a:pt x="466" y="1504"/>
                </a:lnTo>
                <a:lnTo>
                  <a:pt x="463" y="1505"/>
                </a:lnTo>
                <a:lnTo>
                  <a:pt x="460" y="1507"/>
                </a:lnTo>
                <a:lnTo>
                  <a:pt x="456" y="1509"/>
                </a:lnTo>
                <a:lnTo>
                  <a:pt x="452" y="1510"/>
                </a:lnTo>
                <a:lnTo>
                  <a:pt x="446" y="1511"/>
                </a:lnTo>
                <a:lnTo>
                  <a:pt x="440" y="1511"/>
                </a:lnTo>
                <a:lnTo>
                  <a:pt x="433" y="1512"/>
                </a:lnTo>
                <a:lnTo>
                  <a:pt x="428" y="1511"/>
                </a:lnTo>
                <a:lnTo>
                  <a:pt x="424" y="1511"/>
                </a:lnTo>
                <a:lnTo>
                  <a:pt x="419" y="1510"/>
                </a:lnTo>
                <a:lnTo>
                  <a:pt x="415" y="1508"/>
                </a:lnTo>
                <a:lnTo>
                  <a:pt x="413" y="1521"/>
                </a:lnTo>
                <a:lnTo>
                  <a:pt x="411" y="1533"/>
                </a:lnTo>
                <a:lnTo>
                  <a:pt x="407" y="1545"/>
                </a:lnTo>
                <a:lnTo>
                  <a:pt x="402" y="1557"/>
                </a:lnTo>
                <a:lnTo>
                  <a:pt x="397" y="1569"/>
                </a:lnTo>
                <a:lnTo>
                  <a:pt x="391" y="1580"/>
                </a:lnTo>
                <a:lnTo>
                  <a:pt x="383" y="1591"/>
                </a:lnTo>
                <a:lnTo>
                  <a:pt x="375" y="1602"/>
                </a:lnTo>
                <a:lnTo>
                  <a:pt x="369" y="1608"/>
                </a:lnTo>
                <a:lnTo>
                  <a:pt x="363" y="1615"/>
                </a:lnTo>
                <a:lnTo>
                  <a:pt x="357" y="1621"/>
                </a:lnTo>
                <a:lnTo>
                  <a:pt x="350" y="1626"/>
                </a:lnTo>
                <a:lnTo>
                  <a:pt x="343" y="1631"/>
                </a:lnTo>
                <a:lnTo>
                  <a:pt x="336" y="1636"/>
                </a:lnTo>
                <a:lnTo>
                  <a:pt x="329" y="1641"/>
                </a:lnTo>
                <a:lnTo>
                  <a:pt x="321" y="1645"/>
                </a:lnTo>
                <a:lnTo>
                  <a:pt x="306" y="1652"/>
                </a:lnTo>
                <a:lnTo>
                  <a:pt x="290" y="1657"/>
                </a:lnTo>
                <a:lnTo>
                  <a:pt x="282" y="1659"/>
                </a:lnTo>
                <a:lnTo>
                  <a:pt x="274" y="1661"/>
                </a:lnTo>
                <a:lnTo>
                  <a:pt x="257" y="1663"/>
                </a:lnTo>
                <a:lnTo>
                  <a:pt x="241" y="1664"/>
                </a:lnTo>
                <a:lnTo>
                  <a:pt x="232" y="1664"/>
                </a:lnTo>
                <a:lnTo>
                  <a:pt x="224" y="1663"/>
                </a:lnTo>
                <a:lnTo>
                  <a:pt x="216" y="1662"/>
                </a:lnTo>
                <a:lnTo>
                  <a:pt x="208" y="1660"/>
                </a:lnTo>
                <a:lnTo>
                  <a:pt x="199" y="1658"/>
                </a:lnTo>
                <a:lnTo>
                  <a:pt x="191" y="1656"/>
                </a:lnTo>
                <a:lnTo>
                  <a:pt x="183" y="1653"/>
                </a:lnTo>
                <a:lnTo>
                  <a:pt x="175" y="1650"/>
                </a:lnTo>
                <a:lnTo>
                  <a:pt x="167" y="1647"/>
                </a:lnTo>
                <a:lnTo>
                  <a:pt x="160" y="1643"/>
                </a:lnTo>
                <a:lnTo>
                  <a:pt x="145" y="1634"/>
                </a:lnTo>
                <a:lnTo>
                  <a:pt x="138" y="1629"/>
                </a:lnTo>
                <a:lnTo>
                  <a:pt x="131" y="1623"/>
                </a:lnTo>
                <a:lnTo>
                  <a:pt x="121" y="1615"/>
                </a:lnTo>
                <a:lnTo>
                  <a:pt x="113" y="1606"/>
                </a:lnTo>
                <a:lnTo>
                  <a:pt x="105" y="1596"/>
                </a:lnTo>
                <a:lnTo>
                  <a:pt x="98" y="1586"/>
                </a:lnTo>
                <a:lnTo>
                  <a:pt x="91" y="1576"/>
                </a:lnTo>
                <a:lnTo>
                  <a:pt x="86" y="1565"/>
                </a:lnTo>
                <a:lnTo>
                  <a:pt x="81" y="1555"/>
                </a:lnTo>
                <a:lnTo>
                  <a:pt x="77" y="1543"/>
                </a:lnTo>
                <a:lnTo>
                  <a:pt x="74" y="1532"/>
                </a:lnTo>
                <a:lnTo>
                  <a:pt x="71" y="1520"/>
                </a:lnTo>
                <a:lnTo>
                  <a:pt x="70" y="1509"/>
                </a:lnTo>
                <a:lnTo>
                  <a:pt x="69" y="1497"/>
                </a:lnTo>
                <a:lnTo>
                  <a:pt x="69" y="1485"/>
                </a:lnTo>
                <a:lnTo>
                  <a:pt x="69" y="1479"/>
                </a:lnTo>
                <a:lnTo>
                  <a:pt x="69" y="1473"/>
                </a:lnTo>
                <a:lnTo>
                  <a:pt x="71" y="1462"/>
                </a:lnTo>
                <a:lnTo>
                  <a:pt x="73" y="1450"/>
                </a:lnTo>
                <a:lnTo>
                  <a:pt x="68" y="1449"/>
                </a:lnTo>
                <a:lnTo>
                  <a:pt x="65" y="1449"/>
                </a:lnTo>
                <a:lnTo>
                  <a:pt x="62" y="1447"/>
                </a:lnTo>
                <a:lnTo>
                  <a:pt x="59" y="1446"/>
                </a:lnTo>
                <a:lnTo>
                  <a:pt x="57" y="1444"/>
                </a:lnTo>
                <a:lnTo>
                  <a:pt x="55" y="1441"/>
                </a:lnTo>
                <a:lnTo>
                  <a:pt x="55" y="1438"/>
                </a:lnTo>
                <a:lnTo>
                  <a:pt x="55" y="1348"/>
                </a:lnTo>
                <a:lnTo>
                  <a:pt x="56" y="1345"/>
                </a:lnTo>
                <a:lnTo>
                  <a:pt x="58" y="1341"/>
                </a:lnTo>
                <a:lnTo>
                  <a:pt x="60" y="1338"/>
                </a:lnTo>
                <a:lnTo>
                  <a:pt x="63" y="1336"/>
                </a:lnTo>
                <a:lnTo>
                  <a:pt x="64" y="1335"/>
                </a:lnTo>
                <a:lnTo>
                  <a:pt x="66" y="1334"/>
                </a:lnTo>
                <a:lnTo>
                  <a:pt x="68" y="1334"/>
                </a:lnTo>
                <a:lnTo>
                  <a:pt x="70" y="1334"/>
                </a:lnTo>
                <a:lnTo>
                  <a:pt x="86" y="1334"/>
                </a:lnTo>
                <a:lnTo>
                  <a:pt x="86" y="1328"/>
                </a:lnTo>
                <a:lnTo>
                  <a:pt x="87" y="1321"/>
                </a:lnTo>
                <a:lnTo>
                  <a:pt x="89" y="1314"/>
                </a:lnTo>
                <a:lnTo>
                  <a:pt x="90" y="1311"/>
                </a:lnTo>
                <a:lnTo>
                  <a:pt x="91" y="1307"/>
                </a:lnTo>
                <a:lnTo>
                  <a:pt x="93" y="1304"/>
                </a:lnTo>
                <a:lnTo>
                  <a:pt x="95" y="1301"/>
                </a:lnTo>
                <a:lnTo>
                  <a:pt x="98" y="1299"/>
                </a:lnTo>
                <a:lnTo>
                  <a:pt x="100" y="1297"/>
                </a:lnTo>
                <a:lnTo>
                  <a:pt x="104" y="1295"/>
                </a:lnTo>
                <a:lnTo>
                  <a:pt x="108" y="1295"/>
                </a:lnTo>
                <a:lnTo>
                  <a:pt x="124" y="1287"/>
                </a:lnTo>
                <a:lnTo>
                  <a:pt x="147" y="1277"/>
                </a:lnTo>
                <a:lnTo>
                  <a:pt x="150" y="1276"/>
                </a:lnTo>
                <a:lnTo>
                  <a:pt x="153" y="1276"/>
                </a:lnTo>
                <a:lnTo>
                  <a:pt x="155" y="1277"/>
                </a:lnTo>
                <a:lnTo>
                  <a:pt x="158" y="1277"/>
                </a:lnTo>
                <a:lnTo>
                  <a:pt x="161" y="1280"/>
                </a:lnTo>
                <a:lnTo>
                  <a:pt x="162" y="1281"/>
                </a:lnTo>
                <a:lnTo>
                  <a:pt x="181" y="1281"/>
                </a:lnTo>
                <a:lnTo>
                  <a:pt x="184" y="1281"/>
                </a:lnTo>
                <a:lnTo>
                  <a:pt x="187" y="1282"/>
                </a:lnTo>
                <a:lnTo>
                  <a:pt x="188" y="1284"/>
                </a:lnTo>
                <a:lnTo>
                  <a:pt x="190" y="1286"/>
                </a:lnTo>
                <a:lnTo>
                  <a:pt x="191" y="1289"/>
                </a:lnTo>
                <a:lnTo>
                  <a:pt x="191" y="1294"/>
                </a:lnTo>
                <a:lnTo>
                  <a:pt x="192" y="1305"/>
                </a:lnTo>
                <a:lnTo>
                  <a:pt x="192" y="1324"/>
                </a:lnTo>
                <a:lnTo>
                  <a:pt x="203" y="1321"/>
                </a:lnTo>
                <a:lnTo>
                  <a:pt x="209" y="1320"/>
                </a:lnTo>
                <a:lnTo>
                  <a:pt x="215" y="1319"/>
                </a:lnTo>
                <a:lnTo>
                  <a:pt x="227" y="1317"/>
                </a:lnTo>
                <a:lnTo>
                  <a:pt x="238" y="1316"/>
                </a:lnTo>
                <a:lnTo>
                  <a:pt x="261" y="1303"/>
                </a:lnTo>
                <a:lnTo>
                  <a:pt x="266" y="1302"/>
                </a:lnTo>
                <a:lnTo>
                  <a:pt x="277" y="1301"/>
                </a:lnTo>
                <a:lnTo>
                  <a:pt x="284" y="1301"/>
                </a:lnTo>
                <a:lnTo>
                  <a:pt x="292" y="1302"/>
                </a:lnTo>
                <a:lnTo>
                  <a:pt x="300" y="1303"/>
                </a:lnTo>
                <a:lnTo>
                  <a:pt x="304" y="1305"/>
                </a:lnTo>
                <a:lnTo>
                  <a:pt x="308" y="1306"/>
                </a:lnTo>
                <a:lnTo>
                  <a:pt x="316" y="1309"/>
                </a:lnTo>
                <a:lnTo>
                  <a:pt x="323" y="1313"/>
                </a:lnTo>
                <a:lnTo>
                  <a:pt x="328" y="1316"/>
                </a:lnTo>
                <a:lnTo>
                  <a:pt x="332" y="1319"/>
                </a:lnTo>
                <a:lnTo>
                  <a:pt x="335" y="1321"/>
                </a:lnTo>
                <a:lnTo>
                  <a:pt x="337" y="1323"/>
                </a:lnTo>
                <a:lnTo>
                  <a:pt x="339" y="1325"/>
                </a:lnTo>
                <a:lnTo>
                  <a:pt x="376" y="1325"/>
                </a:lnTo>
                <a:lnTo>
                  <a:pt x="376" y="1331"/>
                </a:lnTo>
                <a:lnTo>
                  <a:pt x="390" y="1331"/>
                </a:lnTo>
                <a:lnTo>
                  <a:pt x="390" y="1294"/>
                </a:lnTo>
                <a:lnTo>
                  <a:pt x="392" y="1291"/>
                </a:lnTo>
                <a:lnTo>
                  <a:pt x="395" y="1288"/>
                </a:lnTo>
                <a:lnTo>
                  <a:pt x="400" y="1284"/>
                </a:lnTo>
                <a:lnTo>
                  <a:pt x="407" y="1280"/>
                </a:lnTo>
                <a:lnTo>
                  <a:pt x="411" y="1279"/>
                </a:lnTo>
                <a:lnTo>
                  <a:pt x="416" y="1277"/>
                </a:lnTo>
                <a:lnTo>
                  <a:pt x="421" y="1276"/>
                </a:lnTo>
                <a:lnTo>
                  <a:pt x="427" y="1275"/>
                </a:lnTo>
                <a:lnTo>
                  <a:pt x="433" y="1274"/>
                </a:lnTo>
                <a:lnTo>
                  <a:pt x="439" y="1274"/>
                </a:lnTo>
                <a:lnTo>
                  <a:pt x="446" y="1274"/>
                </a:lnTo>
                <a:lnTo>
                  <a:pt x="452" y="1275"/>
                </a:lnTo>
                <a:lnTo>
                  <a:pt x="461" y="1276"/>
                </a:lnTo>
                <a:lnTo>
                  <a:pt x="468" y="1279"/>
                </a:lnTo>
                <a:lnTo>
                  <a:pt x="473" y="1281"/>
                </a:lnTo>
                <a:lnTo>
                  <a:pt x="476" y="1284"/>
                </a:lnTo>
                <a:lnTo>
                  <a:pt x="478" y="1287"/>
                </a:lnTo>
                <a:lnTo>
                  <a:pt x="479" y="1289"/>
                </a:lnTo>
                <a:lnTo>
                  <a:pt x="479" y="1329"/>
                </a:lnTo>
                <a:lnTo>
                  <a:pt x="488" y="1336"/>
                </a:lnTo>
                <a:lnTo>
                  <a:pt x="490" y="1334"/>
                </a:lnTo>
                <a:lnTo>
                  <a:pt x="494" y="1329"/>
                </a:lnTo>
                <a:lnTo>
                  <a:pt x="496" y="1326"/>
                </a:lnTo>
                <a:lnTo>
                  <a:pt x="499" y="1324"/>
                </a:lnTo>
                <a:lnTo>
                  <a:pt x="503" y="1323"/>
                </a:lnTo>
                <a:lnTo>
                  <a:pt x="505" y="1322"/>
                </a:lnTo>
                <a:lnTo>
                  <a:pt x="506" y="1322"/>
                </a:lnTo>
                <a:lnTo>
                  <a:pt x="531" y="1322"/>
                </a:lnTo>
                <a:lnTo>
                  <a:pt x="525" y="1318"/>
                </a:lnTo>
                <a:lnTo>
                  <a:pt x="521" y="1314"/>
                </a:lnTo>
                <a:lnTo>
                  <a:pt x="518" y="1310"/>
                </a:lnTo>
                <a:lnTo>
                  <a:pt x="518" y="1276"/>
                </a:lnTo>
                <a:lnTo>
                  <a:pt x="516" y="1275"/>
                </a:lnTo>
                <a:lnTo>
                  <a:pt x="512" y="1272"/>
                </a:lnTo>
                <a:lnTo>
                  <a:pt x="510" y="1270"/>
                </a:lnTo>
                <a:lnTo>
                  <a:pt x="508" y="1267"/>
                </a:lnTo>
                <a:lnTo>
                  <a:pt x="507" y="1264"/>
                </a:lnTo>
                <a:lnTo>
                  <a:pt x="506" y="1261"/>
                </a:lnTo>
                <a:lnTo>
                  <a:pt x="506" y="1129"/>
                </a:lnTo>
                <a:lnTo>
                  <a:pt x="507" y="1127"/>
                </a:lnTo>
                <a:lnTo>
                  <a:pt x="509" y="1122"/>
                </a:lnTo>
                <a:lnTo>
                  <a:pt x="513" y="1117"/>
                </a:lnTo>
                <a:lnTo>
                  <a:pt x="516" y="1114"/>
                </a:lnTo>
                <a:lnTo>
                  <a:pt x="519" y="1112"/>
                </a:lnTo>
                <a:lnTo>
                  <a:pt x="519" y="1102"/>
                </a:lnTo>
                <a:lnTo>
                  <a:pt x="523" y="1098"/>
                </a:lnTo>
                <a:lnTo>
                  <a:pt x="523" y="1080"/>
                </a:lnTo>
                <a:lnTo>
                  <a:pt x="534" y="1076"/>
                </a:lnTo>
                <a:lnTo>
                  <a:pt x="534" y="1071"/>
                </a:lnTo>
                <a:lnTo>
                  <a:pt x="535" y="1071"/>
                </a:lnTo>
                <a:lnTo>
                  <a:pt x="538" y="1069"/>
                </a:lnTo>
                <a:lnTo>
                  <a:pt x="542" y="1068"/>
                </a:lnTo>
                <a:lnTo>
                  <a:pt x="549" y="1067"/>
                </a:lnTo>
                <a:lnTo>
                  <a:pt x="556" y="1068"/>
                </a:lnTo>
                <a:lnTo>
                  <a:pt x="561" y="1069"/>
                </a:lnTo>
                <a:lnTo>
                  <a:pt x="566" y="1071"/>
                </a:lnTo>
                <a:lnTo>
                  <a:pt x="566" y="1076"/>
                </a:lnTo>
                <a:lnTo>
                  <a:pt x="571" y="1076"/>
                </a:lnTo>
                <a:lnTo>
                  <a:pt x="571" y="1064"/>
                </a:lnTo>
                <a:lnTo>
                  <a:pt x="579" y="1060"/>
                </a:lnTo>
                <a:lnTo>
                  <a:pt x="579" y="1057"/>
                </a:lnTo>
                <a:lnTo>
                  <a:pt x="581" y="1057"/>
                </a:lnTo>
                <a:lnTo>
                  <a:pt x="588" y="1056"/>
                </a:lnTo>
                <a:lnTo>
                  <a:pt x="599" y="1055"/>
                </a:lnTo>
                <a:lnTo>
                  <a:pt x="606" y="1056"/>
                </a:lnTo>
                <a:lnTo>
                  <a:pt x="614" y="1057"/>
                </a:lnTo>
                <a:lnTo>
                  <a:pt x="614" y="1060"/>
                </a:lnTo>
                <a:lnTo>
                  <a:pt x="623" y="1064"/>
                </a:lnTo>
                <a:lnTo>
                  <a:pt x="623" y="1086"/>
                </a:lnTo>
                <a:lnTo>
                  <a:pt x="653" y="1082"/>
                </a:lnTo>
                <a:lnTo>
                  <a:pt x="653" y="1055"/>
                </a:lnTo>
                <a:lnTo>
                  <a:pt x="665" y="1055"/>
                </a:lnTo>
                <a:lnTo>
                  <a:pt x="665" y="1051"/>
                </a:lnTo>
                <a:lnTo>
                  <a:pt x="663" y="1050"/>
                </a:lnTo>
                <a:lnTo>
                  <a:pt x="656" y="1046"/>
                </a:lnTo>
                <a:lnTo>
                  <a:pt x="652" y="1044"/>
                </a:lnTo>
                <a:lnTo>
                  <a:pt x="648" y="1042"/>
                </a:lnTo>
                <a:lnTo>
                  <a:pt x="645" y="1039"/>
                </a:lnTo>
                <a:lnTo>
                  <a:pt x="642" y="1035"/>
                </a:lnTo>
                <a:lnTo>
                  <a:pt x="640" y="1032"/>
                </a:lnTo>
                <a:lnTo>
                  <a:pt x="639" y="1028"/>
                </a:lnTo>
                <a:lnTo>
                  <a:pt x="638" y="1019"/>
                </a:lnTo>
                <a:lnTo>
                  <a:pt x="631" y="1011"/>
                </a:lnTo>
                <a:lnTo>
                  <a:pt x="625" y="1004"/>
                </a:lnTo>
                <a:lnTo>
                  <a:pt x="620" y="997"/>
                </a:lnTo>
                <a:lnTo>
                  <a:pt x="615" y="990"/>
                </a:lnTo>
                <a:lnTo>
                  <a:pt x="610" y="983"/>
                </a:lnTo>
                <a:lnTo>
                  <a:pt x="606" y="975"/>
                </a:lnTo>
                <a:lnTo>
                  <a:pt x="602" y="967"/>
                </a:lnTo>
                <a:lnTo>
                  <a:pt x="599" y="960"/>
                </a:lnTo>
                <a:lnTo>
                  <a:pt x="596" y="952"/>
                </a:lnTo>
                <a:lnTo>
                  <a:pt x="593" y="944"/>
                </a:lnTo>
                <a:lnTo>
                  <a:pt x="591" y="936"/>
                </a:lnTo>
                <a:lnTo>
                  <a:pt x="588" y="919"/>
                </a:lnTo>
                <a:lnTo>
                  <a:pt x="587" y="911"/>
                </a:lnTo>
                <a:lnTo>
                  <a:pt x="586" y="902"/>
                </a:lnTo>
                <a:lnTo>
                  <a:pt x="586" y="886"/>
                </a:lnTo>
                <a:lnTo>
                  <a:pt x="587" y="877"/>
                </a:lnTo>
                <a:lnTo>
                  <a:pt x="588" y="869"/>
                </a:lnTo>
                <a:lnTo>
                  <a:pt x="590" y="861"/>
                </a:lnTo>
                <a:lnTo>
                  <a:pt x="591" y="853"/>
                </a:lnTo>
                <a:lnTo>
                  <a:pt x="594" y="845"/>
                </a:lnTo>
                <a:lnTo>
                  <a:pt x="596" y="837"/>
                </a:lnTo>
                <a:lnTo>
                  <a:pt x="599" y="829"/>
                </a:lnTo>
                <a:lnTo>
                  <a:pt x="603" y="821"/>
                </a:lnTo>
                <a:lnTo>
                  <a:pt x="606" y="814"/>
                </a:lnTo>
                <a:lnTo>
                  <a:pt x="611" y="806"/>
                </a:lnTo>
                <a:lnTo>
                  <a:pt x="615" y="799"/>
                </a:lnTo>
                <a:lnTo>
                  <a:pt x="620" y="792"/>
                </a:lnTo>
                <a:lnTo>
                  <a:pt x="625" y="785"/>
                </a:lnTo>
                <a:lnTo>
                  <a:pt x="631" y="778"/>
                </a:lnTo>
                <a:lnTo>
                  <a:pt x="644" y="766"/>
                </a:lnTo>
                <a:lnTo>
                  <a:pt x="657" y="755"/>
                </a:lnTo>
                <a:lnTo>
                  <a:pt x="670" y="746"/>
                </a:lnTo>
                <a:lnTo>
                  <a:pt x="657" y="746"/>
                </a:lnTo>
                <a:lnTo>
                  <a:pt x="644" y="739"/>
                </a:lnTo>
                <a:lnTo>
                  <a:pt x="644" y="662"/>
                </a:lnTo>
                <a:lnTo>
                  <a:pt x="685" y="662"/>
                </a:lnTo>
                <a:lnTo>
                  <a:pt x="685" y="646"/>
                </a:lnTo>
                <a:lnTo>
                  <a:pt x="682" y="646"/>
                </a:lnTo>
                <a:lnTo>
                  <a:pt x="680" y="645"/>
                </a:lnTo>
                <a:lnTo>
                  <a:pt x="678" y="644"/>
                </a:lnTo>
                <a:lnTo>
                  <a:pt x="677" y="642"/>
                </a:lnTo>
                <a:lnTo>
                  <a:pt x="676" y="640"/>
                </a:lnTo>
                <a:lnTo>
                  <a:pt x="676" y="637"/>
                </a:lnTo>
                <a:lnTo>
                  <a:pt x="676" y="632"/>
                </a:lnTo>
                <a:lnTo>
                  <a:pt x="676" y="608"/>
                </a:lnTo>
                <a:lnTo>
                  <a:pt x="649" y="608"/>
                </a:lnTo>
                <a:lnTo>
                  <a:pt x="645" y="608"/>
                </a:lnTo>
                <a:lnTo>
                  <a:pt x="642" y="607"/>
                </a:lnTo>
                <a:lnTo>
                  <a:pt x="640" y="606"/>
                </a:lnTo>
                <a:lnTo>
                  <a:pt x="638" y="604"/>
                </a:lnTo>
                <a:lnTo>
                  <a:pt x="636" y="602"/>
                </a:lnTo>
                <a:lnTo>
                  <a:pt x="636" y="601"/>
                </a:lnTo>
                <a:lnTo>
                  <a:pt x="624" y="601"/>
                </a:lnTo>
                <a:lnTo>
                  <a:pt x="624" y="644"/>
                </a:lnTo>
                <a:lnTo>
                  <a:pt x="551" y="644"/>
                </a:lnTo>
                <a:lnTo>
                  <a:pt x="545" y="635"/>
                </a:lnTo>
                <a:lnTo>
                  <a:pt x="539" y="643"/>
                </a:lnTo>
                <a:lnTo>
                  <a:pt x="532" y="652"/>
                </a:lnTo>
                <a:lnTo>
                  <a:pt x="525" y="660"/>
                </a:lnTo>
                <a:lnTo>
                  <a:pt x="517" y="667"/>
                </a:lnTo>
                <a:lnTo>
                  <a:pt x="509" y="674"/>
                </a:lnTo>
                <a:lnTo>
                  <a:pt x="501" y="681"/>
                </a:lnTo>
                <a:lnTo>
                  <a:pt x="492" y="686"/>
                </a:lnTo>
                <a:lnTo>
                  <a:pt x="483" y="692"/>
                </a:lnTo>
                <a:lnTo>
                  <a:pt x="474" y="697"/>
                </a:lnTo>
                <a:lnTo>
                  <a:pt x="464" y="701"/>
                </a:lnTo>
                <a:lnTo>
                  <a:pt x="454" y="705"/>
                </a:lnTo>
                <a:lnTo>
                  <a:pt x="443" y="708"/>
                </a:lnTo>
                <a:lnTo>
                  <a:pt x="432" y="710"/>
                </a:lnTo>
                <a:lnTo>
                  <a:pt x="422" y="712"/>
                </a:lnTo>
                <a:lnTo>
                  <a:pt x="410" y="713"/>
                </a:lnTo>
                <a:lnTo>
                  <a:pt x="399" y="714"/>
                </a:lnTo>
                <a:lnTo>
                  <a:pt x="388" y="713"/>
                </a:lnTo>
                <a:lnTo>
                  <a:pt x="378" y="712"/>
                </a:lnTo>
                <a:lnTo>
                  <a:pt x="368" y="711"/>
                </a:lnTo>
                <a:lnTo>
                  <a:pt x="363" y="710"/>
                </a:lnTo>
                <a:lnTo>
                  <a:pt x="357" y="709"/>
                </a:lnTo>
                <a:lnTo>
                  <a:pt x="348" y="706"/>
                </a:lnTo>
                <a:lnTo>
                  <a:pt x="338" y="702"/>
                </a:lnTo>
                <a:lnTo>
                  <a:pt x="329" y="699"/>
                </a:lnTo>
                <a:lnTo>
                  <a:pt x="320" y="694"/>
                </a:lnTo>
                <a:lnTo>
                  <a:pt x="311" y="689"/>
                </a:lnTo>
                <a:lnTo>
                  <a:pt x="302" y="684"/>
                </a:lnTo>
                <a:lnTo>
                  <a:pt x="294" y="678"/>
                </a:lnTo>
                <a:lnTo>
                  <a:pt x="286" y="672"/>
                </a:lnTo>
                <a:lnTo>
                  <a:pt x="279" y="665"/>
                </a:lnTo>
                <a:lnTo>
                  <a:pt x="272" y="658"/>
                </a:lnTo>
                <a:lnTo>
                  <a:pt x="265" y="651"/>
                </a:lnTo>
                <a:lnTo>
                  <a:pt x="259" y="643"/>
                </a:lnTo>
                <a:lnTo>
                  <a:pt x="246" y="643"/>
                </a:lnTo>
                <a:lnTo>
                  <a:pt x="245" y="642"/>
                </a:lnTo>
                <a:lnTo>
                  <a:pt x="243" y="640"/>
                </a:lnTo>
                <a:lnTo>
                  <a:pt x="241" y="637"/>
                </a:lnTo>
                <a:lnTo>
                  <a:pt x="239" y="634"/>
                </a:lnTo>
                <a:lnTo>
                  <a:pt x="238" y="631"/>
                </a:lnTo>
                <a:lnTo>
                  <a:pt x="237" y="626"/>
                </a:lnTo>
                <a:lnTo>
                  <a:pt x="236" y="624"/>
                </a:lnTo>
                <a:lnTo>
                  <a:pt x="224" y="624"/>
                </a:lnTo>
                <a:lnTo>
                  <a:pt x="222" y="630"/>
                </a:lnTo>
                <a:lnTo>
                  <a:pt x="220" y="634"/>
                </a:lnTo>
                <a:lnTo>
                  <a:pt x="217" y="637"/>
                </a:lnTo>
                <a:lnTo>
                  <a:pt x="216" y="638"/>
                </a:lnTo>
                <a:lnTo>
                  <a:pt x="215" y="638"/>
                </a:lnTo>
                <a:lnTo>
                  <a:pt x="205" y="638"/>
                </a:lnTo>
                <a:lnTo>
                  <a:pt x="205" y="682"/>
                </a:lnTo>
                <a:lnTo>
                  <a:pt x="166" y="682"/>
                </a:lnTo>
                <a:lnTo>
                  <a:pt x="166" y="638"/>
                </a:lnTo>
                <a:lnTo>
                  <a:pt x="67" y="638"/>
                </a:lnTo>
                <a:lnTo>
                  <a:pt x="65" y="637"/>
                </a:lnTo>
                <a:lnTo>
                  <a:pt x="63" y="636"/>
                </a:lnTo>
                <a:lnTo>
                  <a:pt x="62" y="633"/>
                </a:lnTo>
                <a:lnTo>
                  <a:pt x="60" y="629"/>
                </a:lnTo>
                <a:lnTo>
                  <a:pt x="57" y="619"/>
                </a:lnTo>
                <a:lnTo>
                  <a:pt x="55" y="606"/>
                </a:lnTo>
                <a:lnTo>
                  <a:pt x="10" y="606"/>
                </a:lnTo>
                <a:lnTo>
                  <a:pt x="9" y="605"/>
                </a:lnTo>
                <a:lnTo>
                  <a:pt x="8" y="604"/>
                </a:lnTo>
                <a:lnTo>
                  <a:pt x="6" y="601"/>
                </a:lnTo>
                <a:lnTo>
                  <a:pt x="5" y="596"/>
                </a:lnTo>
                <a:lnTo>
                  <a:pt x="3" y="589"/>
                </a:lnTo>
                <a:lnTo>
                  <a:pt x="2" y="580"/>
                </a:lnTo>
                <a:lnTo>
                  <a:pt x="1" y="571"/>
                </a:lnTo>
                <a:lnTo>
                  <a:pt x="0" y="560"/>
                </a:lnTo>
                <a:lnTo>
                  <a:pt x="0" y="549"/>
                </a:lnTo>
                <a:lnTo>
                  <a:pt x="0" y="537"/>
                </a:lnTo>
                <a:lnTo>
                  <a:pt x="1" y="526"/>
                </a:lnTo>
                <a:lnTo>
                  <a:pt x="2" y="517"/>
                </a:lnTo>
                <a:lnTo>
                  <a:pt x="3" y="508"/>
                </a:lnTo>
                <a:lnTo>
                  <a:pt x="5" y="501"/>
                </a:lnTo>
                <a:lnTo>
                  <a:pt x="6" y="496"/>
                </a:lnTo>
                <a:lnTo>
                  <a:pt x="7" y="494"/>
                </a:lnTo>
                <a:lnTo>
                  <a:pt x="8" y="493"/>
                </a:lnTo>
                <a:lnTo>
                  <a:pt x="9" y="492"/>
                </a:lnTo>
                <a:lnTo>
                  <a:pt x="10" y="492"/>
                </a:lnTo>
                <a:lnTo>
                  <a:pt x="55" y="492"/>
                </a:lnTo>
                <a:lnTo>
                  <a:pt x="57" y="478"/>
                </a:lnTo>
                <a:lnTo>
                  <a:pt x="60" y="468"/>
                </a:lnTo>
                <a:lnTo>
                  <a:pt x="62" y="464"/>
                </a:lnTo>
                <a:lnTo>
                  <a:pt x="63" y="462"/>
                </a:lnTo>
                <a:lnTo>
                  <a:pt x="65" y="460"/>
                </a:lnTo>
                <a:lnTo>
                  <a:pt x="66" y="460"/>
                </a:lnTo>
                <a:lnTo>
                  <a:pt x="67" y="459"/>
                </a:lnTo>
                <a:lnTo>
                  <a:pt x="81" y="459"/>
                </a:lnTo>
                <a:lnTo>
                  <a:pt x="81" y="415"/>
                </a:lnTo>
                <a:lnTo>
                  <a:pt x="122" y="415"/>
                </a:lnTo>
                <a:lnTo>
                  <a:pt x="122" y="459"/>
                </a:lnTo>
                <a:lnTo>
                  <a:pt x="215" y="459"/>
                </a:lnTo>
                <a:lnTo>
                  <a:pt x="216" y="460"/>
                </a:lnTo>
                <a:lnTo>
                  <a:pt x="218" y="460"/>
                </a:lnTo>
                <a:lnTo>
                  <a:pt x="219" y="462"/>
                </a:lnTo>
                <a:lnTo>
                  <a:pt x="220" y="464"/>
                </a:lnTo>
                <a:lnTo>
                  <a:pt x="222" y="469"/>
                </a:lnTo>
                <a:lnTo>
                  <a:pt x="224" y="475"/>
                </a:lnTo>
                <a:lnTo>
                  <a:pt x="231" y="475"/>
                </a:lnTo>
                <a:lnTo>
                  <a:pt x="232" y="469"/>
                </a:lnTo>
                <a:lnTo>
                  <a:pt x="234" y="463"/>
                </a:lnTo>
                <a:lnTo>
                  <a:pt x="236" y="458"/>
                </a:lnTo>
                <a:lnTo>
                  <a:pt x="239" y="455"/>
                </a:lnTo>
                <a:lnTo>
                  <a:pt x="241" y="452"/>
                </a:lnTo>
                <a:lnTo>
                  <a:pt x="243" y="450"/>
                </a:lnTo>
                <a:lnTo>
                  <a:pt x="244" y="449"/>
                </a:lnTo>
                <a:lnTo>
                  <a:pt x="251" y="449"/>
                </a:lnTo>
                <a:lnTo>
                  <a:pt x="257" y="439"/>
                </a:lnTo>
                <a:lnTo>
                  <a:pt x="264" y="431"/>
                </a:lnTo>
                <a:lnTo>
                  <a:pt x="271" y="423"/>
                </a:lnTo>
                <a:lnTo>
                  <a:pt x="279" y="415"/>
                </a:lnTo>
                <a:lnTo>
                  <a:pt x="287" y="408"/>
                </a:lnTo>
                <a:lnTo>
                  <a:pt x="295" y="401"/>
                </a:lnTo>
                <a:lnTo>
                  <a:pt x="304" y="394"/>
                </a:lnTo>
                <a:lnTo>
                  <a:pt x="313" y="389"/>
                </a:lnTo>
                <a:lnTo>
                  <a:pt x="323" y="384"/>
                </a:lnTo>
                <a:lnTo>
                  <a:pt x="333" y="379"/>
                </a:lnTo>
                <a:lnTo>
                  <a:pt x="343" y="375"/>
                </a:lnTo>
                <a:lnTo>
                  <a:pt x="354" y="372"/>
                </a:lnTo>
                <a:lnTo>
                  <a:pt x="365" y="370"/>
                </a:lnTo>
                <a:lnTo>
                  <a:pt x="376" y="368"/>
                </a:lnTo>
                <a:lnTo>
                  <a:pt x="387" y="367"/>
                </a:lnTo>
                <a:lnTo>
                  <a:pt x="399" y="366"/>
                </a:lnTo>
                <a:lnTo>
                  <a:pt x="411" y="367"/>
                </a:lnTo>
                <a:lnTo>
                  <a:pt x="422" y="368"/>
                </a:lnTo>
                <a:lnTo>
                  <a:pt x="433" y="370"/>
                </a:lnTo>
                <a:lnTo>
                  <a:pt x="444" y="372"/>
                </a:lnTo>
                <a:lnTo>
                  <a:pt x="455" y="375"/>
                </a:lnTo>
                <a:lnTo>
                  <a:pt x="465" y="379"/>
                </a:lnTo>
                <a:lnTo>
                  <a:pt x="475" y="384"/>
                </a:lnTo>
                <a:lnTo>
                  <a:pt x="485" y="389"/>
                </a:lnTo>
                <a:lnTo>
                  <a:pt x="494" y="395"/>
                </a:lnTo>
                <a:lnTo>
                  <a:pt x="503" y="401"/>
                </a:lnTo>
                <a:lnTo>
                  <a:pt x="512" y="408"/>
                </a:lnTo>
                <a:lnTo>
                  <a:pt x="520" y="415"/>
                </a:lnTo>
                <a:lnTo>
                  <a:pt x="524" y="419"/>
                </a:lnTo>
                <a:lnTo>
                  <a:pt x="527" y="423"/>
                </a:lnTo>
                <a:lnTo>
                  <a:pt x="534" y="431"/>
                </a:lnTo>
                <a:lnTo>
                  <a:pt x="541" y="440"/>
                </a:lnTo>
                <a:lnTo>
                  <a:pt x="547" y="449"/>
                </a:lnTo>
                <a:lnTo>
                  <a:pt x="623" y="449"/>
                </a:lnTo>
                <a:lnTo>
                  <a:pt x="624" y="450"/>
                </a:lnTo>
                <a:lnTo>
                  <a:pt x="625" y="453"/>
                </a:lnTo>
                <a:lnTo>
                  <a:pt x="626" y="459"/>
                </a:lnTo>
                <a:lnTo>
                  <a:pt x="627" y="465"/>
                </a:lnTo>
                <a:lnTo>
                  <a:pt x="628" y="473"/>
                </a:lnTo>
                <a:lnTo>
                  <a:pt x="628" y="491"/>
                </a:lnTo>
                <a:lnTo>
                  <a:pt x="639" y="491"/>
                </a:lnTo>
                <a:lnTo>
                  <a:pt x="641" y="487"/>
                </a:lnTo>
                <a:lnTo>
                  <a:pt x="679" y="487"/>
                </a:lnTo>
                <a:lnTo>
                  <a:pt x="679" y="451"/>
                </a:lnTo>
                <a:lnTo>
                  <a:pt x="684" y="451"/>
                </a:lnTo>
                <a:lnTo>
                  <a:pt x="684" y="437"/>
                </a:lnTo>
                <a:lnTo>
                  <a:pt x="680" y="437"/>
                </a:lnTo>
                <a:lnTo>
                  <a:pt x="672" y="431"/>
                </a:lnTo>
                <a:lnTo>
                  <a:pt x="642" y="431"/>
                </a:lnTo>
                <a:lnTo>
                  <a:pt x="642" y="355"/>
                </a:lnTo>
                <a:lnTo>
                  <a:pt x="665" y="347"/>
                </a:lnTo>
                <a:lnTo>
                  <a:pt x="662" y="345"/>
                </a:lnTo>
                <a:lnTo>
                  <a:pt x="655" y="340"/>
                </a:lnTo>
                <a:lnTo>
                  <a:pt x="648" y="335"/>
                </a:lnTo>
                <a:lnTo>
                  <a:pt x="642" y="329"/>
                </a:lnTo>
                <a:lnTo>
                  <a:pt x="635" y="323"/>
                </a:lnTo>
                <a:lnTo>
                  <a:pt x="629" y="317"/>
                </a:lnTo>
                <a:lnTo>
                  <a:pt x="624" y="310"/>
                </a:lnTo>
                <a:lnTo>
                  <a:pt x="619" y="303"/>
                </a:lnTo>
                <a:lnTo>
                  <a:pt x="614" y="296"/>
                </a:lnTo>
                <a:lnTo>
                  <a:pt x="610" y="289"/>
                </a:lnTo>
                <a:lnTo>
                  <a:pt x="605" y="282"/>
                </a:lnTo>
                <a:lnTo>
                  <a:pt x="602" y="274"/>
                </a:lnTo>
                <a:lnTo>
                  <a:pt x="598" y="267"/>
                </a:lnTo>
                <a:lnTo>
                  <a:pt x="596" y="259"/>
                </a:lnTo>
                <a:lnTo>
                  <a:pt x="593" y="251"/>
                </a:lnTo>
                <a:lnTo>
                  <a:pt x="591" y="243"/>
                </a:lnTo>
                <a:lnTo>
                  <a:pt x="589" y="235"/>
                </a:lnTo>
                <a:lnTo>
                  <a:pt x="587" y="218"/>
                </a:lnTo>
                <a:lnTo>
                  <a:pt x="586" y="210"/>
                </a:lnTo>
                <a:lnTo>
                  <a:pt x="586" y="201"/>
                </a:lnTo>
                <a:lnTo>
                  <a:pt x="587" y="185"/>
                </a:lnTo>
                <a:lnTo>
                  <a:pt x="588" y="176"/>
                </a:lnTo>
                <a:lnTo>
                  <a:pt x="589" y="168"/>
                </a:lnTo>
                <a:lnTo>
                  <a:pt x="591" y="160"/>
                </a:lnTo>
                <a:lnTo>
                  <a:pt x="593" y="151"/>
                </a:lnTo>
                <a:lnTo>
                  <a:pt x="596" y="143"/>
                </a:lnTo>
                <a:lnTo>
                  <a:pt x="599" y="135"/>
                </a:lnTo>
                <a:lnTo>
                  <a:pt x="606" y="120"/>
                </a:lnTo>
                <a:lnTo>
                  <a:pt x="611" y="112"/>
                </a:lnTo>
                <a:lnTo>
                  <a:pt x="616" y="104"/>
                </a:lnTo>
                <a:lnTo>
                  <a:pt x="621" y="96"/>
                </a:lnTo>
                <a:lnTo>
                  <a:pt x="627" y="89"/>
                </a:lnTo>
                <a:lnTo>
                  <a:pt x="633" y="82"/>
                </a:lnTo>
                <a:lnTo>
                  <a:pt x="640" y="75"/>
                </a:lnTo>
                <a:lnTo>
                  <a:pt x="640" y="60"/>
                </a:lnTo>
                <a:lnTo>
                  <a:pt x="642" y="55"/>
                </a:lnTo>
                <a:lnTo>
                  <a:pt x="643" y="52"/>
                </a:lnTo>
                <a:lnTo>
                  <a:pt x="645" y="50"/>
                </a:lnTo>
                <a:lnTo>
                  <a:pt x="649" y="46"/>
                </a:lnTo>
                <a:lnTo>
                  <a:pt x="654" y="43"/>
                </a:lnTo>
                <a:lnTo>
                  <a:pt x="659" y="41"/>
                </a:lnTo>
                <a:lnTo>
                  <a:pt x="663" y="39"/>
                </a:lnTo>
                <a:lnTo>
                  <a:pt x="667" y="37"/>
                </a:lnTo>
                <a:lnTo>
                  <a:pt x="667" y="24"/>
                </a:lnTo>
                <a:lnTo>
                  <a:pt x="680" y="24"/>
                </a:lnTo>
                <a:lnTo>
                  <a:pt x="680" y="12"/>
                </a:lnTo>
                <a:lnTo>
                  <a:pt x="682" y="10"/>
                </a:lnTo>
                <a:lnTo>
                  <a:pt x="684" y="8"/>
                </a:lnTo>
                <a:lnTo>
                  <a:pt x="689" y="6"/>
                </a:lnTo>
                <a:lnTo>
                  <a:pt x="696" y="4"/>
                </a:lnTo>
                <a:lnTo>
                  <a:pt x="701" y="3"/>
                </a:lnTo>
                <a:lnTo>
                  <a:pt x="706" y="2"/>
                </a:lnTo>
                <a:lnTo>
                  <a:pt x="720" y="1"/>
                </a:lnTo>
                <a:lnTo>
                  <a:pt x="737" y="0"/>
                </a:lnTo>
                <a:lnTo>
                  <a:pt x="755" y="1"/>
                </a:lnTo>
                <a:lnTo>
                  <a:pt x="769" y="2"/>
                </a:lnTo>
                <a:lnTo>
                  <a:pt x="780" y="3"/>
                </a:lnTo>
                <a:lnTo>
                  <a:pt x="788" y="5"/>
                </a:lnTo>
                <a:lnTo>
                  <a:pt x="794" y="7"/>
                </a:lnTo>
                <a:lnTo>
                  <a:pt x="798" y="8"/>
                </a:lnTo>
                <a:lnTo>
                  <a:pt x="800" y="10"/>
                </a:lnTo>
                <a:lnTo>
                  <a:pt x="800" y="24"/>
                </a:lnTo>
                <a:lnTo>
                  <a:pt x="821" y="24"/>
                </a:lnTo>
                <a:lnTo>
                  <a:pt x="821" y="39"/>
                </a:lnTo>
                <a:lnTo>
                  <a:pt x="830" y="43"/>
                </a:lnTo>
                <a:lnTo>
                  <a:pt x="839" y="47"/>
                </a:lnTo>
                <a:lnTo>
                  <a:pt x="848" y="52"/>
                </a:lnTo>
                <a:lnTo>
                  <a:pt x="857" y="57"/>
                </a:lnTo>
                <a:lnTo>
                  <a:pt x="864" y="63"/>
                </a:lnTo>
                <a:lnTo>
                  <a:pt x="871" y="68"/>
                </a:lnTo>
                <a:lnTo>
                  <a:pt x="877" y="74"/>
                </a:lnTo>
                <a:lnTo>
                  <a:pt x="884" y="80"/>
                </a:lnTo>
                <a:lnTo>
                  <a:pt x="890" y="86"/>
                </a:lnTo>
                <a:lnTo>
                  <a:pt x="895" y="93"/>
                </a:lnTo>
                <a:lnTo>
                  <a:pt x="900" y="100"/>
                </a:lnTo>
                <a:lnTo>
                  <a:pt x="905" y="107"/>
                </a:lnTo>
                <a:lnTo>
                  <a:pt x="909" y="114"/>
                </a:lnTo>
                <a:lnTo>
                  <a:pt x="914" y="121"/>
                </a:lnTo>
                <a:lnTo>
                  <a:pt x="917" y="129"/>
                </a:lnTo>
                <a:lnTo>
                  <a:pt x="921" y="136"/>
                </a:lnTo>
                <a:lnTo>
                  <a:pt x="923" y="144"/>
                </a:lnTo>
                <a:lnTo>
                  <a:pt x="926" y="152"/>
                </a:lnTo>
                <a:lnTo>
                  <a:pt x="928" y="160"/>
                </a:lnTo>
                <a:lnTo>
                  <a:pt x="930" y="168"/>
                </a:lnTo>
                <a:lnTo>
                  <a:pt x="932" y="185"/>
                </a:lnTo>
                <a:lnTo>
                  <a:pt x="933" y="193"/>
                </a:lnTo>
                <a:lnTo>
                  <a:pt x="933" y="201"/>
                </a:lnTo>
                <a:lnTo>
                  <a:pt x="932" y="218"/>
                </a:lnTo>
                <a:lnTo>
                  <a:pt x="931" y="227"/>
                </a:lnTo>
                <a:lnTo>
                  <a:pt x="930" y="235"/>
                </a:lnTo>
                <a:lnTo>
                  <a:pt x="928" y="243"/>
                </a:lnTo>
                <a:lnTo>
                  <a:pt x="926" y="251"/>
                </a:lnTo>
                <a:lnTo>
                  <a:pt x="923" y="260"/>
                </a:lnTo>
                <a:lnTo>
                  <a:pt x="920" y="268"/>
                </a:lnTo>
                <a:lnTo>
                  <a:pt x="913" y="283"/>
                </a:lnTo>
                <a:lnTo>
                  <a:pt x="908" y="291"/>
                </a:lnTo>
                <a:lnTo>
                  <a:pt x="903" y="299"/>
                </a:lnTo>
                <a:lnTo>
                  <a:pt x="896" y="308"/>
                </a:lnTo>
                <a:lnTo>
                  <a:pt x="889" y="318"/>
                </a:lnTo>
                <a:lnTo>
                  <a:pt x="881" y="326"/>
                </a:lnTo>
                <a:lnTo>
                  <a:pt x="872" y="334"/>
                </a:lnTo>
                <a:lnTo>
                  <a:pt x="863" y="341"/>
                </a:lnTo>
                <a:lnTo>
                  <a:pt x="853" y="348"/>
                </a:lnTo>
                <a:lnTo>
                  <a:pt x="843" y="354"/>
                </a:lnTo>
                <a:lnTo>
                  <a:pt x="833" y="359"/>
                </a:lnTo>
                <a:lnTo>
                  <a:pt x="833" y="433"/>
                </a:lnTo>
                <a:lnTo>
                  <a:pt x="810" y="433"/>
                </a:lnTo>
                <a:lnTo>
                  <a:pt x="808" y="434"/>
                </a:lnTo>
                <a:lnTo>
                  <a:pt x="807" y="435"/>
                </a:lnTo>
                <a:lnTo>
                  <a:pt x="802" y="436"/>
                </a:lnTo>
                <a:lnTo>
                  <a:pt x="796" y="437"/>
                </a:lnTo>
                <a:lnTo>
                  <a:pt x="796" y="451"/>
                </a:lnTo>
                <a:lnTo>
                  <a:pt x="803" y="451"/>
                </a:lnTo>
                <a:lnTo>
                  <a:pt x="803" y="486"/>
                </a:lnTo>
                <a:lnTo>
                  <a:pt x="841" y="486"/>
                </a:lnTo>
                <a:lnTo>
                  <a:pt x="841" y="491"/>
                </a:lnTo>
                <a:lnTo>
                  <a:pt x="847" y="491"/>
                </a:lnTo>
                <a:lnTo>
                  <a:pt x="847" y="485"/>
                </a:lnTo>
                <a:lnTo>
                  <a:pt x="847" y="480"/>
                </a:lnTo>
                <a:lnTo>
                  <a:pt x="849" y="472"/>
                </a:lnTo>
                <a:lnTo>
                  <a:pt x="851" y="468"/>
                </a:lnTo>
                <a:lnTo>
                  <a:pt x="852" y="464"/>
                </a:lnTo>
                <a:lnTo>
                  <a:pt x="854" y="461"/>
                </a:lnTo>
                <a:lnTo>
                  <a:pt x="856" y="459"/>
                </a:lnTo>
                <a:lnTo>
                  <a:pt x="859" y="454"/>
                </a:lnTo>
                <a:lnTo>
                  <a:pt x="862" y="452"/>
                </a:lnTo>
                <a:lnTo>
                  <a:pt x="865" y="449"/>
                </a:lnTo>
                <a:lnTo>
                  <a:pt x="938" y="449"/>
                </a:lnTo>
                <a:lnTo>
                  <a:pt x="938" y="451"/>
                </a:lnTo>
                <a:lnTo>
                  <a:pt x="942" y="446"/>
                </a:lnTo>
                <a:lnTo>
                  <a:pt x="945" y="441"/>
                </a:lnTo>
                <a:lnTo>
                  <a:pt x="952" y="431"/>
                </a:lnTo>
                <a:lnTo>
                  <a:pt x="960" y="422"/>
                </a:lnTo>
                <a:lnTo>
                  <a:pt x="969" y="413"/>
                </a:lnTo>
                <a:lnTo>
                  <a:pt x="978" y="405"/>
                </a:lnTo>
                <a:lnTo>
                  <a:pt x="983" y="402"/>
                </a:lnTo>
                <a:lnTo>
                  <a:pt x="988" y="398"/>
                </a:lnTo>
                <a:lnTo>
                  <a:pt x="998" y="391"/>
                </a:lnTo>
                <a:lnTo>
                  <a:pt x="1009" y="385"/>
                </a:lnTo>
                <a:lnTo>
                  <a:pt x="1020" y="380"/>
                </a:lnTo>
                <a:lnTo>
                  <a:pt x="1031" y="376"/>
                </a:lnTo>
                <a:lnTo>
                  <a:pt x="1043" y="372"/>
                </a:lnTo>
                <a:lnTo>
                  <a:pt x="1055" y="369"/>
                </a:lnTo>
                <a:lnTo>
                  <a:pt x="1067" y="368"/>
                </a:lnTo>
                <a:lnTo>
                  <a:pt x="1080" y="367"/>
                </a:lnTo>
                <a:lnTo>
                  <a:pt x="1093" y="367"/>
                </a:lnTo>
                <a:lnTo>
                  <a:pt x="1106" y="367"/>
                </a:lnTo>
                <a:lnTo>
                  <a:pt x="1118" y="369"/>
                </a:lnTo>
                <a:lnTo>
                  <a:pt x="1130" y="372"/>
                </a:lnTo>
                <a:lnTo>
                  <a:pt x="1141" y="375"/>
                </a:lnTo>
                <a:lnTo>
                  <a:pt x="1152" y="379"/>
                </a:lnTo>
                <a:lnTo>
                  <a:pt x="1163" y="384"/>
                </a:lnTo>
                <a:lnTo>
                  <a:pt x="1173" y="389"/>
                </a:lnTo>
                <a:lnTo>
                  <a:pt x="1183" y="395"/>
                </a:lnTo>
                <a:lnTo>
                  <a:pt x="1193" y="402"/>
                </a:lnTo>
                <a:lnTo>
                  <a:pt x="1202" y="409"/>
                </a:lnTo>
                <a:lnTo>
                  <a:pt x="1210" y="417"/>
                </a:lnTo>
                <a:lnTo>
                  <a:pt x="1218" y="425"/>
                </a:lnTo>
                <a:lnTo>
                  <a:pt x="1225" y="434"/>
                </a:lnTo>
                <a:lnTo>
                  <a:pt x="1232" y="444"/>
                </a:lnTo>
                <a:lnTo>
                  <a:pt x="1238" y="453"/>
                </a:lnTo>
                <a:lnTo>
                  <a:pt x="1243" y="463"/>
                </a:lnTo>
                <a:lnTo>
                  <a:pt x="1248" y="474"/>
                </a:lnTo>
                <a:lnTo>
                  <a:pt x="1260" y="474"/>
                </a:lnTo>
                <a:lnTo>
                  <a:pt x="1260" y="496"/>
                </a:lnTo>
                <a:lnTo>
                  <a:pt x="1261" y="496"/>
                </a:lnTo>
                <a:lnTo>
                  <a:pt x="1263" y="497"/>
                </a:lnTo>
                <a:lnTo>
                  <a:pt x="1264" y="497"/>
                </a:lnTo>
                <a:lnTo>
                  <a:pt x="1265" y="498"/>
                </a:lnTo>
                <a:lnTo>
                  <a:pt x="1267" y="500"/>
                </a:lnTo>
                <a:lnTo>
                  <a:pt x="1268" y="502"/>
                </a:lnTo>
                <a:lnTo>
                  <a:pt x="1271" y="508"/>
                </a:lnTo>
                <a:lnTo>
                  <a:pt x="1274" y="517"/>
                </a:lnTo>
                <a:lnTo>
                  <a:pt x="1275" y="522"/>
                </a:lnTo>
                <a:lnTo>
                  <a:pt x="1276" y="529"/>
                </a:lnTo>
                <a:lnTo>
                  <a:pt x="1276" y="536"/>
                </a:lnTo>
                <a:lnTo>
                  <a:pt x="1276" y="545"/>
                </a:lnTo>
                <a:lnTo>
                  <a:pt x="1276" y="553"/>
                </a:lnTo>
                <a:lnTo>
                  <a:pt x="1276" y="561"/>
                </a:lnTo>
                <a:lnTo>
                  <a:pt x="1275" y="569"/>
                </a:lnTo>
                <a:lnTo>
                  <a:pt x="1273" y="575"/>
                </a:lnTo>
                <a:lnTo>
                  <a:pt x="1270" y="587"/>
                </a:lnTo>
                <a:lnTo>
                  <a:pt x="1267" y="596"/>
                </a:lnTo>
                <a:lnTo>
                  <a:pt x="1263" y="603"/>
                </a:lnTo>
                <a:lnTo>
                  <a:pt x="1260" y="608"/>
                </a:lnTo>
                <a:lnTo>
                  <a:pt x="1257" y="612"/>
                </a:lnTo>
                <a:lnTo>
                  <a:pt x="1257" y="621"/>
                </a:lnTo>
                <a:lnTo>
                  <a:pt x="1245" y="621"/>
                </a:lnTo>
                <a:lnTo>
                  <a:pt x="1233" y="644"/>
                </a:lnTo>
                <a:lnTo>
                  <a:pt x="1226" y="645"/>
                </a:lnTo>
                <a:lnTo>
                  <a:pt x="1219" y="653"/>
                </a:lnTo>
                <a:lnTo>
                  <a:pt x="1216" y="657"/>
                </a:lnTo>
                <a:lnTo>
                  <a:pt x="1212" y="661"/>
                </a:lnTo>
                <a:lnTo>
                  <a:pt x="1204" y="669"/>
                </a:lnTo>
                <a:lnTo>
                  <a:pt x="1196" y="676"/>
                </a:lnTo>
                <a:lnTo>
                  <a:pt x="1187" y="683"/>
                </a:lnTo>
                <a:lnTo>
                  <a:pt x="1178" y="689"/>
                </a:lnTo>
                <a:lnTo>
                  <a:pt x="1168" y="694"/>
                </a:lnTo>
                <a:lnTo>
                  <a:pt x="1158" y="699"/>
                </a:lnTo>
                <a:lnTo>
                  <a:pt x="1148" y="703"/>
                </a:lnTo>
                <a:lnTo>
                  <a:pt x="1137" y="707"/>
                </a:lnTo>
                <a:lnTo>
                  <a:pt x="1126" y="709"/>
                </a:lnTo>
                <a:lnTo>
                  <a:pt x="1115" y="712"/>
                </a:lnTo>
                <a:lnTo>
                  <a:pt x="1104" y="713"/>
                </a:lnTo>
                <a:lnTo>
                  <a:pt x="1093" y="714"/>
                </a:lnTo>
                <a:lnTo>
                  <a:pt x="1081" y="714"/>
                </a:lnTo>
                <a:lnTo>
                  <a:pt x="1069" y="713"/>
                </a:lnTo>
                <a:lnTo>
                  <a:pt x="1059" y="711"/>
                </a:lnTo>
                <a:lnTo>
                  <a:pt x="1049" y="709"/>
                </a:lnTo>
                <a:lnTo>
                  <a:pt x="1039" y="707"/>
                </a:lnTo>
                <a:lnTo>
                  <a:pt x="1029" y="704"/>
                </a:lnTo>
                <a:lnTo>
                  <a:pt x="1019" y="700"/>
                </a:lnTo>
                <a:lnTo>
                  <a:pt x="1010" y="696"/>
                </a:lnTo>
                <a:lnTo>
                  <a:pt x="1001" y="691"/>
                </a:lnTo>
                <a:lnTo>
                  <a:pt x="993" y="686"/>
                </a:lnTo>
                <a:lnTo>
                  <a:pt x="985" y="680"/>
                </a:lnTo>
                <a:lnTo>
                  <a:pt x="977" y="674"/>
                </a:lnTo>
                <a:lnTo>
                  <a:pt x="969" y="667"/>
                </a:lnTo>
                <a:lnTo>
                  <a:pt x="962" y="661"/>
                </a:lnTo>
                <a:lnTo>
                  <a:pt x="956" y="653"/>
                </a:lnTo>
                <a:lnTo>
                  <a:pt x="950" y="646"/>
                </a:lnTo>
                <a:lnTo>
                  <a:pt x="944" y="637"/>
                </a:lnTo>
                <a:lnTo>
                  <a:pt x="938" y="629"/>
                </a:lnTo>
                <a:lnTo>
                  <a:pt x="938" y="643"/>
                </a:lnTo>
                <a:lnTo>
                  <a:pt x="855" y="643"/>
                </a:lnTo>
                <a:lnTo>
                  <a:pt x="854" y="643"/>
                </a:lnTo>
                <a:lnTo>
                  <a:pt x="853" y="642"/>
                </a:lnTo>
                <a:lnTo>
                  <a:pt x="851" y="640"/>
                </a:lnTo>
                <a:lnTo>
                  <a:pt x="850" y="638"/>
                </a:lnTo>
                <a:lnTo>
                  <a:pt x="848" y="632"/>
                </a:lnTo>
                <a:lnTo>
                  <a:pt x="847" y="626"/>
                </a:lnTo>
                <a:lnTo>
                  <a:pt x="845" y="613"/>
                </a:lnTo>
                <a:lnTo>
                  <a:pt x="844" y="608"/>
                </a:lnTo>
                <a:lnTo>
                  <a:pt x="804" y="608"/>
                </a:lnTo>
                <a:lnTo>
                  <a:pt x="804" y="625"/>
                </a:lnTo>
                <a:lnTo>
                  <a:pt x="804" y="632"/>
                </a:lnTo>
                <a:lnTo>
                  <a:pt x="803" y="637"/>
                </a:lnTo>
                <a:lnTo>
                  <a:pt x="803" y="642"/>
                </a:lnTo>
                <a:lnTo>
                  <a:pt x="801" y="645"/>
                </a:lnTo>
                <a:lnTo>
                  <a:pt x="800" y="647"/>
                </a:lnTo>
                <a:lnTo>
                  <a:pt x="798" y="647"/>
                </a:lnTo>
                <a:lnTo>
                  <a:pt x="797" y="647"/>
                </a:lnTo>
                <a:lnTo>
                  <a:pt x="797" y="666"/>
                </a:lnTo>
                <a:lnTo>
                  <a:pt x="835" y="666"/>
                </a:lnTo>
                <a:lnTo>
                  <a:pt x="835" y="738"/>
                </a:lnTo>
                <a:lnTo>
                  <a:pt x="842" y="742"/>
                </a:lnTo>
                <a:lnTo>
                  <a:pt x="849" y="746"/>
                </a:lnTo>
                <a:lnTo>
                  <a:pt x="856" y="750"/>
                </a:lnTo>
                <a:lnTo>
                  <a:pt x="863" y="755"/>
                </a:lnTo>
                <a:lnTo>
                  <a:pt x="870" y="761"/>
                </a:lnTo>
                <a:lnTo>
                  <a:pt x="877" y="766"/>
                </a:lnTo>
                <a:lnTo>
                  <a:pt x="883" y="772"/>
                </a:lnTo>
                <a:lnTo>
                  <a:pt x="889" y="779"/>
                </a:lnTo>
                <a:lnTo>
                  <a:pt x="895" y="785"/>
                </a:lnTo>
                <a:lnTo>
                  <a:pt x="900" y="792"/>
                </a:lnTo>
                <a:lnTo>
                  <a:pt x="905" y="800"/>
                </a:lnTo>
                <a:lnTo>
                  <a:pt x="910" y="807"/>
                </a:lnTo>
                <a:lnTo>
                  <a:pt x="914" y="815"/>
                </a:lnTo>
                <a:lnTo>
                  <a:pt x="918" y="822"/>
                </a:lnTo>
                <a:lnTo>
                  <a:pt x="921" y="830"/>
                </a:lnTo>
                <a:lnTo>
                  <a:pt x="924" y="838"/>
                </a:lnTo>
                <a:lnTo>
                  <a:pt x="927" y="846"/>
                </a:lnTo>
                <a:lnTo>
                  <a:pt x="929" y="854"/>
                </a:lnTo>
                <a:lnTo>
                  <a:pt x="932" y="871"/>
                </a:lnTo>
                <a:lnTo>
                  <a:pt x="933" y="879"/>
                </a:lnTo>
                <a:lnTo>
                  <a:pt x="933" y="887"/>
                </a:lnTo>
                <a:lnTo>
                  <a:pt x="933" y="904"/>
                </a:lnTo>
                <a:lnTo>
                  <a:pt x="933" y="912"/>
                </a:lnTo>
                <a:lnTo>
                  <a:pt x="932" y="921"/>
                </a:lnTo>
                <a:lnTo>
                  <a:pt x="930" y="929"/>
                </a:lnTo>
                <a:lnTo>
                  <a:pt x="928" y="937"/>
                </a:lnTo>
                <a:lnTo>
                  <a:pt x="926" y="945"/>
                </a:lnTo>
                <a:lnTo>
                  <a:pt x="924" y="953"/>
                </a:lnTo>
                <a:lnTo>
                  <a:pt x="921" y="961"/>
                </a:lnTo>
                <a:lnTo>
                  <a:pt x="917" y="969"/>
                </a:lnTo>
                <a:lnTo>
                  <a:pt x="913" y="976"/>
                </a:lnTo>
                <a:lnTo>
                  <a:pt x="909" y="984"/>
                </a:lnTo>
                <a:lnTo>
                  <a:pt x="905" y="991"/>
                </a:lnTo>
                <a:lnTo>
                  <a:pt x="900" y="998"/>
                </a:lnTo>
                <a:lnTo>
                  <a:pt x="894" y="1005"/>
                </a:lnTo>
                <a:lnTo>
                  <a:pt x="889" y="1011"/>
                </a:lnTo>
                <a:lnTo>
                  <a:pt x="876" y="1024"/>
                </a:lnTo>
                <a:lnTo>
                  <a:pt x="870" y="1029"/>
                </a:lnTo>
                <a:lnTo>
                  <a:pt x="864" y="1034"/>
                </a:lnTo>
                <a:lnTo>
                  <a:pt x="857" y="1039"/>
                </a:lnTo>
                <a:lnTo>
                  <a:pt x="851" y="1043"/>
                </a:lnTo>
                <a:lnTo>
                  <a:pt x="837" y="1050"/>
                </a:lnTo>
                <a:lnTo>
                  <a:pt x="824" y="1057"/>
                </a:lnTo>
                <a:lnTo>
                  <a:pt x="824" y="1064"/>
                </a:lnTo>
                <a:lnTo>
                  <a:pt x="801" y="1064"/>
                </a:lnTo>
                <a:lnTo>
                  <a:pt x="798" y="1064"/>
                </a:lnTo>
                <a:lnTo>
                  <a:pt x="832" y="1082"/>
                </a:lnTo>
                <a:lnTo>
                  <a:pt x="832" y="1064"/>
                </a:lnTo>
                <a:lnTo>
                  <a:pt x="840" y="1062"/>
                </a:lnTo>
                <a:lnTo>
                  <a:pt x="840" y="1057"/>
                </a:lnTo>
                <a:lnTo>
                  <a:pt x="841" y="1056"/>
                </a:lnTo>
                <a:lnTo>
                  <a:pt x="847" y="1055"/>
                </a:lnTo>
                <a:lnTo>
                  <a:pt x="852" y="1054"/>
                </a:lnTo>
                <a:lnTo>
                  <a:pt x="858" y="1054"/>
                </a:lnTo>
                <a:lnTo>
                  <a:pt x="867" y="1055"/>
                </a:lnTo>
                <a:lnTo>
                  <a:pt x="877" y="1057"/>
                </a:lnTo>
                <a:lnTo>
                  <a:pt x="877" y="1062"/>
                </a:lnTo>
                <a:lnTo>
                  <a:pt x="884" y="1063"/>
                </a:lnTo>
                <a:lnTo>
                  <a:pt x="884" y="1098"/>
                </a:lnTo>
                <a:lnTo>
                  <a:pt x="881" y="1104"/>
                </a:lnTo>
                <a:lnTo>
                  <a:pt x="894" y="1104"/>
                </a:lnTo>
                <a:lnTo>
                  <a:pt x="894" y="1077"/>
                </a:lnTo>
                <a:lnTo>
                  <a:pt x="904" y="1073"/>
                </a:lnTo>
                <a:lnTo>
                  <a:pt x="904" y="1068"/>
                </a:lnTo>
                <a:lnTo>
                  <a:pt x="908" y="1066"/>
                </a:lnTo>
                <a:lnTo>
                  <a:pt x="912" y="1065"/>
                </a:lnTo>
                <a:lnTo>
                  <a:pt x="918" y="1065"/>
                </a:lnTo>
                <a:lnTo>
                  <a:pt x="925" y="1065"/>
                </a:lnTo>
                <a:lnTo>
                  <a:pt x="930" y="1066"/>
                </a:lnTo>
                <a:lnTo>
                  <a:pt x="935" y="1067"/>
                </a:lnTo>
                <a:lnTo>
                  <a:pt x="935" y="1072"/>
                </a:lnTo>
                <a:lnTo>
                  <a:pt x="946" y="1077"/>
                </a:lnTo>
                <a:lnTo>
                  <a:pt x="946" y="1090"/>
                </a:lnTo>
                <a:lnTo>
                  <a:pt x="950" y="1090"/>
                </a:lnTo>
                <a:lnTo>
                  <a:pt x="950" y="1094"/>
                </a:lnTo>
                <a:lnTo>
                  <a:pt x="962" y="1099"/>
                </a:lnTo>
                <a:lnTo>
                  <a:pt x="962" y="1124"/>
                </a:lnTo>
                <a:lnTo>
                  <a:pt x="963" y="1124"/>
                </a:lnTo>
                <a:lnTo>
                  <a:pt x="964" y="1125"/>
                </a:lnTo>
                <a:lnTo>
                  <a:pt x="966" y="1126"/>
                </a:lnTo>
                <a:lnTo>
                  <a:pt x="967" y="1130"/>
                </a:lnTo>
                <a:lnTo>
                  <a:pt x="968" y="1135"/>
                </a:lnTo>
                <a:lnTo>
                  <a:pt x="969" y="1142"/>
                </a:lnTo>
                <a:lnTo>
                  <a:pt x="970" y="1152"/>
                </a:lnTo>
                <a:lnTo>
                  <a:pt x="970" y="1199"/>
                </a:lnTo>
                <a:lnTo>
                  <a:pt x="969" y="1202"/>
                </a:lnTo>
                <a:lnTo>
                  <a:pt x="968" y="1204"/>
                </a:lnTo>
                <a:lnTo>
                  <a:pt x="966" y="1206"/>
                </a:lnTo>
                <a:lnTo>
                  <a:pt x="964" y="1208"/>
                </a:lnTo>
                <a:lnTo>
                  <a:pt x="958" y="1213"/>
                </a:lnTo>
                <a:lnTo>
                  <a:pt x="966" y="1214"/>
                </a:lnTo>
                <a:lnTo>
                  <a:pt x="966" y="1273"/>
                </a:lnTo>
                <a:lnTo>
                  <a:pt x="966" y="1274"/>
                </a:lnTo>
                <a:lnTo>
                  <a:pt x="963" y="1277"/>
                </a:lnTo>
                <a:lnTo>
                  <a:pt x="959" y="1281"/>
                </a:lnTo>
                <a:lnTo>
                  <a:pt x="953" y="1286"/>
                </a:lnTo>
                <a:lnTo>
                  <a:pt x="953" y="1309"/>
                </a:lnTo>
                <a:lnTo>
                  <a:pt x="950" y="1312"/>
                </a:lnTo>
                <a:lnTo>
                  <a:pt x="946" y="1314"/>
                </a:lnTo>
                <a:lnTo>
                  <a:pt x="941" y="1316"/>
                </a:lnTo>
                <a:lnTo>
                  <a:pt x="945" y="1316"/>
                </a:lnTo>
                <a:lnTo>
                  <a:pt x="949" y="1316"/>
                </a:lnTo>
                <a:lnTo>
                  <a:pt x="954" y="1316"/>
                </a:lnTo>
                <a:lnTo>
                  <a:pt x="958" y="1317"/>
                </a:lnTo>
                <a:lnTo>
                  <a:pt x="963" y="1319"/>
                </a:lnTo>
                <a:lnTo>
                  <a:pt x="964" y="1321"/>
                </a:lnTo>
                <a:lnTo>
                  <a:pt x="966" y="1322"/>
                </a:lnTo>
                <a:lnTo>
                  <a:pt x="966" y="1324"/>
                </a:lnTo>
                <a:lnTo>
                  <a:pt x="967" y="1326"/>
                </a:lnTo>
                <a:lnTo>
                  <a:pt x="975" y="1326"/>
                </a:lnTo>
                <a:lnTo>
                  <a:pt x="975" y="1278"/>
                </a:lnTo>
                <a:lnTo>
                  <a:pt x="977" y="1276"/>
                </a:lnTo>
                <a:lnTo>
                  <a:pt x="979" y="1275"/>
                </a:lnTo>
                <a:lnTo>
                  <a:pt x="982" y="1273"/>
                </a:lnTo>
                <a:lnTo>
                  <a:pt x="987" y="1271"/>
                </a:lnTo>
                <a:lnTo>
                  <a:pt x="992" y="1270"/>
                </a:lnTo>
                <a:lnTo>
                  <a:pt x="999" y="1269"/>
                </a:lnTo>
                <a:lnTo>
                  <a:pt x="1007" y="1269"/>
                </a:lnTo>
                <a:lnTo>
                  <a:pt x="1016" y="1270"/>
                </a:lnTo>
                <a:lnTo>
                  <a:pt x="1024" y="1272"/>
                </a:lnTo>
                <a:lnTo>
                  <a:pt x="1032" y="1274"/>
                </a:lnTo>
                <a:lnTo>
                  <a:pt x="1039" y="1277"/>
                </a:lnTo>
                <a:lnTo>
                  <a:pt x="1049" y="1282"/>
                </a:lnTo>
                <a:lnTo>
                  <a:pt x="1053" y="1284"/>
                </a:lnTo>
                <a:lnTo>
                  <a:pt x="1065" y="1284"/>
                </a:lnTo>
                <a:lnTo>
                  <a:pt x="1068" y="1285"/>
                </a:lnTo>
                <a:lnTo>
                  <a:pt x="1070" y="1287"/>
                </a:lnTo>
                <a:lnTo>
                  <a:pt x="1072" y="1290"/>
                </a:lnTo>
                <a:lnTo>
                  <a:pt x="1075" y="1295"/>
                </a:lnTo>
                <a:lnTo>
                  <a:pt x="1076" y="1299"/>
                </a:lnTo>
                <a:lnTo>
                  <a:pt x="1077" y="1302"/>
                </a:lnTo>
                <a:lnTo>
                  <a:pt x="1079" y="1312"/>
                </a:lnTo>
                <a:lnTo>
                  <a:pt x="1079" y="1317"/>
                </a:lnTo>
                <a:lnTo>
                  <a:pt x="1080" y="1324"/>
                </a:lnTo>
                <a:lnTo>
                  <a:pt x="1123" y="1324"/>
                </a:lnTo>
                <a:lnTo>
                  <a:pt x="1123" y="1323"/>
                </a:lnTo>
                <a:lnTo>
                  <a:pt x="1125" y="1320"/>
                </a:lnTo>
                <a:lnTo>
                  <a:pt x="1128" y="1315"/>
                </a:lnTo>
                <a:lnTo>
                  <a:pt x="1129" y="1313"/>
                </a:lnTo>
                <a:lnTo>
                  <a:pt x="1132" y="1311"/>
                </a:lnTo>
                <a:lnTo>
                  <a:pt x="1138" y="1306"/>
                </a:lnTo>
                <a:lnTo>
                  <a:pt x="1141" y="1304"/>
                </a:lnTo>
                <a:lnTo>
                  <a:pt x="1145" y="1302"/>
                </a:lnTo>
                <a:lnTo>
                  <a:pt x="1150" y="1300"/>
                </a:lnTo>
                <a:lnTo>
                  <a:pt x="1155" y="1299"/>
                </a:lnTo>
                <a:lnTo>
                  <a:pt x="1161" y="1298"/>
                </a:lnTo>
                <a:lnTo>
                  <a:pt x="1168" y="1297"/>
                </a:lnTo>
                <a:lnTo>
                  <a:pt x="1174" y="1298"/>
                </a:lnTo>
                <a:lnTo>
                  <a:pt x="1180" y="1298"/>
                </a:lnTo>
                <a:lnTo>
                  <a:pt x="1186" y="1299"/>
                </a:lnTo>
                <a:lnTo>
                  <a:pt x="1191" y="1301"/>
                </a:lnTo>
                <a:lnTo>
                  <a:pt x="1200" y="1304"/>
                </a:lnTo>
                <a:lnTo>
                  <a:pt x="1208" y="1308"/>
                </a:lnTo>
                <a:lnTo>
                  <a:pt x="1214" y="1312"/>
                </a:lnTo>
                <a:lnTo>
                  <a:pt x="1218" y="1315"/>
                </a:lnTo>
                <a:lnTo>
                  <a:pt x="1221" y="1319"/>
                </a:lnTo>
                <a:lnTo>
                  <a:pt x="1249" y="1319"/>
                </a:lnTo>
                <a:lnTo>
                  <a:pt x="1249" y="1282"/>
                </a:lnTo>
                <a:lnTo>
                  <a:pt x="1249" y="1279"/>
                </a:lnTo>
                <a:lnTo>
                  <a:pt x="1250" y="1276"/>
                </a:lnTo>
                <a:lnTo>
                  <a:pt x="1251" y="1273"/>
                </a:lnTo>
                <a:lnTo>
                  <a:pt x="1253" y="1271"/>
                </a:lnTo>
                <a:lnTo>
                  <a:pt x="1256" y="1269"/>
                </a:lnTo>
                <a:lnTo>
                  <a:pt x="1259" y="1267"/>
                </a:lnTo>
                <a:lnTo>
                  <a:pt x="1265" y="1264"/>
                </a:lnTo>
                <a:lnTo>
                  <a:pt x="1272" y="1262"/>
                </a:lnTo>
                <a:lnTo>
                  <a:pt x="1278" y="1261"/>
                </a:lnTo>
                <a:lnTo>
                  <a:pt x="1289" y="1260"/>
                </a:lnTo>
                <a:lnTo>
                  <a:pt x="1294" y="1261"/>
                </a:lnTo>
                <a:lnTo>
                  <a:pt x="1301" y="1262"/>
                </a:lnTo>
                <a:lnTo>
                  <a:pt x="1308" y="1263"/>
                </a:lnTo>
                <a:lnTo>
                  <a:pt x="1315" y="1266"/>
                </a:lnTo>
                <a:lnTo>
                  <a:pt x="1321" y="1269"/>
                </a:lnTo>
                <a:lnTo>
                  <a:pt x="1324" y="1271"/>
                </a:lnTo>
                <a:lnTo>
                  <a:pt x="1327" y="1273"/>
                </a:lnTo>
                <a:lnTo>
                  <a:pt x="1329" y="1275"/>
                </a:lnTo>
                <a:lnTo>
                  <a:pt x="1331" y="1277"/>
                </a:lnTo>
                <a:lnTo>
                  <a:pt x="1332" y="1279"/>
                </a:lnTo>
                <a:lnTo>
                  <a:pt x="1332" y="1282"/>
                </a:lnTo>
                <a:lnTo>
                  <a:pt x="1354" y="1282"/>
                </a:lnTo>
                <a:lnTo>
                  <a:pt x="1357" y="1284"/>
                </a:lnTo>
                <a:lnTo>
                  <a:pt x="1362" y="1290"/>
                </a:lnTo>
                <a:lnTo>
                  <a:pt x="1365" y="1295"/>
                </a:lnTo>
                <a:lnTo>
                  <a:pt x="1368" y="1301"/>
                </a:lnTo>
                <a:lnTo>
                  <a:pt x="1370" y="1309"/>
                </a:lnTo>
                <a:lnTo>
                  <a:pt x="1372" y="1317"/>
                </a:lnTo>
                <a:lnTo>
                  <a:pt x="1388" y="1317"/>
                </a:lnTo>
                <a:lnTo>
                  <a:pt x="1403" y="1349"/>
                </a:lnTo>
                <a:lnTo>
                  <a:pt x="1403" y="1426"/>
                </a:lnTo>
                <a:lnTo>
                  <a:pt x="1407" y="1437"/>
                </a:lnTo>
                <a:lnTo>
                  <a:pt x="1410" y="1448"/>
                </a:lnTo>
                <a:lnTo>
                  <a:pt x="1412" y="1459"/>
                </a:lnTo>
                <a:lnTo>
                  <a:pt x="1413" y="1471"/>
                </a:lnTo>
                <a:lnTo>
                  <a:pt x="1413" y="1477"/>
                </a:lnTo>
                <a:lnTo>
                  <a:pt x="1413" y="1482"/>
                </a:lnTo>
                <a:lnTo>
                  <a:pt x="1413" y="1494"/>
                </a:lnTo>
                <a:lnTo>
                  <a:pt x="1412" y="1505"/>
                </a:lnTo>
                <a:lnTo>
                  <a:pt x="1410" y="1517"/>
                </a:lnTo>
                <a:lnTo>
                  <a:pt x="1407" y="1528"/>
                </a:lnTo>
                <a:lnTo>
                  <a:pt x="1405" y="1533"/>
                </a:lnTo>
                <a:lnTo>
                  <a:pt x="1403" y="1539"/>
                </a:lnTo>
                <a:lnTo>
                  <a:pt x="1401" y="1544"/>
                </a:lnTo>
                <a:lnTo>
                  <a:pt x="1399" y="1550"/>
                </a:lnTo>
                <a:lnTo>
                  <a:pt x="1393" y="1560"/>
                </a:lnTo>
                <a:lnTo>
                  <a:pt x="1387" y="1570"/>
                </a:lnTo>
                <a:lnTo>
                  <a:pt x="1380" y="1580"/>
                </a:lnTo>
                <a:lnTo>
                  <a:pt x="1372" y="1589"/>
                </a:lnTo>
                <a:lnTo>
                  <a:pt x="1364" y="1598"/>
                </a:lnTo>
                <a:lnTo>
                  <a:pt x="1358" y="1604"/>
                </a:lnTo>
                <a:lnTo>
                  <a:pt x="1351" y="1609"/>
                </a:lnTo>
                <a:lnTo>
                  <a:pt x="1345" y="1614"/>
                </a:lnTo>
                <a:lnTo>
                  <a:pt x="1338" y="1619"/>
                </a:lnTo>
                <a:lnTo>
                  <a:pt x="1331" y="1623"/>
                </a:lnTo>
                <a:lnTo>
                  <a:pt x="1324" y="1626"/>
                </a:lnTo>
                <a:lnTo>
                  <a:pt x="1317" y="1630"/>
                </a:lnTo>
                <a:lnTo>
                  <a:pt x="1310" y="1633"/>
                </a:lnTo>
                <a:lnTo>
                  <a:pt x="1302" y="1635"/>
                </a:lnTo>
                <a:lnTo>
                  <a:pt x="1295" y="1638"/>
                </a:lnTo>
                <a:lnTo>
                  <a:pt x="1287" y="1640"/>
                </a:lnTo>
                <a:lnTo>
                  <a:pt x="1280" y="1641"/>
                </a:lnTo>
                <a:lnTo>
                  <a:pt x="1272" y="1642"/>
                </a:lnTo>
                <a:lnTo>
                  <a:pt x="1264" y="1643"/>
                </a:lnTo>
                <a:lnTo>
                  <a:pt x="1256" y="1644"/>
                </a:lnTo>
                <a:lnTo>
                  <a:pt x="1249" y="1644"/>
                </a:lnTo>
                <a:lnTo>
                  <a:pt x="1241" y="1643"/>
                </a:lnTo>
                <a:lnTo>
                  <a:pt x="1233" y="1643"/>
                </a:lnTo>
                <a:lnTo>
                  <a:pt x="1225" y="1642"/>
                </a:lnTo>
                <a:lnTo>
                  <a:pt x="1218" y="1640"/>
                </a:lnTo>
                <a:lnTo>
                  <a:pt x="1210" y="1638"/>
                </a:lnTo>
                <a:lnTo>
                  <a:pt x="1203" y="1636"/>
                </a:lnTo>
                <a:lnTo>
                  <a:pt x="1195" y="1634"/>
                </a:lnTo>
                <a:lnTo>
                  <a:pt x="1188" y="1631"/>
                </a:lnTo>
                <a:lnTo>
                  <a:pt x="1181" y="1627"/>
                </a:lnTo>
                <a:lnTo>
                  <a:pt x="1174" y="1624"/>
                </a:lnTo>
                <a:lnTo>
                  <a:pt x="1167" y="1620"/>
                </a:lnTo>
                <a:lnTo>
                  <a:pt x="1160" y="1615"/>
                </a:lnTo>
                <a:lnTo>
                  <a:pt x="1153" y="1611"/>
                </a:lnTo>
                <a:lnTo>
                  <a:pt x="1147" y="1606"/>
                </a:lnTo>
                <a:lnTo>
                  <a:pt x="1141" y="1600"/>
                </a:lnTo>
                <a:lnTo>
                  <a:pt x="1135" y="1594"/>
                </a:lnTo>
                <a:lnTo>
                  <a:pt x="1129" y="1587"/>
                </a:lnTo>
                <a:lnTo>
                  <a:pt x="1123" y="1580"/>
                </a:lnTo>
                <a:lnTo>
                  <a:pt x="1118" y="1573"/>
                </a:lnTo>
                <a:lnTo>
                  <a:pt x="1113" y="1565"/>
                </a:lnTo>
                <a:lnTo>
                  <a:pt x="1108" y="1558"/>
                </a:lnTo>
                <a:lnTo>
                  <a:pt x="1104" y="1550"/>
                </a:lnTo>
                <a:lnTo>
                  <a:pt x="1101" y="1542"/>
                </a:lnTo>
                <a:lnTo>
                  <a:pt x="1098" y="1533"/>
                </a:lnTo>
                <a:lnTo>
                  <a:pt x="1095" y="1525"/>
                </a:lnTo>
                <a:lnTo>
                  <a:pt x="1093" y="1517"/>
                </a:lnTo>
                <a:lnTo>
                  <a:pt x="1092" y="1508"/>
                </a:lnTo>
                <a:lnTo>
                  <a:pt x="1090" y="1500"/>
                </a:lnTo>
                <a:lnTo>
                  <a:pt x="1090" y="1491"/>
                </a:lnTo>
                <a:lnTo>
                  <a:pt x="1089" y="1482"/>
                </a:lnTo>
                <a:lnTo>
                  <a:pt x="1090" y="1465"/>
                </a:lnTo>
                <a:lnTo>
                  <a:pt x="1088" y="1465"/>
                </a:lnTo>
                <a:lnTo>
                  <a:pt x="1088" y="1493"/>
                </a:lnTo>
                <a:lnTo>
                  <a:pt x="1087" y="1495"/>
                </a:lnTo>
                <a:lnTo>
                  <a:pt x="1084" y="1496"/>
                </a:lnTo>
                <a:lnTo>
                  <a:pt x="1080" y="1498"/>
                </a:lnTo>
                <a:lnTo>
                  <a:pt x="1076" y="1500"/>
                </a:lnTo>
                <a:lnTo>
                  <a:pt x="1069" y="1502"/>
                </a:lnTo>
                <a:lnTo>
                  <a:pt x="1062" y="1503"/>
                </a:lnTo>
                <a:lnTo>
                  <a:pt x="1052" y="1503"/>
                </a:lnTo>
                <a:lnTo>
                  <a:pt x="1043" y="1503"/>
                </a:lnTo>
                <a:lnTo>
                  <a:pt x="1034" y="1502"/>
                </a:lnTo>
                <a:lnTo>
                  <a:pt x="1026" y="1500"/>
                </a:lnTo>
                <a:lnTo>
                  <a:pt x="1019" y="1497"/>
                </a:lnTo>
                <a:lnTo>
                  <a:pt x="1016" y="1496"/>
                </a:lnTo>
                <a:lnTo>
                  <a:pt x="1014" y="1494"/>
                </a:lnTo>
                <a:lnTo>
                  <a:pt x="1011" y="1492"/>
                </a:lnTo>
                <a:lnTo>
                  <a:pt x="1009" y="1490"/>
                </a:lnTo>
                <a:lnTo>
                  <a:pt x="1008" y="1488"/>
                </a:lnTo>
                <a:lnTo>
                  <a:pt x="1007" y="1485"/>
                </a:lnTo>
                <a:lnTo>
                  <a:pt x="1006" y="1483"/>
                </a:lnTo>
                <a:lnTo>
                  <a:pt x="1006" y="1480"/>
                </a:lnTo>
                <a:lnTo>
                  <a:pt x="995" y="1480"/>
                </a:lnTo>
                <a:lnTo>
                  <a:pt x="984" y="1462"/>
                </a:lnTo>
                <a:lnTo>
                  <a:pt x="984" y="1435"/>
                </a:lnTo>
                <a:lnTo>
                  <a:pt x="920" y="1437"/>
                </a:lnTo>
                <a:lnTo>
                  <a:pt x="920" y="1440"/>
                </a:lnTo>
                <a:lnTo>
                  <a:pt x="920" y="1443"/>
                </a:lnTo>
                <a:lnTo>
                  <a:pt x="922" y="1444"/>
                </a:lnTo>
                <a:lnTo>
                  <a:pt x="929" y="1448"/>
                </a:lnTo>
                <a:lnTo>
                  <a:pt x="932" y="1451"/>
                </a:lnTo>
                <a:lnTo>
                  <a:pt x="935" y="1454"/>
                </a:lnTo>
                <a:lnTo>
                  <a:pt x="937" y="1457"/>
                </a:lnTo>
                <a:lnTo>
                  <a:pt x="938" y="1459"/>
                </a:lnTo>
                <a:lnTo>
                  <a:pt x="938" y="1460"/>
                </a:lnTo>
                <a:lnTo>
                  <a:pt x="938" y="1477"/>
                </a:lnTo>
                <a:lnTo>
                  <a:pt x="952" y="1486"/>
                </a:lnTo>
                <a:lnTo>
                  <a:pt x="952" y="1499"/>
                </a:lnTo>
                <a:lnTo>
                  <a:pt x="960" y="1508"/>
                </a:lnTo>
                <a:lnTo>
                  <a:pt x="960" y="1650"/>
                </a:lnTo>
                <a:lnTo>
                  <a:pt x="958" y="1654"/>
                </a:lnTo>
                <a:lnTo>
                  <a:pt x="951" y="1664"/>
                </a:lnTo>
                <a:lnTo>
                  <a:pt x="945" y="1671"/>
                </a:lnTo>
                <a:lnTo>
                  <a:pt x="937" y="1678"/>
                </a:lnTo>
                <a:lnTo>
                  <a:pt x="927" y="1686"/>
                </a:lnTo>
                <a:lnTo>
                  <a:pt x="915" y="1693"/>
                </a:lnTo>
                <a:lnTo>
                  <a:pt x="915" y="1717"/>
                </a:lnTo>
                <a:lnTo>
                  <a:pt x="913" y="1719"/>
                </a:lnTo>
                <a:lnTo>
                  <a:pt x="907" y="1723"/>
                </a:lnTo>
                <a:lnTo>
                  <a:pt x="903" y="1725"/>
                </a:lnTo>
                <a:lnTo>
                  <a:pt x="898" y="1727"/>
                </a:lnTo>
                <a:lnTo>
                  <a:pt x="891" y="1729"/>
                </a:lnTo>
                <a:lnTo>
                  <a:pt x="884" y="1729"/>
                </a:lnTo>
                <a:lnTo>
                  <a:pt x="878" y="1729"/>
                </a:lnTo>
                <a:lnTo>
                  <a:pt x="872" y="1728"/>
                </a:lnTo>
                <a:lnTo>
                  <a:pt x="868" y="1727"/>
                </a:lnTo>
                <a:lnTo>
                  <a:pt x="865" y="1725"/>
                </a:lnTo>
                <a:lnTo>
                  <a:pt x="862" y="1723"/>
                </a:lnTo>
                <a:lnTo>
                  <a:pt x="862" y="1721"/>
                </a:lnTo>
                <a:lnTo>
                  <a:pt x="862" y="1715"/>
                </a:lnTo>
                <a:lnTo>
                  <a:pt x="844" y="1720"/>
                </a:lnTo>
                <a:lnTo>
                  <a:pt x="835" y="1722"/>
                </a:lnTo>
                <a:lnTo>
                  <a:pt x="826" y="1723"/>
                </a:lnTo>
                <a:lnTo>
                  <a:pt x="826" y="1748"/>
                </a:lnTo>
                <a:lnTo>
                  <a:pt x="824" y="1750"/>
                </a:lnTo>
                <a:lnTo>
                  <a:pt x="823" y="1751"/>
                </a:lnTo>
                <a:lnTo>
                  <a:pt x="821" y="1753"/>
                </a:lnTo>
                <a:lnTo>
                  <a:pt x="814" y="1755"/>
                </a:lnTo>
                <a:lnTo>
                  <a:pt x="811" y="1756"/>
                </a:lnTo>
                <a:lnTo>
                  <a:pt x="807" y="1757"/>
                </a:lnTo>
                <a:lnTo>
                  <a:pt x="802" y="1757"/>
                </a:lnTo>
                <a:lnTo>
                  <a:pt x="798" y="1757"/>
                </a:lnTo>
                <a:lnTo>
                  <a:pt x="793" y="1756"/>
                </a:lnTo>
                <a:lnTo>
                  <a:pt x="789" y="1754"/>
                </a:lnTo>
                <a:lnTo>
                  <a:pt x="784" y="1752"/>
                </a:lnTo>
                <a:lnTo>
                  <a:pt x="780" y="1749"/>
                </a:lnTo>
                <a:lnTo>
                  <a:pt x="774" y="1743"/>
                </a:lnTo>
                <a:lnTo>
                  <a:pt x="770" y="1739"/>
                </a:lnTo>
                <a:lnTo>
                  <a:pt x="769" y="1737"/>
                </a:lnTo>
                <a:lnTo>
                  <a:pt x="769" y="1730"/>
                </a:lnTo>
                <a:lnTo>
                  <a:pt x="749" y="1731"/>
                </a:lnTo>
                <a:lnTo>
                  <a:pt x="727" y="1731"/>
                </a:lnTo>
                <a:lnTo>
                  <a:pt x="727" y="1748"/>
                </a:lnTo>
                <a:lnTo>
                  <a:pt x="726" y="1750"/>
                </a:lnTo>
                <a:lnTo>
                  <a:pt x="725" y="1752"/>
                </a:lnTo>
                <a:lnTo>
                  <a:pt x="722" y="1754"/>
                </a:lnTo>
                <a:lnTo>
                  <a:pt x="719" y="1756"/>
                </a:lnTo>
                <a:lnTo>
                  <a:pt x="714" y="1758"/>
                </a:lnTo>
                <a:lnTo>
                  <a:pt x="707" y="1760"/>
                </a:lnTo>
                <a:lnTo>
                  <a:pt x="698" y="1760"/>
                </a:lnTo>
                <a:lnTo>
                  <a:pt x="690" y="1760"/>
                </a:lnTo>
                <a:lnTo>
                  <a:pt x="683" y="1758"/>
                </a:lnTo>
                <a:lnTo>
                  <a:pt x="678" y="1756"/>
                </a:lnTo>
                <a:lnTo>
                  <a:pt x="674" y="1753"/>
                </a:lnTo>
                <a:lnTo>
                  <a:pt x="672" y="1751"/>
                </a:lnTo>
                <a:lnTo>
                  <a:pt x="671" y="1748"/>
                </a:lnTo>
                <a:lnTo>
                  <a:pt x="670" y="1747"/>
                </a:lnTo>
                <a:lnTo>
                  <a:pt x="670" y="1746"/>
                </a:lnTo>
                <a:lnTo>
                  <a:pt x="670" y="1728"/>
                </a:lnTo>
                <a:lnTo>
                  <a:pt x="654" y="1726"/>
                </a:lnTo>
                <a:lnTo>
                  <a:pt x="638" y="1724"/>
                </a:lnTo>
                <a:close/>
                <a:moveTo>
                  <a:pt x="840" y="891"/>
                </a:moveTo>
                <a:lnTo>
                  <a:pt x="837" y="901"/>
                </a:lnTo>
                <a:lnTo>
                  <a:pt x="836" y="905"/>
                </a:lnTo>
                <a:lnTo>
                  <a:pt x="834" y="910"/>
                </a:lnTo>
                <a:lnTo>
                  <a:pt x="829" y="918"/>
                </a:lnTo>
                <a:lnTo>
                  <a:pt x="826" y="922"/>
                </a:lnTo>
                <a:lnTo>
                  <a:pt x="823" y="926"/>
                </a:lnTo>
                <a:lnTo>
                  <a:pt x="817" y="933"/>
                </a:lnTo>
                <a:lnTo>
                  <a:pt x="810" y="939"/>
                </a:lnTo>
                <a:lnTo>
                  <a:pt x="802" y="945"/>
                </a:lnTo>
                <a:lnTo>
                  <a:pt x="793" y="950"/>
                </a:lnTo>
                <a:lnTo>
                  <a:pt x="797" y="950"/>
                </a:lnTo>
                <a:lnTo>
                  <a:pt x="803" y="956"/>
                </a:lnTo>
                <a:lnTo>
                  <a:pt x="818" y="955"/>
                </a:lnTo>
                <a:lnTo>
                  <a:pt x="835" y="964"/>
                </a:lnTo>
                <a:lnTo>
                  <a:pt x="835" y="1009"/>
                </a:lnTo>
                <a:lnTo>
                  <a:pt x="840" y="1007"/>
                </a:lnTo>
                <a:lnTo>
                  <a:pt x="844" y="1005"/>
                </a:lnTo>
                <a:lnTo>
                  <a:pt x="848" y="1004"/>
                </a:lnTo>
                <a:lnTo>
                  <a:pt x="851" y="1004"/>
                </a:lnTo>
                <a:lnTo>
                  <a:pt x="854" y="1004"/>
                </a:lnTo>
                <a:lnTo>
                  <a:pt x="857" y="1003"/>
                </a:lnTo>
                <a:lnTo>
                  <a:pt x="858" y="1000"/>
                </a:lnTo>
                <a:lnTo>
                  <a:pt x="859" y="997"/>
                </a:lnTo>
                <a:lnTo>
                  <a:pt x="859" y="994"/>
                </a:lnTo>
                <a:lnTo>
                  <a:pt x="861" y="990"/>
                </a:lnTo>
                <a:lnTo>
                  <a:pt x="863" y="986"/>
                </a:lnTo>
                <a:lnTo>
                  <a:pt x="866" y="982"/>
                </a:lnTo>
                <a:lnTo>
                  <a:pt x="869" y="978"/>
                </a:lnTo>
                <a:lnTo>
                  <a:pt x="873" y="975"/>
                </a:lnTo>
                <a:lnTo>
                  <a:pt x="876" y="973"/>
                </a:lnTo>
                <a:lnTo>
                  <a:pt x="878" y="973"/>
                </a:lnTo>
                <a:lnTo>
                  <a:pt x="879" y="972"/>
                </a:lnTo>
                <a:lnTo>
                  <a:pt x="882" y="971"/>
                </a:lnTo>
                <a:lnTo>
                  <a:pt x="884" y="969"/>
                </a:lnTo>
                <a:lnTo>
                  <a:pt x="885" y="966"/>
                </a:lnTo>
                <a:lnTo>
                  <a:pt x="885" y="964"/>
                </a:lnTo>
                <a:lnTo>
                  <a:pt x="884" y="960"/>
                </a:lnTo>
                <a:lnTo>
                  <a:pt x="884" y="956"/>
                </a:lnTo>
                <a:lnTo>
                  <a:pt x="885" y="952"/>
                </a:lnTo>
                <a:lnTo>
                  <a:pt x="887" y="947"/>
                </a:lnTo>
                <a:lnTo>
                  <a:pt x="889" y="942"/>
                </a:lnTo>
                <a:lnTo>
                  <a:pt x="891" y="939"/>
                </a:lnTo>
                <a:lnTo>
                  <a:pt x="894" y="936"/>
                </a:lnTo>
                <a:lnTo>
                  <a:pt x="897" y="934"/>
                </a:lnTo>
                <a:lnTo>
                  <a:pt x="899" y="932"/>
                </a:lnTo>
                <a:lnTo>
                  <a:pt x="901" y="929"/>
                </a:lnTo>
                <a:lnTo>
                  <a:pt x="900" y="926"/>
                </a:lnTo>
                <a:lnTo>
                  <a:pt x="900" y="924"/>
                </a:lnTo>
                <a:lnTo>
                  <a:pt x="899" y="922"/>
                </a:lnTo>
                <a:lnTo>
                  <a:pt x="898" y="921"/>
                </a:lnTo>
                <a:lnTo>
                  <a:pt x="897" y="917"/>
                </a:lnTo>
                <a:lnTo>
                  <a:pt x="896" y="912"/>
                </a:lnTo>
                <a:lnTo>
                  <a:pt x="896" y="907"/>
                </a:lnTo>
                <a:lnTo>
                  <a:pt x="897" y="902"/>
                </a:lnTo>
                <a:lnTo>
                  <a:pt x="898" y="898"/>
                </a:lnTo>
                <a:lnTo>
                  <a:pt x="900" y="894"/>
                </a:lnTo>
                <a:lnTo>
                  <a:pt x="902" y="892"/>
                </a:lnTo>
                <a:lnTo>
                  <a:pt x="903" y="891"/>
                </a:lnTo>
                <a:lnTo>
                  <a:pt x="904" y="889"/>
                </a:lnTo>
                <a:lnTo>
                  <a:pt x="905" y="886"/>
                </a:lnTo>
                <a:lnTo>
                  <a:pt x="903" y="883"/>
                </a:lnTo>
                <a:lnTo>
                  <a:pt x="902" y="881"/>
                </a:lnTo>
                <a:lnTo>
                  <a:pt x="899" y="879"/>
                </a:lnTo>
                <a:lnTo>
                  <a:pt x="840" y="891"/>
                </a:lnTo>
                <a:close/>
                <a:moveTo>
                  <a:pt x="801" y="804"/>
                </a:moveTo>
                <a:lnTo>
                  <a:pt x="808" y="809"/>
                </a:lnTo>
                <a:lnTo>
                  <a:pt x="816" y="815"/>
                </a:lnTo>
                <a:lnTo>
                  <a:pt x="822" y="822"/>
                </a:lnTo>
                <a:lnTo>
                  <a:pt x="825" y="826"/>
                </a:lnTo>
                <a:lnTo>
                  <a:pt x="828" y="830"/>
                </a:lnTo>
                <a:lnTo>
                  <a:pt x="833" y="837"/>
                </a:lnTo>
                <a:lnTo>
                  <a:pt x="835" y="842"/>
                </a:lnTo>
                <a:lnTo>
                  <a:pt x="836" y="846"/>
                </a:lnTo>
                <a:lnTo>
                  <a:pt x="839" y="855"/>
                </a:lnTo>
                <a:lnTo>
                  <a:pt x="840" y="859"/>
                </a:lnTo>
                <a:lnTo>
                  <a:pt x="841" y="864"/>
                </a:lnTo>
                <a:lnTo>
                  <a:pt x="894" y="853"/>
                </a:lnTo>
                <a:lnTo>
                  <a:pt x="895" y="850"/>
                </a:lnTo>
                <a:lnTo>
                  <a:pt x="895" y="849"/>
                </a:lnTo>
                <a:lnTo>
                  <a:pt x="896" y="847"/>
                </a:lnTo>
                <a:lnTo>
                  <a:pt x="896" y="844"/>
                </a:lnTo>
                <a:lnTo>
                  <a:pt x="894" y="841"/>
                </a:lnTo>
                <a:lnTo>
                  <a:pt x="892" y="840"/>
                </a:lnTo>
                <a:lnTo>
                  <a:pt x="889" y="838"/>
                </a:lnTo>
                <a:lnTo>
                  <a:pt x="885" y="836"/>
                </a:lnTo>
                <a:lnTo>
                  <a:pt x="882" y="832"/>
                </a:lnTo>
                <a:lnTo>
                  <a:pt x="880" y="828"/>
                </a:lnTo>
                <a:lnTo>
                  <a:pt x="878" y="824"/>
                </a:lnTo>
                <a:lnTo>
                  <a:pt x="876" y="819"/>
                </a:lnTo>
                <a:lnTo>
                  <a:pt x="876" y="815"/>
                </a:lnTo>
                <a:lnTo>
                  <a:pt x="876" y="812"/>
                </a:lnTo>
                <a:lnTo>
                  <a:pt x="876" y="809"/>
                </a:lnTo>
                <a:lnTo>
                  <a:pt x="875" y="806"/>
                </a:lnTo>
                <a:lnTo>
                  <a:pt x="872" y="804"/>
                </a:lnTo>
                <a:lnTo>
                  <a:pt x="870" y="804"/>
                </a:lnTo>
                <a:lnTo>
                  <a:pt x="866" y="803"/>
                </a:lnTo>
                <a:lnTo>
                  <a:pt x="863" y="802"/>
                </a:lnTo>
                <a:lnTo>
                  <a:pt x="859" y="799"/>
                </a:lnTo>
                <a:lnTo>
                  <a:pt x="855" y="796"/>
                </a:lnTo>
                <a:lnTo>
                  <a:pt x="851" y="792"/>
                </a:lnTo>
                <a:lnTo>
                  <a:pt x="849" y="788"/>
                </a:lnTo>
                <a:lnTo>
                  <a:pt x="847" y="785"/>
                </a:lnTo>
                <a:lnTo>
                  <a:pt x="846" y="782"/>
                </a:lnTo>
                <a:lnTo>
                  <a:pt x="846" y="780"/>
                </a:lnTo>
                <a:lnTo>
                  <a:pt x="845" y="779"/>
                </a:lnTo>
                <a:lnTo>
                  <a:pt x="843" y="776"/>
                </a:lnTo>
                <a:lnTo>
                  <a:pt x="840" y="775"/>
                </a:lnTo>
                <a:lnTo>
                  <a:pt x="838" y="775"/>
                </a:lnTo>
                <a:lnTo>
                  <a:pt x="834" y="776"/>
                </a:lnTo>
                <a:lnTo>
                  <a:pt x="833" y="776"/>
                </a:lnTo>
                <a:lnTo>
                  <a:pt x="830" y="775"/>
                </a:lnTo>
                <a:lnTo>
                  <a:pt x="826" y="774"/>
                </a:lnTo>
                <a:lnTo>
                  <a:pt x="821" y="772"/>
                </a:lnTo>
                <a:lnTo>
                  <a:pt x="817" y="770"/>
                </a:lnTo>
                <a:lnTo>
                  <a:pt x="814" y="767"/>
                </a:lnTo>
                <a:lnTo>
                  <a:pt x="811" y="765"/>
                </a:lnTo>
                <a:lnTo>
                  <a:pt x="809" y="762"/>
                </a:lnTo>
                <a:lnTo>
                  <a:pt x="801" y="770"/>
                </a:lnTo>
                <a:lnTo>
                  <a:pt x="801" y="795"/>
                </a:lnTo>
                <a:lnTo>
                  <a:pt x="801" y="804"/>
                </a:lnTo>
                <a:close/>
                <a:moveTo>
                  <a:pt x="653" y="875"/>
                </a:moveTo>
                <a:lnTo>
                  <a:pt x="654" y="867"/>
                </a:lnTo>
                <a:lnTo>
                  <a:pt x="655" y="860"/>
                </a:lnTo>
                <a:lnTo>
                  <a:pt x="657" y="852"/>
                </a:lnTo>
                <a:lnTo>
                  <a:pt x="659" y="845"/>
                </a:lnTo>
                <a:lnTo>
                  <a:pt x="662" y="839"/>
                </a:lnTo>
                <a:lnTo>
                  <a:pt x="666" y="832"/>
                </a:lnTo>
                <a:lnTo>
                  <a:pt x="670" y="826"/>
                </a:lnTo>
                <a:lnTo>
                  <a:pt x="675" y="820"/>
                </a:lnTo>
                <a:lnTo>
                  <a:pt x="657" y="800"/>
                </a:lnTo>
                <a:lnTo>
                  <a:pt x="654" y="800"/>
                </a:lnTo>
                <a:lnTo>
                  <a:pt x="651" y="801"/>
                </a:lnTo>
                <a:lnTo>
                  <a:pt x="648" y="803"/>
                </a:lnTo>
                <a:lnTo>
                  <a:pt x="647" y="806"/>
                </a:lnTo>
                <a:lnTo>
                  <a:pt x="647" y="808"/>
                </a:lnTo>
                <a:lnTo>
                  <a:pt x="647" y="812"/>
                </a:lnTo>
                <a:lnTo>
                  <a:pt x="646" y="816"/>
                </a:lnTo>
                <a:lnTo>
                  <a:pt x="645" y="820"/>
                </a:lnTo>
                <a:lnTo>
                  <a:pt x="642" y="825"/>
                </a:lnTo>
                <a:lnTo>
                  <a:pt x="639" y="829"/>
                </a:lnTo>
                <a:lnTo>
                  <a:pt x="636" y="832"/>
                </a:lnTo>
                <a:lnTo>
                  <a:pt x="633" y="834"/>
                </a:lnTo>
                <a:lnTo>
                  <a:pt x="630" y="836"/>
                </a:lnTo>
                <a:lnTo>
                  <a:pt x="628" y="837"/>
                </a:lnTo>
                <a:lnTo>
                  <a:pt x="626" y="840"/>
                </a:lnTo>
                <a:lnTo>
                  <a:pt x="626" y="843"/>
                </a:lnTo>
                <a:lnTo>
                  <a:pt x="626" y="845"/>
                </a:lnTo>
                <a:lnTo>
                  <a:pt x="627" y="849"/>
                </a:lnTo>
                <a:lnTo>
                  <a:pt x="628" y="853"/>
                </a:lnTo>
                <a:lnTo>
                  <a:pt x="628" y="857"/>
                </a:lnTo>
                <a:lnTo>
                  <a:pt x="627" y="862"/>
                </a:lnTo>
                <a:lnTo>
                  <a:pt x="625" y="867"/>
                </a:lnTo>
                <a:lnTo>
                  <a:pt x="623" y="871"/>
                </a:lnTo>
                <a:lnTo>
                  <a:pt x="621" y="874"/>
                </a:lnTo>
                <a:lnTo>
                  <a:pt x="620" y="876"/>
                </a:lnTo>
                <a:lnTo>
                  <a:pt x="619" y="877"/>
                </a:lnTo>
                <a:lnTo>
                  <a:pt x="617" y="879"/>
                </a:lnTo>
                <a:lnTo>
                  <a:pt x="615" y="882"/>
                </a:lnTo>
                <a:lnTo>
                  <a:pt x="616" y="885"/>
                </a:lnTo>
                <a:lnTo>
                  <a:pt x="618" y="887"/>
                </a:lnTo>
                <a:lnTo>
                  <a:pt x="619" y="888"/>
                </a:lnTo>
                <a:lnTo>
                  <a:pt x="620" y="890"/>
                </a:lnTo>
                <a:lnTo>
                  <a:pt x="621" y="893"/>
                </a:lnTo>
                <a:lnTo>
                  <a:pt x="622" y="898"/>
                </a:lnTo>
                <a:lnTo>
                  <a:pt x="623" y="903"/>
                </a:lnTo>
                <a:lnTo>
                  <a:pt x="623" y="908"/>
                </a:lnTo>
                <a:lnTo>
                  <a:pt x="622" y="912"/>
                </a:lnTo>
                <a:lnTo>
                  <a:pt x="621" y="916"/>
                </a:lnTo>
                <a:lnTo>
                  <a:pt x="620" y="919"/>
                </a:lnTo>
                <a:lnTo>
                  <a:pt x="619" y="922"/>
                </a:lnTo>
                <a:lnTo>
                  <a:pt x="618" y="925"/>
                </a:lnTo>
                <a:lnTo>
                  <a:pt x="620" y="928"/>
                </a:lnTo>
                <a:lnTo>
                  <a:pt x="622" y="929"/>
                </a:lnTo>
                <a:lnTo>
                  <a:pt x="624" y="931"/>
                </a:lnTo>
                <a:lnTo>
                  <a:pt x="627" y="934"/>
                </a:lnTo>
                <a:lnTo>
                  <a:pt x="629" y="938"/>
                </a:lnTo>
                <a:lnTo>
                  <a:pt x="632" y="943"/>
                </a:lnTo>
                <a:lnTo>
                  <a:pt x="633" y="948"/>
                </a:lnTo>
                <a:lnTo>
                  <a:pt x="634" y="952"/>
                </a:lnTo>
                <a:lnTo>
                  <a:pt x="634" y="956"/>
                </a:lnTo>
                <a:lnTo>
                  <a:pt x="634" y="958"/>
                </a:lnTo>
                <a:lnTo>
                  <a:pt x="633" y="959"/>
                </a:lnTo>
                <a:lnTo>
                  <a:pt x="633" y="962"/>
                </a:lnTo>
                <a:lnTo>
                  <a:pt x="633" y="965"/>
                </a:lnTo>
                <a:lnTo>
                  <a:pt x="636" y="968"/>
                </a:lnTo>
                <a:lnTo>
                  <a:pt x="637" y="968"/>
                </a:lnTo>
                <a:lnTo>
                  <a:pt x="638" y="969"/>
                </a:lnTo>
                <a:lnTo>
                  <a:pt x="641" y="970"/>
                </a:lnTo>
                <a:lnTo>
                  <a:pt x="641" y="958"/>
                </a:lnTo>
                <a:lnTo>
                  <a:pt x="660" y="956"/>
                </a:lnTo>
                <a:lnTo>
                  <a:pt x="666" y="951"/>
                </a:lnTo>
                <a:lnTo>
                  <a:pt x="666" y="942"/>
                </a:lnTo>
                <a:lnTo>
                  <a:pt x="681" y="942"/>
                </a:lnTo>
                <a:lnTo>
                  <a:pt x="690" y="943"/>
                </a:lnTo>
                <a:lnTo>
                  <a:pt x="682" y="937"/>
                </a:lnTo>
                <a:lnTo>
                  <a:pt x="675" y="930"/>
                </a:lnTo>
                <a:lnTo>
                  <a:pt x="669" y="922"/>
                </a:lnTo>
                <a:lnTo>
                  <a:pt x="666" y="918"/>
                </a:lnTo>
                <a:lnTo>
                  <a:pt x="664" y="913"/>
                </a:lnTo>
                <a:lnTo>
                  <a:pt x="659" y="904"/>
                </a:lnTo>
                <a:lnTo>
                  <a:pt x="656" y="895"/>
                </a:lnTo>
                <a:lnTo>
                  <a:pt x="654" y="885"/>
                </a:lnTo>
                <a:lnTo>
                  <a:pt x="654" y="880"/>
                </a:lnTo>
                <a:lnTo>
                  <a:pt x="653" y="875"/>
                </a:lnTo>
                <a:close/>
              </a:path>
            </a:pathLst>
          </a:custGeom>
          <a:solidFill>
            <a:schemeClr val="tx1"/>
          </a:solidFill>
          <a:ln w="9525">
            <a:solidFill>
              <a:schemeClr val="bg1"/>
            </a:solid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endParaRPr>
          </a:p>
        </p:txBody>
      </p:sp>
      <p:cxnSp>
        <p:nvCxnSpPr>
          <p:cNvPr id="139" name="Straight Connector 138">
            <a:extLst>
              <a:ext uri="{FF2B5EF4-FFF2-40B4-BE49-F238E27FC236}">
                <a16:creationId xmlns:a16="http://schemas.microsoft.com/office/drawing/2014/main" id="{FC8E0420-52F1-4478-1CB6-FD6CACDC4389}"/>
              </a:ext>
            </a:extLst>
          </p:cNvPr>
          <p:cNvCxnSpPr/>
          <p:nvPr/>
        </p:nvCxnSpPr>
        <p:spPr>
          <a:xfrm>
            <a:off x="754326" y="3870945"/>
            <a:ext cx="557022" cy="0"/>
          </a:xfrm>
          <a:prstGeom prst="line">
            <a:avLst/>
          </a:prstGeom>
          <a:noFill/>
          <a:ln w="12700" cap="flat" cmpd="sng" algn="ctr">
            <a:solidFill>
              <a:srgbClr val="FFE600"/>
            </a:solidFill>
            <a:prstDash val="solid"/>
            <a:round/>
            <a:headEnd type="none" w="med" len="med"/>
            <a:tailEnd type="none" w="med" len="med"/>
          </a:ln>
          <a:effectLst/>
        </p:spPr>
      </p:cxnSp>
      <p:cxnSp>
        <p:nvCxnSpPr>
          <p:cNvPr id="140" name="Straight Connector 139">
            <a:extLst>
              <a:ext uri="{FF2B5EF4-FFF2-40B4-BE49-F238E27FC236}">
                <a16:creationId xmlns:a16="http://schemas.microsoft.com/office/drawing/2014/main" id="{923F9113-1EFB-1A4D-9581-25C02F42D099}"/>
              </a:ext>
            </a:extLst>
          </p:cNvPr>
          <p:cNvCxnSpPr/>
          <p:nvPr/>
        </p:nvCxnSpPr>
        <p:spPr>
          <a:xfrm>
            <a:off x="3657062" y="2059792"/>
            <a:ext cx="0" cy="436265"/>
          </a:xfrm>
          <a:prstGeom prst="line">
            <a:avLst/>
          </a:prstGeom>
          <a:noFill/>
          <a:ln w="12700" cap="flat" cmpd="sng" algn="ctr">
            <a:solidFill>
              <a:srgbClr val="FFE600"/>
            </a:solidFill>
            <a:prstDash val="solid"/>
            <a:round/>
            <a:headEnd type="none" w="med" len="med"/>
            <a:tailEnd type="none" w="med" len="med"/>
          </a:ln>
          <a:effectLst/>
        </p:spPr>
      </p:cxnSp>
      <p:cxnSp>
        <p:nvCxnSpPr>
          <p:cNvPr id="141" name="Straight Connector 140">
            <a:extLst>
              <a:ext uri="{FF2B5EF4-FFF2-40B4-BE49-F238E27FC236}">
                <a16:creationId xmlns:a16="http://schemas.microsoft.com/office/drawing/2014/main" id="{6177011A-2D56-9FE8-ABB6-6FB93D8233F9}"/>
              </a:ext>
            </a:extLst>
          </p:cNvPr>
          <p:cNvCxnSpPr/>
          <p:nvPr/>
        </p:nvCxnSpPr>
        <p:spPr>
          <a:xfrm>
            <a:off x="754326" y="2062842"/>
            <a:ext cx="2908769" cy="0"/>
          </a:xfrm>
          <a:prstGeom prst="line">
            <a:avLst/>
          </a:prstGeom>
          <a:noFill/>
          <a:ln w="12700" cap="flat" cmpd="sng" algn="ctr">
            <a:solidFill>
              <a:srgbClr val="FFE600"/>
            </a:solidFill>
            <a:prstDash val="solid"/>
            <a:round/>
            <a:headEnd type="none" w="med" len="med"/>
            <a:tailEnd type="none" w="med" len="med"/>
          </a:ln>
          <a:effectLst/>
        </p:spPr>
      </p:cxnSp>
      <p:cxnSp>
        <p:nvCxnSpPr>
          <p:cNvPr id="142" name="Straight Connector 141">
            <a:extLst>
              <a:ext uri="{FF2B5EF4-FFF2-40B4-BE49-F238E27FC236}">
                <a16:creationId xmlns:a16="http://schemas.microsoft.com/office/drawing/2014/main" id="{E780DE8D-8B43-54B2-D52B-41F6EA83585F}"/>
              </a:ext>
            </a:extLst>
          </p:cNvPr>
          <p:cNvCxnSpPr/>
          <p:nvPr/>
        </p:nvCxnSpPr>
        <p:spPr>
          <a:xfrm>
            <a:off x="760360" y="2056742"/>
            <a:ext cx="0" cy="1814204"/>
          </a:xfrm>
          <a:prstGeom prst="line">
            <a:avLst/>
          </a:prstGeom>
          <a:noFill/>
          <a:ln w="12700" cap="flat" cmpd="sng" algn="ctr">
            <a:solidFill>
              <a:srgbClr val="FFE600"/>
            </a:solidFill>
            <a:prstDash val="solid"/>
            <a:round/>
            <a:headEnd type="none" w="med" len="med"/>
            <a:tailEnd type="none" w="med" len="med"/>
          </a:ln>
          <a:effectLst/>
        </p:spPr>
      </p:cxnSp>
      <p:sp>
        <p:nvSpPr>
          <p:cNvPr id="145" name="TextBox 144">
            <a:extLst>
              <a:ext uri="{FF2B5EF4-FFF2-40B4-BE49-F238E27FC236}">
                <a16:creationId xmlns:a16="http://schemas.microsoft.com/office/drawing/2014/main" id="{FFFD7E32-6AF4-FA0B-CD82-2D9E24CB42C3}"/>
              </a:ext>
            </a:extLst>
          </p:cNvPr>
          <p:cNvSpPr txBox="1"/>
          <p:nvPr/>
        </p:nvSpPr>
        <p:spPr>
          <a:xfrm>
            <a:off x="8608251" y="4455699"/>
            <a:ext cx="356195" cy="281717"/>
          </a:xfrm>
          <a:prstGeom prst="rect">
            <a:avLst/>
          </a:prstGeom>
          <a:noFill/>
        </p:spPr>
        <p:txBody>
          <a:bodyPr wrap="square" lIns="0" tIns="27432" rIns="0" bIns="0" rtlCol="0">
            <a:spAutoFit/>
          </a:bodyPr>
          <a:lstStyle/>
          <a:p>
            <a:pPr marL="0" marR="0" lvl="0" indent="0" defTabSz="914400" eaLnBrk="1" fontAlgn="auto" latinLnBrk="0" hangingPunct="1">
              <a:lnSpc>
                <a:spcPct val="85000"/>
              </a:lnSpc>
              <a:spcBef>
                <a:spcPts val="0"/>
              </a:spcBef>
              <a:spcAft>
                <a:spcPts val="450"/>
              </a:spcAft>
              <a:buClr>
                <a:srgbClr val="FFD200"/>
              </a:buClr>
              <a:buSzPct val="70000"/>
              <a:buFontTx/>
              <a:buNone/>
              <a:tabLst/>
              <a:defRPr/>
            </a:pPr>
            <a:r>
              <a:rPr kumimoji="0" lang="en-US" sz="800" b="0" i="0" u="none" strike="noStrike" kern="0" cap="none" spc="0" normalizeH="0" baseline="0" noProof="0" dirty="0">
                <a:ln>
                  <a:noFill/>
                </a:ln>
                <a:solidFill>
                  <a:srgbClr val="FFFFFF"/>
                </a:solidFill>
                <a:effectLst/>
                <a:uLnTx/>
                <a:uFillTx/>
              </a:rPr>
              <a:t>VRU </a:t>
            </a:r>
            <a:br>
              <a:rPr kumimoji="0" lang="en-US" sz="800" b="0" i="0" u="none" strike="noStrike" kern="0" cap="none" spc="0" normalizeH="0" baseline="0" noProof="0" dirty="0">
                <a:ln>
                  <a:noFill/>
                </a:ln>
                <a:solidFill>
                  <a:srgbClr val="FFFFFF"/>
                </a:solidFill>
                <a:effectLst/>
                <a:uLnTx/>
                <a:uFillTx/>
              </a:rPr>
            </a:br>
            <a:r>
              <a:rPr kumimoji="0" lang="en-US" sz="800" b="0" i="0" u="none" strike="noStrike" kern="0" cap="none" spc="0" normalizeH="0" baseline="0" noProof="0" dirty="0">
                <a:ln>
                  <a:noFill/>
                </a:ln>
                <a:solidFill>
                  <a:srgbClr val="FFFFFF"/>
                </a:solidFill>
                <a:effectLst/>
                <a:uLnTx/>
                <a:uFillTx/>
              </a:rPr>
              <a:t>tower</a:t>
            </a:r>
          </a:p>
        </p:txBody>
      </p:sp>
      <p:sp>
        <p:nvSpPr>
          <p:cNvPr id="303" name="Freeform: Shape 302">
            <a:extLst>
              <a:ext uri="{FF2B5EF4-FFF2-40B4-BE49-F238E27FC236}">
                <a16:creationId xmlns:a16="http://schemas.microsoft.com/office/drawing/2014/main" id="{4616FB99-0F1A-6AFE-4B8B-E38971E4980E}"/>
              </a:ext>
            </a:extLst>
          </p:cNvPr>
          <p:cNvSpPr>
            <a:spLocks/>
          </p:cNvSpPr>
          <p:nvPr/>
        </p:nvSpPr>
        <p:spPr bwMode="auto">
          <a:xfrm>
            <a:off x="3072135" y="3922838"/>
            <a:ext cx="158739" cy="1237008"/>
          </a:xfrm>
          <a:custGeom>
            <a:avLst/>
            <a:gdLst>
              <a:gd name="connsiteX0" fmla="*/ 78598 w 158739"/>
              <a:gd name="connsiteY0" fmla="*/ 0 h 1237008"/>
              <a:gd name="connsiteX1" fmla="*/ 84285 w 158739"/>
              <a:gd name="connsiteY1" fmla="*/ 0 h 1237008"/>
              <a:gd name="connsiteX2" fmla="*/ 89972 w 158739"/>
              <a:gd name="connsiteY2" fmla="*/ 0 h 1237008"/>
              <a:gd name="connsiteX3" fmla="*/ 95028 w 158739"/>
              <a:gd name="connsiteY3" fmla="*/ 639 h 1237008"/>
              <a:gd name="connsiteX4" fmla="*/ 100714 w 158739"/>
              <a:gd name="connsiteY4" fmla="*/ 2556 h 1237008"/>
              <a:gd name="connsiteX5" fmla="*/ 103242 w 158739"/>
              <a:gd name="connsiteY5" fmla="*/ 3194 h 1237008"/>
              <a:gd name="connsiteX6" fmla="*/ 105770 w 158739"/>
              <a:gd name="connsiteY6" fmla="*/ 3833 h 1237008"/>
              <a:gd name="connsiteX7" fmla="*/ 110193 w 158739"/>
              <a:gd name="connsiteY7" fmla="*/ 6389 h 1237008"/>
              <a:gd name="connsiteX8" fmla="*/ 114616 w 158739"/>
              <a:gd name="connsiteY8" fmla="*/ 9583 h 1237008"/>
              <a:gd name="connsiteX9" fmla="*/ 119040 w 158739"/>
              <a:gd name="connsiteY9" fmla="*/ 12778 h 1237008"/>
              <a:gd name="connsiteX10" fmla="*/ 122831 w 158739"/>
              <a:gd name="connsiteY10" fmla="*/ 15972 h 1237008"/>
              <a:gd name="connsiteX11" fmla="*/ 126623 w 158739"/>
              <a:gd name="connsiteY11" fmla="*/ 20444 h 1237008"/>
              <a:gd name="connsiteX12" fmla="*/ 129783 w 158739"/>
              <a:gd name="connsiteY12" fmla="*/ 24278 h 1237008"/>
              <a:gd name="connsiteX13" fmla="*/ 132311 w 158739"/>
              <a:gd name="connsiteY13" fmla="*/ 29388 h 1237008"/>
              <a:gd name="connsiteX14" fmla="*/ 134838 w 158739"/>
              <a:gd name="connsiteY14" fmla="*/ 33860 h 1237008"/>
              <a:gd name="connsiteX15" fmla="*/ 135948 w 158739"/>
              <a:gd name="connsiteY15" fmla="*/ 36854 h 1237008"/>
              <a:gd name="connsiteX16" fmla="*/ 158739 w 158739"/>
              <a:gd name="connsiteY16" fmla="*/ 36854 h 1237008"/>
              <a:gd name="connsiteX17" fmla="*/ 158739 w 158739"/>
              <a:gd name="connsiteY17" fmla="*/ 95428 h 1237008"/>
              <a:gd name="connsiteX18" fmla="*/ 139261 w 158739"/>
              <a:gd name="connsiteY18" fmla="*/ 95428 h 1237008"/>
              <a:gd name="connsiteX19" fmla="*/ 139261 w 158739"/>
              <a:gd name="connsiteY19" fmla="*/ 218594 h 1237008"/>
              <a:gd name="connsiteX20" fmla="*/ 158739 w 158739"/>
              <a:gd name="connsiteY20" fmla="*/ 218594 h 1237008"/>
              <a:gd name="connsiteX21" fmla="*/ 158739 w 158739"/>
              <a:gd name="connsiteY21" fmla="*/ 277168 h 1237008"/>
              <a:gd name="connsiteX22" fmla="*/ 139261 w 158739"/>
              <a:gd name="connsiteY22" fmla="*/ 277168 h 1237008"/>
              <a:gd name="connsiteX23" fmla="*/ 139261 w 158739"/>
              <a:gd name="connsiteY23" fmla="*/ 348196 h 1237008"/>
              <a:gd name="connsiteX24" fmla="*/ 139261 w 158739"/>
              <a:gd name="connsiteY24" fmla="*/ 388753 h 1237008"/>
              <a:gd name="connsiteX25" fmla="*/ 139261 w 158739"/>
              <a:gd name="connsiteY25" fmla="*/ 400331 h 1237008"/>
              <a:gd name="connsiteX26" fmla="*/ 158739 w 158739"/>
              <a:gd name="connsiteY26" fmla="*/ 400331 h 1237008"/>
              <a:gd name="connsiteX27" fmla="*/ 158739 w 158739"/>
              <a:gd name="connsiteY27" fmla="*/ 458905 h 1237008"/>
              <a:gd name="connsiteX28" fmla="*/ 139261 w 158739"/>
              <a:gd name="connsiteY28" fmla="*/ 458905 h 1237008"/>
              <a:gd name="connsiteX29" fmla="*/ 139261 w 158739"/>
              <a:gd name="connsiteY29" fmla="*/ 555645 h 1237008"/>
              <a:gd name="connsiteX30" fmla="*/ 139261 w 158739"/>
              <a:gd name="connsiteY30" fmla="*/ 582070 h 1237008"/>
              <a:gd name="connsiteX31" fmla="*/ 158739 w 158739"/>
              <a:gd name="connsiteY31" fmla="*/ 582070 h 1237008"/>
              <a:gd name="connsiteX32" fmla="*/ 158739 w 158739"/>
              <a:gd name="connsiteY32" fmla="*/ 640644 h 1237008"/>
              <a:gd name="connsiteX33" fmla="*/ 139261 w 158739"/>
              <a:gd name="connsiteY33" fmla="*/ 640644 h 1237008"/>
              <a:gd name="connsiteX34" fmla="*/ 139261 w 158739"/>
              <a:gd name="connsiteY34" fmla="*/ 640808 h 1237008"/>
              <a:gd name="connsiteX35" fmla="*/ 139261 w 158739"/>
              <a:gd name="connsiteY35" fmla="*/ 680726 h 1237008"/>
              <a:gd name="connsiteX36" fmla="*/ 139261 w 158739"/>
              <a:gd name="connsiteY36" fmla="*/ 848257 h 1237008"/>
              <a:gd name="connsiteX37" fmla="*/ 139261 w 158739"/>
              <a:gd name="connsiteY37" fmla="*/ 888175 h 1237008"/>
              <a:gd name="connsiteX38" fmla="*/ 139261 w 158739"/>
              <a:gd name="connsiteY38" fmla="*/ 973338 h 1237008"/>
              <a:gd name="connsiteX39" fmla="*/ 139261 w 158739"/>
              <a:gd name="connsiteY39" fmla="*/ 1180787 h 1237008"/>
              <a:gd name="connsiteX40" fmla="*/ 138629 w 158739"/>
              <a:gd name="connsiteY40" fmla="*/ 1186536 h 1237008"/>
              <a:gd name="connsiteX41" fmla="*/ 137998 w 158739"/>
              <a:gd name="connsiteY41" fmla="*/ 1192286 h 1237008"/>
              <a:gd name="connsiteX42" fmla="*/ 136733 w 158739"/>
              <a:gd name="connsiteY42" fmla="*/ 1197398 h 1237008"/>
              <a:gd name="connsiteX43" fmla="*/ 135470 w 158739"/>
              <a:gd name="connsiteY43" fmla="*/ 1199952 h 1237008"/>
              <a:gd name="connsiteX44" fmla="*/ 134838 w 158739"/>
              <a:gd name="connsiteY44" fmla="*/ 1202508 h 1237008"/>
              <a:gd name="connsiteX45" fmla="*/ 133574 w 158739"/>
              <a:gd name="connsiteY45" fmla="*/ 1205064 h 1237008"/>
              <a:gd name="connsiteX46" fmla="*/ 132311 w 158739"/>
              <a:gd name="connsiteY46" fmla="*/ 1207620 h 1237008"/>
              <a:gd name="connsiteX47" fmla="*/ 129783 w 158739"/>
              <a:gd name="connsiteY47" fmla="*/ 1212091 h 1237008"/>
              <a:gd name="connsiteX48" fmla="*/ 126623 w 158739"/>
              <a:gd name="connsiteY48" fmla="*/ 1216564 h 1237008"/>
              <a:gd name="connsiteX49" fmla="*/ 122831 w 158739"/>
              <a:gd name="connsiteY49" fmla="*/ 1220397 h 1237008"/>
              <a:gd name="connsiteX50" fmla="*/ 119040 w 158739"/>
              <a:gd name="connsiteY50" fmla="*/ 1224230 h 1237008"/>
              <a:gd name="connsiteX51" fmla="*/ 117144 w 158739"/>
              <a:gd name="connsiteY51" fmla="*/ 1226147 h 1237008"/>
              <a:gd name="connsiteX52" fmla="*/ 114616 w 158739"/>
              <a:gd name="connsiteY52" fmla="*/ 1227425 h 1237008"/>
              <a:gd name="connsiteX53" fmla="*/ 110193 w 158739"/>
              <a:gd name="connsiteY53" fmla="*/ 1230619 h 1237008"/>
              <a:gd name="connsiteX54" fmla="*/ 105770 w 158739"/>
              <a:gd name="connsiteY54" fmla="*/ 1232536 h 1237008"/>
              <a:gd name="connsiteX55" fmla="*/ 100714 w 158739"/>
              <a:gd name="connsiteY55" fmla="*/ 1234452 h 1237008"/>
              <a:gd name="connsiteX56" fmla="*/ 95028 w 158739"/>
              <a:gd name="connsiteY56" fmla="*/ 1235731 h 1237008"/>
              <a:gd name="connsiteX57" fmla="*/ 89972 w 158739"/>
              <a:gd name="connsiteY57" fmla="*/ 1237008 h 1237008"/>
              <a:gd name="connsiteX58" fmla="*/ 84285 w 158739"/>
              <a:gd name="connsiteY58" fmla="*/ 1237008 h 1237008"/>
              <a:gd name="connsiteX59" fmla="*/ 78598 w 158739"/>
              <a:gd name="connsiteY59" fmla="*/ 1237008 h 1237008"/>
              <a:gd name="connsiteX60" fmla="*/ 72911 w 158739"/>
              <a:gd name="connsiteY60" fmla="*/ 1235731 h 1237008"/>
              <a:gd name="connsiteX61" fmla="*/ 67855 w 158739"/>
              <a:gd name="connsiteY61" fmla="*/ 1234452 h 1237008"/>
              <a:gd name="connsiteX62" fmla="*/ 65327 w 158739"/>
              <a:gd name="connsiteY62" fmla="*/ 1233814 h 1237008"/>
              <a:gd name="connsiteX63" fmla="*/ 62800 w 158739"/>
              <a:gd name="connsiteY63" fmla="*/ 1232536 h 1237008"/>
              <a:gd name="connsiteX64" fmla="*/ 58377 w 158739"/>
              <a:gd name="connsiteY64" fmla="*/ 1230619 h 1237008"/>
              <a:gd name="connsiteX65" fmla="*/ 53321 w 158739"/>
              <a:gd name="connsiteY65" fmla="*/ 1227425 h 1237008"/>
              <a:gd name="connsiteX66" fmla="*/ 49529 w 158739"/>
              <a:gd name="connsiteY66" fmla="*/ 1224230 h 1237008"/>
              <a:gd name="connsiteX67" fmla="*/ 45738 w 158739"/>
              <a:gd name="connsiteY67" fmla="*/ 1220397 h 1237008"/>
              <a:gd name="connsiteX68" fmla="*/ 41947 w 158739"/>
              <a:gd name="connsiteY68" fmla="*/ 1216564 h 1237008"/>
              <a:gd name="connsiteX69" fmla="*/ 38786 w 158739"/>
              <a:gd name="connsiteY69" fmla="*/ 1212091 h 1237008"/>
              <a:gd name="connsiteX70" fmla="*/ 36260 w 158739"/>
              <a:gd name="connsiteY70" fmla="*/ 1207620 h 1237008"/>
              <a:gd name="connsiteX71" fmla="*/ 33732 w 158739"/>
              <a:gd name="connsiteY71" fmla="*/ 1202508 h 1237008"/>
              <a:gd name="connsiteX72" fmla="*/ 31836 w 158739"/>
              <a:gd name="connsiteY72" fmla="*/ 1197398 h 1237008"/>
              <a:gd name="connsiteX73" fmla="*/ 30573 w 158739"/>
              <a:gd name="connsiteY73" fmla="*/ 1192286 h 1237008"/>
              <a:gd name="connsiteX74" fmla="*/ 29940 w 158739"/>
              <a:gd name="connsiteY74" fmla="*/ 1186536 h 1237008"/>
              <a:gd name="connsiteX75" fmla="*/ 29721 w 158739"/>
              <a:gd name="connsiteY75" fmla="*/ 1184538 h 1237008"/>
              <a:gd name="connsiteX76" fmla="*/ 0 w 158739"/>
              <a:gd name="connsiteY76" fmla="*/ 1184538 h 1237008"/>
              <a:gd name="connsiteX77" fmla="*/ 0 w 158739"/>
              <a:gd name="connsiteY77" fmla="*/ 1125964 h 1237008"/>
              <a:gd name="connsiteX78" fmla="*/ 29308 w 158739"/>
              <a:gd name="connsiteY78" fmla="*/ 1125964 h 1237008"/>
              <a:gd name="connsiteX79" fmla="*/ 29308 w 158739"/>
              <a:gd name="connsiteY79" fmla="*/ 973338 h 1237008"/>
              <a:gd name="connsiteX80" fmla="*/ 29308 w 158739"/>
              <a:gd name="connsiteY80" fmla="*/ 888175 h 1237008"/>
              <a:gd name="connsiteX81" fmla="*/ 29308 w 158739"/>
              <a:gd name="connsiteY81" fmla="*/ 848257 h 1237008"/>
              <a:gd name="connsiteX82" fmla="*/ 29308 w 158739"/>
              <a:gd name="connsiteY82" fmla="*/ 731515 h 1237008"/>
              <a:gd name="connsiteX83" fmla="*/ 0 w 158739"/>
              <a:gd name="connsiteY83" fmla="*/ 731515 h 1237008"/>
              <a:gd name="connsiteX84" fmla="*/ 0 w 158739"/>
              <a:gd name="connsiteY84" fmla="*/ 672941 h 1237008"/>
              <a:gd name="connsiteX85" fmla="*/ 29308 w 158739"/>
              <a:gd name="connsiteY85" fmla="*/ 672941 h 1237008"/>
              <a:gd name="connsiteX86" fmla="*/ 29308 w 158739"/>
              <a:gd name="connsiteY86" fmla="*/ 640808 h 1237008"/>
              <a:gd name="connsiteX87" fmla="*/ 29308 w 158739"/>
              <a:gd name="connsiteY87" fmla="*/ 596202 h 1237008"/>
              <a:gd name="connsiteX88" fmla="*/ 29308 w 158739"/>
              <a:gd name="connsiteY88" fmla="*/ 555645 h 1237008"/>
              <a:gd name="connsiteX89" fmla="*/ 29308 w 158739"/>
              <a:gd name="connsiteY89" fmla="*/ 549775 h 1237008"/>
              <a:gd name="connsiteX90" fmla="*/ 0 w 158739"/>
              <a:gd name="connsiteY90" fmla="*/ 549775 h 1237008"/>
              <a:gd name="connsiteX91" fmla="*/ 0 w 158739"/>
              <a:gd name="connsiteY91" fmla="*/ 491201 h 1237008"/>
              <a:gd name="connsiteX92" fmla="*/ 29308 w 158739"/>
              <a:gd name="connsiteY92" fmla="*/ 491201 h 1237008"/>
              <a:gd name="connsiteX93" fmla="*/ 29308 w 158739"/>
              <a:gd name="connsiteY93" fmla="*/ 388753 h 1237008"/>
              <a:gd name="connsiteX94" fmla="*/ 29308 w 158739"/>
              <a:gd name="connsiteY94" fmla="*/ 368037 h 1237008"/>
              <a:gd name="connsiteX95" fmla="*/ 0 w 158739"/>
              <a:gd name="connsiteY95" fmla="*/ 368037 h 1237008"/>
              <a:gd name="connsiteX96" fmla="*/ 0 w 158739"/>
              <a:gd name="connsiteY96" fmla="*/ 309463 h 1237008"/>
              <a:gd name="connsiteX97" fmla="*/ 29308 w 158739"/>
              <a:gd name="connsiteY97" fmla="*/ 309463 h 1237008"/>
              <a:gd name="connsiteX98" fmla="*/ 29308 w 158739"/>
              <a:gd name="connsiteY98" fmla="*/ 263671 h 1237008"/>
              <a:gd name="connsiteX99" fmla="*/ 29308 w 158739"/>
              <a:gd name="connsiteY99" fmla="*/ 186298 h 1237008"/>
              <a:gd name="connsiteX100" fmla="*/ 0 w 158739"/>
              <a:gd name="connsiteY100" fmla="*/ 186298 h 1237008"/>
              <a:gd name="connsiteX101" fmla="*/ 0 w 158739"/>
              <a:gd name="connsiteY101" fmla="*/ 127724 h 1237008"/>
              <a:gd name="connsiteX102" fmla="*/ 29308 w 158739"/>
              <a:gd name="connsiteY102" fmla="*/ 127724 h 1237008"/>
              <a:gd name="connsiteX103" fmla="*/ 29308 w 158739"/>
              <a:gd name="connsiteY103" fmla="*/ 56222 h 1237008"/>
              <a:gd name="connsiteX104" fmla="*/ 29940 w 158739"/>
              <a:gd name="connsiteY104" fmla="*/ 50472 h 1237008"/>
              <a:gd name="connsiteX105" fmla="*/ 30573 w 158739"/>
              <a:gd name="connsiteY105" fmla="*/ 44722 h 1237008"/>
              <a:gd name="connsiteX106" fmla="*/ 31836 w 158739"/>
              <a:gd name="connsiteY106" fmla="*/ 38972 h 1237008"/>
              <a:gd name="connsiteX107" fmla="*/ 32468 w 158739"/>
              <a:gd name="connsiteY107" fmla="*/ 36416 h 1237008"/>
              <a:gd name="connsiteX108" fmla="*/ 33732 w 158739"/>
              <a:gd name="connsiteY108" fmla="*/ 33860 h 1237008"/>
              <a:gd name="connsiteX109" fmla="*/ 34995 w 158739"/>
              <a:gd name="connsiteY109" fmla="*/ 31306 h 1237008"/>
              <a:gd name="connsiteX110" fmla="*/ 36260 w 158739"/>
              <a:gd name="connsiteY110" fmla="*/ 29388 h 1237008"/>
              <a:gd name="connsiteX111" fmla="*/ 38786 w 158739"/>
              <a:gd name="connsiteY111" fmla="*/ 24278 h 1237008"/>
              <a:gd name="connsiteX112" fmla="*/ 41947 w 158739"/>
              <a:gd name="connsiteY112" fmla="*/ 20444 h 1237008"/>
              <a:gd name="connsiteX113" fmla="*/ 45738 w 158739"/>
              <a:gd name="connsiteY113" fmla="*/ 15972 h 1237008"/>
              <a:gd name="connsiteX114" fmla="*/ 49529 w 158739"/>
              <a:gd name="connsiteY114" fmla="*/ 12778 h 1237008"/>
              <a:gd name="connsiteX115" fmla="*/ 51425 w 158739"/>
              <a:gd name="connsiteY115" fmla="*/ 10861 h 1237008"/>
              <a:gd name="connsiteX116" fmla="*/ 53321 w 158739"/>
              <a:gd name="connsiteY116" fmla="*/ 9583 h 1237008"/>
              <a:gd name="connsiteX117" fmla="*/ 58377 w 158739"/>
              <a:gd name="connsiteY117" fmla="*/ 6389 h 1237008"/>
              <a:gd name="connsiteX118" fmla="*/ 62800 w 158739"/>
              <a:gd name="connsiteY118" fmla="*/ 3833 h 1237008"/>
              <a:gd name="connsiteX119" fmla="*/ 67855 w 158739"/>
              <a:gd name="connsiteY119" fmla="*/ 2556 h 1237008"/>
              <a:gd name="connsiteX120" fmla="*/ 72911 w 158739"/>
              <a:gd name="connsiteY120" fmla="*/ 639 h 1237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158739" h="1237008">
                <a:moveTo>
                  <a:pt x="78598" y="0"/>
                </a:moveTo>
                <a:lnTo>
                  <a:pt x="84285" y="0"/>
                </a:lnTo>
                <a:lnTo>
                  <a:pt x="89972" y="0"/>
                </a:lnTo>
                <a:lnTo>
                  <a:pt x="95028" y="639"/>
                </a:lnTo>
                <a:lnTo>
                  <a:pt x="100714" y="2556"/>
                </a:lnTo>
                <a:lnTo>
                  <a:pt x="103242" y="3194"/>
                </a:lnTo>
                <a:lnTo>
                  <a:pt x="105770" y="3833"/>
                </a:lnTo>
                <a:lnTo>
                  <a:pt x="110193" y="6389"/>
                </a:lnTo>
                <a:lnTo>
                  <a:pt x="114616" y="9583"/>
                </a:lnTo>
                <a:lnTo>
                  <a:pt x="119040" y="12778"/>
                </a:lnTo>
                <a:lnTo>
                  <a:pt x="122831" y="15972"/>
                </a:lnTo>
                <a:lnTo>
                  <a:pt x="126623" y="20444"/>
                </a:lnTo>
                <a:lnTo>
                  <a:pt x="129783" y="24278"/>
                </a:lnTo>
                <a:lnTo>
                  <a:pt x="132311" y="29388"/>
                </a:lnTo>
                <a:lnTo>
                  <a:pt x="134838" y="33860"/>
                </a:lnTo>
                <a:lnTo>
                  <a:pt x="135948" y="36854"/>
                </a:lnTo>
                <a:lnTo>
                  <a:pt x="158739" y="36854"/>
                </a:lnTo>
                <a:lnTo>
                  <a:pt x="158739" y="95428"/>
                </a:lnTo>
                <a:lnTo>
                  <a:pt x="139261" y="95428"/>
                </a:lnTo>
                <a:lnTo>
                  <a:pt x="139261" y="218594"/>
                </a:lnTo>
                <a:lnTo>
                  <a:pt x="158739" y="218594"/>
                </a:lnTo>
                <a:lnTo>
                  <a:pt x="158739" y="277168"/>
                </a:lnTo>
                <a:lnTo>
                  <a:pt x="139261" y="277168"/>
                </a:lnTo>
                <a:lnTo>
                  <a:pt x="139261" y="348196"/>
                </a:lnTo>
                <a:lnTo>
                  <a:pt x="139261" y="388753"/>
                </a:lnTo>
                <a:lnTo>
                  <a:pt x="139261" y="400331"/>
                </a:lnTo>
                <a:lnTo>
                  <a:pt x="158739" y="400331"/>
                </a:lnTo>
                <a:lnTo>
                  <a:pt x="158739" y="458905"/>
                </a:lnTo>
                <a:lnTo>
                  <a:pt x="139261" y="458905"/>
                </a:lnTo>
                <a:lnTo>
                  <a:pt x="139261" y="555645"/>
                </a:lnTo>
                <a:lnTo>
                  <a:pt x="139261" y="582070"/>
                </a:lnTo>
                <a:lnTo>
                  <a:pt x="158739" y="582070"/>
                </a:lnTo>
                <a:lnTo>
                  <a:pt x="158739" y="640644"/>
                </a:lnTo>
                <a:lnTo>
                  <a:pt x="139261" y="640644"/>
                </a:lnTo>
                <a:lnTo>
                  <a:pt x="139261" y="640808"/>
                </a:lnTo>
                <a:lnTo>
                  <a:pt x="139261" y="680726"/>
                </a:lnTo>
                <a:lnTo>
                  <a:pt x="139261" y="848257"/>
                </a:lnTo>
                <a:lnTo>
                  <a:pt x="139261" y="888175"/>
                </a:lnTo>
                <a:lnTo>
                  <a:pt x="139261" y="973338"/>
                </a:lnTo>
                <a:lnTo>
                  <a:pt x="139261" y="1180787"/>
                </a:lnTo>
                <a:lnTo>
                  <a:pt x="138629" y="1186536"/>
                </a:lnTo>
                <a:lnTo>
                  <a:pt x="137998" y="1192286"/>
                </a:lnTo>
                <a:lnTo>
                  <a:pt x="136733" y="1197398"/>
                </a:lnTo>
                <a:lnTo>
                  <a:pt x="135470" y="1199952"/>
                </a:lnTo>
                <a:lnTo>
                  <a:pt x="134838" y="1202508"/>
                </a:lnTo>
                <a:lnTo>
                  <a:pt x="133574" y="1205064"/>
                </a:lnTo>
                <a:lnTo>
                  <a:pt x="132311" y="1207620"/>
                </a:lnTo>
                <a:lnTo>
                  <a:pt x="129783" y="1212091"/>
                </a:lnTo>
                <a:lnTo>
                  <a:pt x="126623" y="1216564"/>
                </a:lnTo>
                <a:lnTo>
                  <a:pt x="122831" y="1220397"/>
                </a:lnTo>
                <a:lnTo>
                  <a:pt x="119040" y="1224230"/>
                </a:lnTo>
                <a:lnTo>
                  <a:pt x="117144" y="1226147"/>
                </a:lnTo>
                <a:lnTo>
                  <a:pt x="114616" y="1227425"/>
                </a:lnTo>
                <a:lnTo>
                  <a:pt x="110193" y="1230619"/>
                </a:lnTo>
                <a:lnTo>
                  <a:pt x="105770" y="1232536"/>
                </a:lnTo>
                <a:lnTo>
                  <a:pt x="100714" y="1234452"/>
                </a:lnTo>
                <a:lnTo>
                  <a:pt x="95028" y="1235731"/>
                </a:lnTo>
                <a:lnTo>
                  <a:pt x="89972" y="1237008"/>
                </a:lnTo>
                <a:lnTo>
                  <a:pt x="84285" y="1237008"/>
                </a:lnTo>
                <a:lnTo>
                  <a:pt x="78598" y="1237008"/>
                </a:lnTo>
                <a:lnTo>
                  <a:pt x="72911" y="1235731"/>
                </a:lnTo>
                <a:lnTo>
                  <a:pt x="67855" y="1234452"/>
                </a:lnTo>
                <a:lnTo>
                  <a:pt x="65327" y="1233814"/>
                </a:lnTo>
                <a:lnTo>
                  <a:pt x="62800" y="1232536"/>
                </a:lnTo>
                <a:lnTo>
                  <a:pt x="58377" y="1230619"/>
                </a:lnTo>
                <a:lnTo>
                  <a:pt x="53321" y="1227425"/>
                </a:lnTo>
                <a:lnTo>
                  <a:pt x="49529" y="1224230"/>
                </a:lnTo>
                <a:lnTo>
                  <a:pt x="45738" y="1220397"/>
                </a:lnTo>
                <a:lnTo>
                  <a:pt x="41947" y="1216564"/>
                </a:lnTo>
                <a:lnTo>
                  <a:pt x="38786" y="1212091"/>
                </a:lnTo>
                <a:lnTo>
                  <a:pt x="36260" y="1207620"/>
                </a:lnTo>
                <a:lnTo>
                  <a:pt x="33732" y="1202508"/>
                </a:lnTo>
                <a:lnTo>
                  <a:pt x="31836" y="1197398"/>
                </a:lnTo>
                <a:lnTo>
                  <a:pt x="30573" y="1192286"/>
                </a:lnTo>
                <a:lnTo>
                  <a:pt x="29940" y="1186536"/>
                </a:lnTo>
                <a:lnTo>
                  <a:pt x="29721" y="1184538"/>
                </a:lnTo>
                <a:lnTo>
                  <a:pt x="0" y="1184538"/>
                </a:lnTo>
                <a:lnTo>
                  <a:pt x="0" y="1125964"/>
                </a:lnTo>
                <a:lnTo>
                  <a:pt x="29308" y="1125964"/>
                </a:lnTo>
                <a:lnTo>
                  <a:pt x="29308" y="973338"/>
                </a:lnTo>
                <a:lnTo>
                  <a:pt x="29308" y="888175"/>
                </a:lnTo>
                <a:lnTo>
                  <a:pt x="29308" y="848257"/>
                </a:lnTo>
                <a:lnTo>
                  <a:pt x="29308" y="731515"/>
                </a:lnTo>
                <a:lnTo>
                  <a:pt x="0" y="731515"/>
                </a:lnTo>
                <a:lnTo>
                  <a:pt x="0" y="672941"/>
                </a:lnTo>
                <a:lnTo>
                  <a:pt x="29308" y="672941"/>
                </a:lnTo>
                <a:lnTo>
                  <a:pt x="29308" y="640808"/>
                </a:lnTo>
                <a:lnTo>
                  <a:pt x="29308" y="596202"/>
                </a:lnTo>
                <a:lnTo>
                  <a:pt x="29308" y="555645"/>
                </a:lnTo>
                <a:lnTo>
                  <a:pt x="29308" y="549775"/>
                </a:lnTo>
                <a:lnTo>
                  <a:pt x="0" y="549775"/>
                </a:lnTo>
                <a:lnTo>
                  <a:pt x="0" y="491201"/>
                </a:lnTo>
                <a:lnTo>
                  <a:pt x="29308" y="491201"/>
                </a:lnTo>
                <a:lnTo>
                  <a:pt x="29308" y="388753"/>
                </a:lnTo>
                <a:lnTo>
                  <a:pt x="29308" y="368037"/>
                </a:lnTo>
                <a:lnTo>
                  <a:pt x="0" y="368037"/>
                </a:lnTo>
                <a:lnTo>
                  <a:pt x="0" y="309463"/>
                </a:lnTo>
                <a:lnTo>
                  <a:pt x="29308" y="309463"/>
                </a:lnTo>
                <a:lnTo>
                  <a:pt x="29308" y="263671"/>
                </a:lnTo>
                <a:lnTo>
                  <a:pt x="29308" y="186298"/>
                </a:lnTo>
                <a:lnTo>
                  <a:pt x="0" y="186298"/>
                </a:lnTo>
                <a:lnTo>
                  <a:pt x="0" y="127724"/>
                </a:lnTo>
                <a:lnTo>
                  <a:pt x="29308" y="127724"/>
                </a:lnTo>
                <a:lnTo>
                  <a:pt x="29308" y="56222"/>
                </a:lnTo>
                <a:lnTo>
                  <a:pt x="29940" y="50472"/>
                </a:lnTo>
                <a:lnTo>
                  <a:pt x="30573" y="44722"/>
                </a:lnTo>
                <a:lnTo>
                  <a:pt x="31836" y="38972"/>
                </a:lnTo>
                <a:lnTo>
                  <a:pt x="32468" y="36416"/>
                </a:lnTo>
                <a:lnTo>
                  <a:pt x="33732" y="33860"/>
                </a:lnTo>
                <a:lnTo>
                  <a:pt x="34995" y="31306"/>
                </a:lnTo>
                <a:lnTo>
                  <a:pt x="36260" y="29388"/>
                </a:lnTo>
                <a:lnTo>
                  <a:pt x="38786" y="24278"/>
                </a:lnTo>
                <a:lnTo>
                  <a:pt x="41947" y="20444"/>
                </a:lnTo>
                <a:lnTo>
                  <a:pt x="45738" y="15972"/>
                </a:lnTo>
                <a:lnTo>
                  <a:pt x="49529" y="12778"/>
                </a:lnTo>
                <a:lnTo>
                  <a:pt x="51425" y="10861"/>
                </a:lnTo>
                <a:lnTo>
                  <a:pt x="53321" y="9583"/>
                </a:lnTo>
                <a:lnTo>
                  <a:pt x="58377" y="6389"/>
                </a:lnTo>
                <a:lnTo>
                  <a:pt x="62800" y="3833"/>
                </a:lnTo>
                <a:lnTo>
                  <a:pt x="67855" y="2556"/>
                </a:lnTo>
                <a:lnTo>
                  <a:pt x="72911" y="639"/>
                </a:lnTo>
                <a:close/>
              </a:path>
            </a:pathLst>
          </a:custGeom>
          <a:solidFill>
            <a:schemeClr val="tx1"/>
          </a:solidFill>
          <a:ln w="12700">
            <a:solidFill>
              <a:schemeClr val="bg1"/>
            </a:solidFill>
          </a:ln>
        </p:spPr>
        <p:txBody>
          <a:bodyPr vert="horz" wrap="square" lIns="68580" tIns="34290" rIns="68580" bIns="3429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endParaRPr>
          </a:p>
        </p:txBody>
      </p:sp>
      <p:cxnSp>
        <p:nvCxnSpPr>
          <p:cNvPr id="152" name="Straight Connector 151">
            <a:extLst>
              <a:ext uri="{FF2B5EF4-FFF2-40B4-BE49-F238E27FC236}">
                <a16:creationId xmlns:a16="http://schemas.microsoft.com/office/drawing/2014/main" id="{0B2426AA-F6CD-3330-E20A-54D7FDE093C9}"/>
              </a:ext>
            </a:extLst>
          </p:cNvPr>
          <p:cNvCxnSpPr/>
          <p:nvPr/>
        </p:nvCxnSpPr>
        <p:spPr>
          <a:xfrm>
            <a:off x="3307289" y="4067086"/>
            <a:ext cx="0" cy="648078"/>
          </a:xfrm>
          <a:prstGeom prst="line">
            <a:avLst/>
          </a:prstGeom>
          <a:noFill/>
          <a:ln w="12700" cap="flat" cmpd="sng" algn="ctr">
            <a:solidFill>
              <a:srgbClr val="FFFFFF"/>
            </a:solidFill>
            <a:prstDash val="solid"/>
            <a:tailEnd type="none"/>
          </a:ln>
          <a:effectLst/>
        </p:spPr>
      </p:cxnSp>
      <p:cxnSp>
        <p:nvCxnSpPr>
          <p:cNvPr id="156" name="Straight Connector 155">
            <a:extLst>
              <a:ext uri="{FF2B5EF4-FFF2-40B4-BE49-F238E27FC236}">
                <a16:creationId xmlns:a16="http://schemas.microsoft.com/office/drawing/2014/main" id="{A922C6EA-0744-DC93-783B-2AFD6E34AF52}"/>
              </a:ext>
            </a:extLst>
          </p:cNvPr>
          <p:cNvCxnSpPr/>
          <p:nvPr/>
        </p:nvCxnSpPr>
        <p:spPr>
          <a:xfrm>
            <a:off x="7978849" y="4899226"/>
            <a:ext cx="1138365" cy="0"/>
          </a:xfrm>
          <a:prstGeom prst="line">
            <a:avLst/>
          </a:prstGeom>
          <a:noFill/>
          <a:ln w="12700" cap="flat" cmpd="sng" algn="ctr">
            <a:solidFill>
              <a:srgbClr val="FFE600"/>
            </a:solidFill>
            <a:prstDash val="solid"/>
            <a:round/>
            <a:headEnd type="none" w="med" len="med"/>
            <a:tailEnd type="none" w="med" len="med"/>
          </a:ln>
          <a:effectLst/>
        </p:spPr>
      </p:cxnSp>
      <p:cxnSp>
        <p:nvCxnSpPr>
          <p:cNvPr id="157" name="Straight Connector 156">
            <a:extLst>
              <a:ext uri="{FF2B5EF4-FFF2-40B4-BE49-F238E27FC236}">
                <a16:creationId xmlns:a16="http://schemas.microsoft.com/office/drawing/2014/main" id="{7B014620-2FAE-0D71-82E3-5DD56731A0AB}"/>
              </a:ext>
            </a:extLst>
          </p:cNvPr>
          <p:cNvCxnSpPr/>
          <p:nvPr/>
        </p:nvCxnSpPr>
        <p:spPr>
          <a:xfrm flipH="1">
            <a:off x="2271619" y="2487419"/>
            <a:ext cx="258826" cy="0"/>
          </a:xfrm>
          <a:prstGeom prst="line">
            <a:avLst/>
          </a:prstGeom>
          <a:noFill/>
          <a:ln w="12700" cap="flat" cmpd="sng" algn="ctr">
            <a:solidFill>
              <a:srgbClr val="FFFFFF"/>
            </a:solidFill>
            <a:prstDash val="solid"/>
            <a:tailEnd type="none"/>
          </a:ln>
          <a:effectLst/>
        </p:spPr>
      </p:cxnSp>
      <p:sp>
        <p:nvSpPr>
          <p:cNvPr id="319" name="Freeform: Shape 318">
            <a:extLst>
              <a:ext uri="{FF2B5EF4-FFF2-40B4-BE49-F238E27FC236}">
                <a16:creationId xmlns:a16="http://schemas.microsoft.com/office/drawing/2014/main" id="{6BBE0E87-0FBE-16B6-FB7D-2BBDFFFB4E1F}"/>
              </a:ext>
            </a:extLst>
          </p:cNvPr>
          <p:cNvSpPr>
            <a:spLocks/>
          </p:cNvSpPr>
          <p:nvPr/>
        </p:nvSpPr>
        <p:spPr bwMode="auto">
          <a:xfrm>
            <a:off x="2316589" y="2439061"/>
            <a:ext cx="168885" cy="107910"/>
          </a:xfrm>
          <a:custGeom>
            <a:avLst/>
            <a:gdLst>
              <a:gd name="connsiteX0" fmla="*/ 66098 w 168885"/>
              <a:gd name="connsiteY0" fmla="*/ 0 h 107910"/>
              <a:gd name="connsiteX1" fmla="*/ 102787 w 168885"/>
              <a:gd name="connsiteY1" fmla="*/ 0 h 107910"/>
              <a:gd name="connsiteX2" fmla="*/ 108345 w 168885"/>
              <a:gd name="connsiteY2" fmla="*/ 562 h 107910"/>
              <a:gd name="connsiteX3" fmla="*/ 113349 w 168885"/>
              <a:gd name="connsiteY3" fmla="*/ 1124 h 107910"/>
              <a:gd name="connsiteX4" fmla="*/ 118907 w 168885"/>
              <a:gd name="connsiteY4" fmla="*/ 2810 h 107910"/>
              <a:gd name="connsiteX5" fmla="*/ 123355 w 168885"/>
              <a:gd name="connsiteY5" fmla="*/ 4496 h 107910"/>
              <a:gd name="connsiteX6" fmla="*/ 128358 w 168885"/>
              <a:gd name="connsiteY6" fmla="*/ 6745 h 107910"/>
              <a:gd name="connsiteX7" fmla="*/ 132805 w 168885"/>
              <a:gd name="connsiteY7" fmla="*/ 9555 h 107910"/>
              <a:gd name="connsiteX8" fmla="*/ 136696 w 168885"/>
              <a:gd name="connsiteY8" fmla="*/ 12365 h 107910"/>
              <a:gd name="connsiteX9" fmla="*/ 140587 w 168885"/>
              <a:gd name="connsiteY9" fmla="*/ 15737 h 107910"/>
              <a:gd name="connsiteX10" fmla="*/ 144479 w 168885"/>
              <a:gd name="connsiteY10" fmla="*/ 19671 h 107910"/>
              <a:gd name="connsiteX11" fmla="*/ 146146 w 168885"/>
              <a:gd name="connsiteY11" fmla="*/ 21919 h 107910"/>
              <a:gd name="connsiteX12" fmla="*/ 147258 w 168885"/>
              <a:gd name="connsiteY12" fmla="*/ 24167 h 107910"/>
              <a:gd name="connsiteX13" fmla="*/ 147618 w 168885"/>
              <a:gd name="connsiteY13" fmla="*/ 24653 h 107910"/>
              <a:gd name="connsiteX14" fmla="*/ 168885 w 168885"/>
              <a:gd name="connsiteY14" fmla="*/ 24653 h 107910"/>
              <a:gd name="connsiteX15" fmla="*/ 168885 w 168885"/>
              <a:gd name="connsiteY15" fmla="*/ 83225 h 107910"/>
              <a:gd name="connsiteX16" fmla="*/ 147925 w 168885"/>
              <a:gd name="connsiteY16" fmla="*/ 83225 h 107910"/>
              <a:gd name="connsiteX17" fmla="*/ 147258 w 168885"/>
              <a:gd name="connsiteY17" fmla="*/ 84305 h 107910"/>
              <a:gd name="connsiteX18" fmla="*/ 144479 w 168885"/>
              <a:gd name="connsiteY18" fmla="*/ 88239 h 107910"/>
              <a:gd name="connsiteX19" fmla="*/ 142811 w 168885"/>
              <a:gd name="connsiteY19" fmla="*/ 90487 h 107910"/>
              <a:gd name="connsiteX20" fmla="*/ 140587 w 168885"/>
              <a:gd name="connsiteY20" fmla="*/ 92173 h 107910"/>
              <a:gd name="connsiteX21" fmla="*/ 136696 w 168885"/>
              <a:gd name="connsiteY21" fmla="*/ 95545 h 107910"/>
              <a:gd name="connsiteX22" fmla="*/ 132805 w 168885"/>
              <a:gd name="connsiteY22" fmla="*/ 98918 h 107910"/>
              <a:gd name="connsiteX23" fmla="*/ 128358 w 168885"/>
              <a:gd name="connsiteY23" fmla="*/ 101728 h 107910"/>
              <a:gd name="connsiteX24" fmla="*/ 123355 w 168885"/>
              <a:gd name="connsiteY24" fmla="*/ 103976 h 107910"/>
              <a:gd name="connsiteX25" fmla="*/ 118907 w 168885"/>
              <a:gd name="connsiteY25" fmla="*/ 105662 h 107910"/>
              <a:gd name="connsiteX26" fmla="*/ 113349 w 168885"/>
              <a:gd name="connsiteY26" fmla="*/ 106786 h 107910"/>
              <a:gd name="connsiteX27" fmla="*/ 108345 w 168885"/>
              <a:gd name="connsiteY27" fmla="*/ 107910 h 107910"/>
              <a:gd name="connsiteX28" fmla="*/ 102787 w 168885"/>
              <a:gd name="connsiteY28" fmla="*/ 107910 h 107910"/>
              <a:gd name="connsiteX29" fmla="*/ 66098 w 168885"/>
              <a:gd name="connsiteY29" fmla="*/ 107910 h 107910"/>
              <a:gd name="connsiteX30" fmla="*/ 60539 w 168885"/>
              <a:gd name="connsiteY30" fmla="*/ 107910 h 107910"/>
              <a:gd name="connsiteX31" fmla="*/ 55536 w 168885"/>
              <a:gd name="connsiteY31" fmla="*/ 106786 h 107910"/>
              <a:gd name="connsiteX32" fmla="*/ 49977 w 168885"/>
              <a:gd name="connsiteY32" fmla="*/ 105662 h 107910"/>
              <a:gd name="connsiteX33" fmla="*/ 45530 w 168885"/>
              <a:gd name="connsiteY33" fmla="*/ 103976 h 107910"/>
              <a:gd name="connsiteX34" fmla="*/ 40527 w 168885"/>
              <a:gd name="connsiteY34" fmla="*/ 101728 h 107910"/>
              <a:gd name="connsiteX35" fmla="*/ 36079 w 168885"/>
              <a:gd name="connsiteY35" fmla="*/ 98918 h 107910"/>
              <a:gd name="connsiteX36" fmla="*/ 32188 w 168885"/>
              <a:gd name="connsiteY36" fmla="*/ 95545 h 107910"/>
              <a:gd name="connsiteX37" fmla="*/ 28297 w 168885"/>
              <a:gd name="connsiteY37" fmla="*/ 92173 h 107910"/>
              <a:gd name="connsiteX38" fmla="*/ 24406 w 168885"/>
              <a:gd name="connsiteY38" fmla="*/ 88239 h 107910"/>
              <a:gd name="connsiteX39" fmla="*/ 22738 w 168885"/>
              <a:gd name="connsiteY39" fmla="*/ 86553 h 107910"/>
              <a:gd name="connsiteX40" fmla="*/ 21626 w 168885"/>
              <a:gd name="connsiteY40" fmla="*/ 84305 h 107910"/>
              <a:gd name="connsiteX41" fmla="*/ 20825 w 168885"/>
              <a:gd name="connsiteY41" fmla="*/ 83225 h 107910"/>
              <a:gd name="connsiteX42" fmla="*/ 0 w 168885"/>
              <a:gd name="connsiteY42" fmla="*/ 83225 h 107910"/>
              <a:gd name="connsiteX43" fmla="*/ 0 w 168885"/>
              <a:gd name="connsiteY43" fmla="*/ 24653 h 107910"/>
              <a:gd name="connsiteX44" fmla="*/ 21326 w 168885"/>
              <a:gd name="connsiteY44" fmla="*/ 24653 h 107910"/>
              <a:gd name="connsiteX45" fmla="*/ 21626 w 168885"/>
              <a:gd name="connsiteY45" fmla="*/ 24167 h 107910"/>
              <a:gd name="connsiteX46" fmla="*/ 24406 w 168885"/>
              <a:gd name="connsiteY46" fmla="*/ 19671 h 107910"/>
              <a:gd name="connsiteX47" fmla="*/ 26073 w 168885"/>
              <a:gd name="connsiteY47" fmla="*/ 17985 h 107910"/>
              <a:gd name="connsiteX48" fmla="*/ 28297 w 168885"/>
              <a:gd name="connsiteY48" fmla="*/ 15737 h 107910"/>
              <a:gd name="connsiteX49" fmla="*/ 32188 w 168885"/>
              <a:gd name="connsiteY49" fmla="*/ 12365 h 107910"/>
              <a:gd name="connsiteX50" fmla="*/ 36079 w 168885"/>
              <a:gd name="connsiteY50" fmla="*/ 9555 h 107910"/>
              <a:gd name="connsiteX51" fmla="*/ 40527 w 168885"/>
              <a:gd name="connsiteY51" fmla="*/ 6745 h 107910"/>
              <a:gd name="connsiteX52" fmla="*/ 45530 w 168885"/>
              <a:gd name="connsiteY52" fmla="*/ 4496 h 107910"/>
              <a:gd name="connsiteX53" fmla="*/ 49977 w 168885"/>
              <a:gd name="connsiteY53" fmla="*/ 2810 h 107910"/>
              <a:gd name="connsiteX54" fmla="*/ 55536 w 168885"/>
              <a:gd name="connsiteY54" fmla="*/ 1124 h 107910"/>
              <a:gd name="connsiteX55" fmla="*/ 60539 w 168885"/>
              <a:gd name="connsiteY55" fmla="*/ 562 h 107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68885" h="107910">
                <a:moveTo>
                  <a:pt x="66098" y="0"/>
                </a:moveTo>
                <a:lnTo>
                  <a:pt x="102787" y="0"/>
                </a:lnTo>
                <a:lnTo>
                  <a:pt x="108345" y="562"/>
                </a:lnTo>
                <a:lnTo>
                  <a:pt x="113349" y="1124"/>
                </a:lnTo>
                <a:lnTo>
                  <a:pt x="118907" y="2810"/>
                </a:lnTo>
                <a:lnTo>
                  <a:pt x="123355" y="4496"/>
                </a:lnTo>
                <a:lnTo>
                  <a:pt x="128358" y="6745"/>
                </a:lnTo>
                <a:lnTo>
                  <a:pt x="132805" y="9555"/>
                </a:lnTo>
                <a:lnTo>
                  <a:pt x="136696" y="12365"/>
                </a:lnTo>
                <a:lnTo>
                  <a:pt x="140587" y="15737"/>
                </a:lnTo>
                <a:lnTo>
                  <a:pt x="144479" y="19671"/>
                </a:lnTo>
                <a:lnTo>
                  <a:pt x="146146" y="21919"/>
                </a:lnTo>
                <a:lnTo>
                  <a:pt x="147258" y="24167"/>
                </a:lnTo>
                <a:lnTo>
                  <a:pt x="147618" y="24653"/>
                </a:lnTo>
                <a:lnTo>
                  <a:pt x="168885" y="24653"/>
                </a:lnTo>
                <a:lnTo>
                  <a:pt x="168885" y="83225"/>
                </a:lnTo>
                <a:lnTo>
                  <a:pt x="147925" y="83225"/>
                </a:lnTo>
                <a:lnTo>
                  <a:pt x="147258" y="84305"/>
                </a:lnTo>
                <a:lnTo>
                  <a:pt x="144479" y="88239"/>
                </a:lnTo>
                <a:lnTo>
                  <a:pt x="142811" y="90487"/>
                </a:lnTo>
                <a:lnTo>
                  <a:pt x="140587" y="92173"/>
                </a:lnTo>
                <a:lnTo>
                  <a:pt x="136696" y="95545"/>
                </a:lnTo>
                <a:lnTo>
                  <a:pt x="132805" y="98918"/>
                </a:lnTo>
                <a:lnTo>
                  <a:pt x="128358" y="101728"/>
                </a:lnTo>
                <a:lnTo>
                  <a:pt x="123355" y="103976"/>
                </a:lnTo>
                <a:lnTo>
                  <a:pt x="118907" y="105662"/>
                </a:lnTo>
                <a:lnTo>
                  <a:pt x="113349" y="106786"/>
                </a:lnTo>
                <a:lnTo>
                  <a:pt x="108345" y="107910"/>
                </a:lnTo>
                <a:lnTo>
                  <a:pt x="102787" y="107910"/>
                </a:lnTo>
                <a:lnTo>
                  <a:pt x="66098" y="107910"/>
                </a:lnTo>
                <a:lnTo>
                  <a:pt x="60539" y="107910"/>
                </a:lnTo>
                <a:lnTo>
                  <a:pt x="55536" y="106786"/>
                </a:lnTo>
                <a:lnTo>
                  <a:pt x="49977" y="105662"/>
                </a:lnTo>
                <a:lnTo>
                  <a:pt x="45530" y="103976"/>
                </a:lnTo>
                <a:lnTo>
                  <a:pt x="40527" y="101728"/>
                </a:lnTo>
                <a:lnTo>
                  <a:pt x="36079" y="98918"/>
                </a:lnTo>
                <a:lnTo>
                  <a:pt x="32188" y="95545"/>
                </a:lnTo>
                <a:lnTo>
                  <a:pt x="28297" y="92173"/>
                </a:lnTo>
                <a:lnTo>
                  <a:pt x="24406" y="88239"/>
                </a:lnTo>
                <a:lnTo>
                  <a:pt x="22738" y="86553"/>
                </a:lnTo>
                <a:lnTo>
                  <a:pt x="21626" y="84305"/>
                </a:lnTo>
                <a:lnTo>
                  <a:pt x="20825" y="83225"/>
                </a:lnTo>
                <a:lnTo>
                  <a:pt x="0" y="83225"/>
                </a:lnTo>
                <a:lnTo>
                  <a:pt x="0" y="24653"/>
                </a:lnTo>
                <a:lnTo>
                  <a:pt x="21326" y="24653"/>
                </a:lnTo>
                <a:lnTo>
                  <a:pt x="21626" y="24167"/>
                </a:lnTo>
                <a:lnTo>
                  <a:pt x="24406" y="19671"/>
                </a:lnTo>
                <a:lnTo>
                  <a:pt x="26073" y="17985"/>
                </a:lnTo>
                <a:lnTo>
                  <a:pt x="28297" y="15737"/>
                </a:lnTo>
                <a:lnTo>
                  <a:pt x="32188" y="12365"/>
                </a:lnTo>
                <a:lnTo>
                  <a:pt x="36079" y="9555"/>
                </a:lnTo>
                <a:lnTo>
                  <a:pt x="40527" y="6745"/>
                </a:lnTo>
                <a:lnTo>
                  <a:pt x="45530" y="4496"/>
                </a:lnTo>
                <a:lnTo>
                  <a:pt x="49977" y="2810"/>
                </a:lnTo>
                <a:lnTo>
                  <a:pt x="55536" y="1124"/>
                </a:lnTo>
                <a:lnTo>
                  <a:pt x="60539" y="562"/>
                </a:lnTo>
                <a:close/>
              </a:path>
            </a:pathLst>
          </a:custGeom>
          <a:solidFill>
            <a:schemeClr val="tx1"/>
          </a:solidFill>
          <a:ln>
            <a:solidFill>
              <a:schemeClr val="bg1"/>
            </a:solidFill>
          </a:ln>
        </p:spPr>
        <p:txBody>
          <a:bodyPr vert="horz" wrap="square" lIns="68580" tIns="34290" rIns="68580" bIns="3429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endParaRPr>
          </a:p>
        </p:txBody>
      </p:sp>
      <p:sp>
        <p:nvSpPr>
          <p:cNvPr id="159" name="Isosceles Triangle 158">
            <a:extLst>
              <a:ext uri="{FF2B5EF4-FFF2-40B4-BE49-F238E27FC236}">
                <a16:creationId xmlns:a16="http://schemas.microsoft.com/office/drawing/2014/main" id="{98A2D2F3-B54A-7EB4-E7BD-867D65173564}"/>
              </a:ext>
            </a:extLst>
          </p:cNvPr>
          <p:cNvSpPr>
            <a:spLocks/>
          </p:cNvSpPr>
          <p:nvPr/>
        </p:nvSpPr>
        <p:spPr>
          <a:xfrm rot="16200000">
            <a:off x="2165051" y="2020833"/>
            <a:ext cx="105416" cy="89883"/>
          </a:xfrm>
          <a:prstGeom prst="triangle">
            <a:avLst/>
          </a:prstGeom>
          <a:solidFill>
            <a:srgbClr val="FFE600"/>
          </a:solidFill>
          <a:ln w="9525" cap="flat" cmpd="sng" algn="ctr">
            <a:noFill/>
            <a:prstDash val="solid"/>
            <a:round/>
            <a:headEnd type="none" w="med" len="med"/>
            <a:tailEnd type="none" w="med" len="me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ea typeface="+mn-ea"/>
              <a:cs typeface="+mn-cs"/>
            </a:endParaRPr>
          </a:p>
        </p:txBody>
      </p:sp>
      <p:sp>
        <p:nvSpPr>
          <p:cNvPr id="316" name="Freeform: Shape 315">
            <a:extLst>
              <a:ext uri="{FF2B5EF4-FFF2-40B4-BE49-F238E27FC236}">
                <a16:creationId xmlns:a16="http://schemas.microsoft.com/office/drawing/2014/main" id="{5B29E021-8DFE-109A-3546-5BE33858AC79}"/>
              </a:ext>
            </a:extLst>
          </p:cNvPr>
          <p:cNvSpPr>
            <a:spLocks/>
          </p:cNvSpPr>
          <p:nvPr/>
        </p:nvSpPr>
        <p:spPr bwMode="auto">
          <a:xfrm>
            <a:off x="891396" y="5030097"/>
            <a:ext cx="168885" cy="107910"/>
          </a:xfrm>
          <a:custGeom>
            <a:avLst/>
            <a:gdLst>
              <a:gd name="connsiteX0" fmla="*/ 66098 w 168885"/>
              <a:gd name="connsiteY0" fmla="*/ 0 h 107910"/>
              <a:gd name="connsiteX1" fmla="*/ 102786 w 168885"/>
              <a:gd name="connsiteY1" fmla="*/ 0 h 107910"/>
              <a:gd name="connsiteX2" fmla="*/ 108345 w 168885"/>
              <a:gd name="connsiteY2" fmla="*/ 562 h 107910"/>
              <a:gd name="connsiteX3" fmla="*/ 113348 w 168885"/>
              <a:gd name="connsiteY3" fmla="*/ 1124 h 107910"/>
              <a:gd name="connsiteX4" fmla="*/ 118907 w 168885"/>
              <a:gd name="connsiteY4" fmla="*/ 2810 h 107910"/>
              <a:gd name="connsiteX5" fmla="*/ 123354 w 168885"/>
              <a:gd name="connsiteY5" fmla="*/ 4496 h 107910"/>
              <a:gd name="connsiteX6" fmla="*/ 128358 w 168885"/>
              <a:gd name="connsiteY6" fmla="*/ 6745 h 107910"/>
              <a:gd name="connsiteX7" fmla="*/ 132805 w 168885"/>
              <a:gd name="connsiteY7" fmla="*/ 9555 h 107910"/>
              <a:gd name="connsiteX8" fmla="*/ 136696 w 168885"/>
              <a:gd name="connsiteY8" fmla="*/ 12365 h 107910"/>
              <a:gd name="connsiteX9" fmla="*/ 140587 w 168885"/>
              <a:gd name="connsiteY9" fmla="*/ 15737 h 107910"/>
              <a:gd name="connsiteX10" fmla="*/ 144478 w 168885"/>
              <a:gd name="connsiteY10" fmla="*/ 19671 h 107910"/>
              <a:gd name="connsiteX11" fmla="*/ 146146 w 168885"/>
              <a:gd name="connsiteY11" fmla="*/ 21919 h 107910"/>
              <a:gd name="connsiteX12" fmla="*/ 147258 w 168885"/>
              <a:gd name="connsiteY12" fmla="*/ 24168 h 107910"/>
              <a:gd name="connsiteX13" fmla="*/ 147630 w 168885"/>
              <a:gd name="connsiteY13" fmla="*/ 24669 h 107910"/>
              <a:gd name="connsiteX14" fmla="*/ 168885 w 168885"/>
              <a:gd name="connsiteY14" fmla="*/ 24669 h 107910"/>
              <a:gd name="connsiteX15" fmla="*/ 168885 w 168885"/>
              <a:gd name="connsiteY15" fmla="*/ 83242 h 107910"/>
              <a:gd name="connsiteX16" fmla="*/ 147915 w 168885"/>
              <a:gd name="connsiteY16" fmla="*/ 83242 h 107910"/>
              <a:gd name="connsiteX17" fmla="*/ 147258 w 168885"/>
              <a:gd name="connsiteY17" fmla="*/ 84305 h 107910"/>
              <a:gd name="connsiteX18" fmla="*/ 144478 w 168885"/>
              <a:gd name="connsiteY18" fmla="*/ 88239 h 107910"/>
              <a:gd name="connsiteX19" fmla="*/ 142811 w 168885"/>
              <a:gd name="connsiteY19" fmla="*/ 90487 h 107910"/>
              <a:gd name="connsiteX20" fmla="*/ 140587 w 168885"/>
              <a:gd name="connsiteY20" fmla="*/ 92173 h 107910"/>
              <a:gd name="connsiteX21" fmla="*/ 136696 w 168885"/>
              <a:gd name="connsiteY21" fmla="*/ 95546 h 107910"/>
              <a:gd name="connsiteX22" fmla="*/ 132805 w 168885"/>
              <a:gd name="connsiteY22" fmla="*/ 98918 h 107910"/>
              <a:gd name="connsiteX23" fmla="*/ 128358 w 168885"/>
              <a:gd name="connsiteY23" fmla="*/ 101728 h 107910"/>
              <a:gd name="connsiteX24" fmla="*/ 123354 w 168885"/>
              <a:gd name="connsiteY24" fmla="*/ 103976 h 107910"/>
              <a:gd name="connsiteX25" fmla="*/ 118907 w 168885"/>
              <a:gd name="connsiteY25" fmla="*/ 105662 h 107910"/>
              <a:gd name="connsiteX26" fmla="*/ 113348 w 168885"/>
              <a:gd name="connsiteY26" fmla="*/ 106786 h 107910"/>
              <a:gd name="connsiteX27" fmla="*/ 108345 w 168885"/>
              <a:gd name="connsiteY27" fmla="*/ 107910 h 107910"/>
              <a:gd name="connsiteX28" fmla="*/ 102786 w 168885"/>
              <a:gd name="connsiteY28" fmla="*/ 107910 h 107910"/>
              <a:gd name="connsiteX29" fmla="*/ 66098 w 168885"/>
              <a:gd name="connsiteY29" fmla="*/ 107910 h 107910"/>
              <a:gd name="connsiteX30" fmla="*/ 60539 w 168885"/>
              <a:gd name="connsiteY30" fmla="*/ 107910 h 107910"/>
              <a:gd name="connsiteX31" fmla="*/ 55536 w 168885"/>
              <a:gd name="connsiteY31" fmla="*/ 106786 h 107910"/>
              <a:gd name="connsiteX32" fmla="*/ 49977 w 168885"/>
              <a:gd name="connsiteY32" fmla="*/ 105662 h 107910"/>
              <a:gd name="connsiteX33" fmla="*/ 45530 w 168885"/>
              <a:gd name="connsiteY33" fmla="*/ 103976 h 107910"/>
              <a:gd name="connsiteX34" fmla="*/ 40527 w 168885"/>
              <a:gd name="connsiteY34" fmla="*/ 101728 h 107910"/>
              <a:gd name="connsiteX35" fmla="*/ 36079 w 168885"/>
              <a:gd name="connsiteY35" fmla="*/ 98918 h 107910"/>
              <a:gd name="connsiteX36" fmla="*/ 32188 w 168885"/>
              <a:gd name="connsiteY36" fmla="*/ 95546 h 107910"/>
              <a:gd name="connsiteX37" fmla="*/ 28297 w 168885"/>
              <a:gd name="connsiteY37" fmla="*/ 92173 h 107910"/>
              <a:gd name="connsiteX38" fmla="*/ 24406 w 168885"/>
              <a:gd name="connsiteY38" fmla="*/ 88239 h 107910"/>
              <a:gd name="connsiteX39" fmla="*/ 22738 w 168885"/>
              <a:gd name="connsiteY39" fmla="*/ 86553 h 107910"/>
              <a:gd name="connsiteX40" fmla="*/ 21626 w 168885"/>
              <a:gd name="connsiteY40" fmla="*/ 84305 h 107910"/>
              <a:gd name="connsiteX41" fmla="*/ 20838 w 168885"/>
              <a:gd name="connsiteY41" fmla="*/ 83242 h 107910"/>
              <a:gd name="connsiteX42" fmla="*/ 0 w 168885"/>
              <a:gd name="connsiteY42" fmla="*/ 83242 h 107910"/>
              <a:gd name="connsiteX43" fmla="*/ 0 w 168885"/>
              <a:gd name="connsiteY43" fmla="*/ 24669 h 107910"/>
              <a:gd name="connsiteX44" fmla="*/ 21316 w 168885"/>
              <a:gd name="connsiteY44" fmla="*/ 24669 h 107910"/>
              <a:gd name="connsiteX45" fmla="*/ 21626 w 168885"/>
              <a:gd name="connsiteY45" fmla="*/ 24168 h 107910"/>
              <a:gd name="connsiteX46" fmla="*/ 24406 w 168885"/>
              <a:gd name="connsiteY46" fmla="*/ 19671 h 107910"/>
              <a:gd name="connsiteX47" fmla="*/ 26073 w 168885"/>
              <a:gd name="connsiteY47" fmla="*/ 17985 h 107910"/>
              <a:gd name="connsiteX48" fmla="*/ 28297 w 168885"/>
              <a:gd name="connsiteY48" fmla="*/ 15737 h 107910"/>
              <a:gd name="connsiteX49" fmla="*/ 32188 w 168885"/>
              <a:gd name="connsiteY49" fmla="*/ 12365 h 107910"/>
              <a:gd name="connsiteX50" fmla="*/ 36079 w 168885"/>
              <a:gd name="connsiteY50" fmla="*/ 9555 h 107910"/>
              <a:gd name="connsiteX51" fmla="*/ 40527 w 168885"/>
              <a:gd name="connsiteY51" fmla="*/ 6745 h 107910"/>
              <a:gd name="connsiteX52" fmla="*/ 45530 w 168885"/>
              <a:gd name="connsiteY52" fmla="*/ 4496 h 107910"/>
              <a:gd name="connsiteX53" fmla="*/ 49977 w 168885"/>
              <a:gd name="connsiteY53" fmla="*/ 2810 h 107910"/>
              <a:gd name="connsiteX54" fmla="*/ 55536 w 168885"/>
              <a:gd name="connsiteY54" fmla="*/ 1124 h 107910"/>
              <a:gd name="connsiteX55" fmla="*/ 60539 w 168885"/>
              <a:gd name="connsiteY55" fmla="*/ 562 h 107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68885" h="107910">
                <a:moveTo>
                  <a:pt x="66098" y="0"/>
                </a:moveTo>
                <a:lnTo>
                  <a:pt x="102786" y="0"/>
                </a:lnTo>
                <a:lnTo>
                  <a:pt x="108345" y="562"/>
                </a:lnTo>
                <a:lnTo>
                  <a:pt x="113348" y="1124"/>
                </a:lnTo>
                <a:lnTo>
                  <a:pt x="118907" y="2810"/>
                </a:lnTo>
                <a:lnTo>
                  <a:pt x="123354" y="4496"/>
                </a:lnTo>
                <a:lnTo>
                  <a:pt x="128358" y="6745"/>
                </a:lnTo>
                <a:lnTo>
                  <a:pt x="132805" y="9555"/>
                </a:lnTo>
                <a:lnTo>
                  <a:pt x="136696" y="12365"/>
                </a:lnTo>
                <a:lnTo>
                  <a:pt x="140587" y="15737"/>
                </a:lnTo>
                <a:lnTo>
                  <a:pt x="144478" y="19671"/>
                </a:lnTo>
                <a:lnTo>
                  <a:pt x="146146" y="21919"/>
                </a:lnTo>
                <a:lnTo>
                  <a:pt x="147258" y="24168"/>
                </a:lnTo>
                <a:lnTo>
                  <a:pt x="147630" y="24669"/>
                </a:lnTo>
                <a:lnTo>
                  <a:pt x="168885" y="24669"/>
                </a:lnTo>
                <a:lnTo>
                  <a:pt x="168885" y="83242"/>
                </a:lnTo>
                <a:lnTo>
                  <a:pt x="147915" y="83242"/>
                </a:lnTo>
                <a:lnTo>
                  <a:pt x="147258" y="84305"/>
                </a:lnTo>
                <a:lnTo>
                  <a:pt x="144478" y="88239"/>
                </a:lnTo>
                <a:lnTo>
                  <a:pt x="142811" y="90487"/>
                </a:lnTo>
                <a:lnTo>
                  <a:pt x="140587" y="92173"/>
                </a:lnTo>
                <a:lnTo>
                  <a:pt x="136696" y="95546"/>
                </a:lnTo>
                <a:lnTo>
                  <a:pt x="132805" y="98918"/>
                </a:lnTo>
                <a:lnTo>
                  <a:pt x="128358" y="101728"/>
                </a:lnTo>
                <a:lnTo>
                  <a:pt x="123354" y="103976"/>
                </a:lnTo>
                <a:lnTo>
                  <a:pt x="118907" y="105662"/>
                </a:lnTo>
                <a:lnTo>
                  <a:pt x="113348" y="106786"/>
                </a:lnTo>
                <a:lnTo>
                  <a:pt x="108345" y="107910"/>
                </a:lnTo>
                <a:lnTo>
                  <a:pt x="102786" y="107910"/>
                </a:lnTo>
                <a:lnTo>
                  <a:pt x="66098" y="107910"/>
                </a:lnTo>
                <a:lnTo>
                  <a:pt x="60539" y="107910"/>
                </a:lnTo>
                <a:lnTo>
                  <a:pt x="55536" y="106786"/>
                </a:lnTo>
                <a:lnTo>
                  <a:pt x="49977" y="105662"/>
                </a:lnTo>
                <a:lnTo>
                  <a:pt x="45530" y="103976"/>
                </a:lnTo>
                <a:lnTo>
                  <a:pt x="40527" y="101728"/>
                </a:lnTo>
                <a:lnTo>
                  <a:pt x="36079" y="98918"/>
                </a:lnTo>
                <a:lnTo>
                  <a:pt x="32188" y="95546"/>
                </a:lnTo>
                <a:lnTo>
                  <a:pt x="28297" y="92173"/>
                </a:lnTo>
                <a:lnTo>
                  <a:pt x="24406" y="88239"/>
                </a:lnTo>
                <a:lnTo>
                  <a:pt x="22738" y="86553"/>
                </a:lnTo>
                <a:lnTo>
                  <a:pt x="21626" y="84305"/>
                </a:lnTo>
                <a:lnTo>
                  <a:pt x="20838" y="83242"/>
                </a:lnTo>
                <a:lnTo>
                  <a:pt x="0" y="83242"/>
                </a:lnTo>
                <a:lnTo>
                  <a:pt x="0" y="24669"/>
                </a:lnTo>
                <a:lnTo>
                  <a:pt x="21316" y="24669"/>
                </a:lnTo>
                <a:lnTo>
                  <a:pt x="21626" y="24168"/>
                </a:lnTo>
                <a:lnTo>
                  <a:pt x="24406" y="19671"/>
                </a:lnTo>
                <a:lnTo>
                  <a:pt x="26073" y="17985"/>
                </a:lnTo>
                <a:lnTo>
                  <a:pt x="28297" y="15737"/>
                </a:lnTo>
                <a:lnTo>
                  <a:pt x="32188" y="12365"/>
                </a:lnTo>
                <a:lnTo>
                  <a:pt x="36079" y="9555"/>
                </a:lnTo>
                <a:lnTo>
                  <a:pt x="40527" y="6745"/>
                </a:lnTo>
                <a:lnTo>
                  <a:pt x="45530" y="4496"/>
                </a:lnTo>
                <a:lnTo>
                  <a:pt x="49977" y="2810"/>
                </a:lnTo>
                <a:lnTo>
                  <a:pt x="55536" y="1124"/>
                </a:lnTo>
                <a:lnTo>
                  <a:pt x="60539" y="562"/>
                </a:lnTo>
                <a:close/>
              </a:path>
            </a:pathLst>
          </a:custGeom>
          <a:solidFill>
            <a:schemeClr val="tx1"/>
          </a:solidFill>
          <a:ln>
            <a:solidFill>
              <a:schemeClr val="bg1"/>
            </a:solidFill>
          </a:ln>
        </p:spPr>
        <p:txBody>
          <a:bodyPr vert="horz" wrap="square" lIns="68580" tIns="34290" rIns="68580" bIns="3429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endParaRPr>
          </a:p>
        </p:txBody>
      </p:sp>
      <p:sp>
        <p:nvSpPr>
          <p:cNvPr id="214" name="Freeform 290">
            <a:extLst>
              <a:ext uri="{FF2B5EF4-FFF2-40B4-BE49-F238E27FC236}">
                <a16:creationId xmlns:a16="http://schemas.microsoft.com/office/drawing/2014/main" id="{FF3F4645-C850-0464-BD94-63F1C265510F}"/>
              </a:ext>
            </a:extLst>
          </p:cNvPr>
          <p:cNvSpPr>
            <a:spLocks noEditPoints="1"/>
          </p:cNvSpPr>
          <p:nvPr/>
        </p:nvSpPr>
        <p:spPr bwMode="auto">
          <a:xfrm>
            <a:off x="1151905" y="5023374"/>
            <a:ext cx="156889" cy="162908"/>
          </a:xfrm>
          <a:custGeom>
            <a:avLst/>
            <a:gdLst>
              <a:gd name="T0" fmla="*/ 45 w 259"/>
              <a:gd name="T1" fmla="*/ 176 h 266"/>
              <a:gd name="T2" fmla="*/ 26 w 259"/>
              <a:gd name="T3" fmla="*/ 161 h 266"/>
              <a:gd name="T4" fmla="*/ 19 w 259"/>
              <a:gd name="T5" fmla="*/ 152 h 266"/>
              <a:gd name="T6" fmla="*/ 10 w 259"/>
              <a:gd name="T7" fmla="*/ 137 h 266"/>
              <a:gd name="T8" fmla="*/ 5 w 259"/>
              <a:gd name="T9" fmla="*/ 126 h 266"/>
              <a:gd name="T10" fmla="*/ 1 w 259"/>
              <a:gd name="T11" fmla="*/ 108 h 266"/>
              <a:gd name="T12" fmla="*/ 0 w 259"/>
              <a:gd name="T13" fmla="*/ 95 h 266"/>
              <a:gd name="T14" fmla="*/ 1 w 259"/>
              <a:gd name="T15" fmla="*/ 81 h 266"/>
              <a:gd name="T16" fmla="*/ 4 w 259"/>
              <a:gd name="T17" fmla="*/ 67 h 266"/>
              <a:gd name="T18" fmla="*/ 12 w 259"/>
              <a:gd name="T19" fmla="*/ 50 h 266"/>
              <a:gd name="T20" fmla="*/ 22 w 259"/>
              <a:gd name="T21" fmla="*/ 34 h 266"/>
              <a:gd name="T22" fmla="*/ 29 w 259"/>
              <a:gd name="T23" fmla="*/ 28 h 266"/>
              <a:gd name="T24" fmla="*/ 43 w 259"/>
              <a:gd name="T25" fmla="*/ 16 h 266"/>
              <a:gd name="T26" fmla="*/ 60 w 259"/>
              <a:gd name="T27" fmla="*/ 7 h 266"/>
              <a:gd name="T28" fmla="*/ 78 w 259"/>
              <a:gd name="T29" fmla="*/ 2 h 266"/>
              <a:gd name="T30" fmla="*/ 97 w 259"/>
              <a:gd name="T31" fmla="*/ 0 h 266"/>
              <a:gd name="T32" fmla="*/ 172 w 259"/>
              <a:gd name="T33" fmla="*/ 0 h 266"/>
              <a:gd name="T34" fmla="*/ 191 w 259"/>
              <a:gd name="T35" fmla="*/ 4 h 266"/>
              <a:gd name="T36" fmla="*/ 208 w 259"/>
              <a:gd name="T37" fmla="*/ 11 h 266"/>
              <a:gd name="T38" fmla="*/ 223 w 259"/>
              <a:gd name="T39" fmla="*/ 21 h 266"/>
              <a:gd name="T40" fmla="*/ 237 w 259"/>
              <a:gd name="T41" fmla="*/ 34 h 266"/>
              <a:gd name="T42" fmla="*/ 242 w 259"/>
              <a:gd name="T43" fmla="*/ 42 h 266"/>
              <a:gd name="T44" fmla="*/ 247 w 259"/>
              <a:gd name="T45" fmla="*/ 50 h 266"/>
              <a:gd name="T46" fmla="*/ 255 w 259"/>
              <a:gd name="T47" fmla="*/ 67 h 266"/>
              <a:gd name="T48" fmla="*/ 258 w 259"/>
              <a:gd name="T49" fmla="*/ 81 h 266"/>
              <a:gd name="T50" fmla="*/ 259 w 259"/>
              <a:gd name="T51" fmla="*/ 95 h 266"/>
              <a:gd name="T52" fmla="*/ 258 w 259"/>
              <a:gd name="T53" fmla="*/ 108 h 266"/>
              <a:gd name="T54" fmla="*/ 256 w 259"/>
              <a:gd name="T55" fmla="*/ 120 h 266"/>
              <a:gd name="T56" fmla="*/ 252 w 259"/>
              <a:gd name="T57" fmla="*/ 131 h 266"/>
              <a:gd name="T58" fmla="*/ 247 w 259"/>
              <a:gd name="T59" fmla="*/ 142 h 266"/>
              <a:gd name="T60" fmla="*/ 240 w 259"/>
              <a:gd name="T61" fmla="*/ 152 h 266"/>
              <a:gd name="T62" fmla="*/ 233 w 259"/>
              <a:gd name="T63" fmla="*/ 161 h 266"/>
              <a:gd name="T64" fmla="*/ 224 w 259"/>
              <a:gd name="T65" fmla="*/ 169 h 266"/>
              <a:gd name="T66" fmla="*/ 214 w 259"/>
              <a:gd name="T67" fmla="*/ 228 h 266"/>
              <a:gd name="T68" fmla="*/ 259 w 259"/>
              <a:gd name="T69" fmla="*/ 266 h 266"/>
              <a:gd name="T70" fmla="*/ 0 w 259"/>
              <a:gd name="T71" fmla="*/ 228 h 266"/>
              <a:gd name="T72" fmla="*/ 82 w 259"/>
              <a:gd name="T73" fmla="*/ 190 h 266"/>
              <a:gd name="T74" fmla="*/ 177 w 259"/>
              <a:gd name="T75" fmla="*/ 228 h 266"/>
              <a:gd name="T76" fmla="*/ 169 w 259"/>
              <a:gd name="T77" fmla="*/ 191 h 266"/>
              <a:gd name="T78" fmla="*/ 97 w 259"/>
              <a:gd name="T79" fmla="*/ 191 h 266"/>
              <a:gd name="T80" fmla="*/ 82 w 259"/>
              <a:gd name="T81" fmla="*/ 19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59" h="266">
                <a:moveTo>
                  <a:pt x="45" y="228"/>
                </a:moveTo>
                <a:lnTo>
                  <a:pt x="45" y="176"/>
                </a:lnTo>
                <a:lnTo>
                  <a:pt x="35" y="169"/>
                </a:lnTo>
                <a:lnTo>
                  <a:pt x="26" y="161"/>
                </a:lnTo>
                <a:lnTo>
                  <a:pt x="22" y="157"/>
                </a:lnTo>
                <a:lnTo>
                  <a:pt x="19" y="152"/>
                </a:lnTo>
                <a:lnTo>
                  <a:pt x="12" y="142"/>
                </a:lnTo>
                <a:lnTo>
                  <a:pt x="10" y="137"/>
                </a:lnTo>
                <a:lnTo>
                  <a:pt x="7" y="131"/>
                </a:lnTo>
                <a:lnTo>
                  <a:pt x="5" y="126"/>
                </a:lnTo>
                <a:lnTo>
                  <a:pt x="3" y="120"/>
                </a:lnTo>
                <a:lnTo>
                  <a:pt x="1" y="108"/>
                </a:lnTo>
                <a:lnTo>
                  <a:pt x="0" y="102"/>
                </a:lnTo>
                <a:lnTo>
                  <a:pt x="0" y="95"/>
                </a:lnTo>
                <a:lnTo>
                  <a:pt x="1" y="86"/>
                </a:lnTo>
                <a:lnTo>
                  <a:pt x="1" y="81"/>
                </a:lnTo>
                <a:lnTo>
                  <a:pt x="2" y="76"/>
                </a:lnTo>
                <a:lnTo>
                  <a:pt x="4" y="67"/>
                </a:lnTo>
                <a:lnTo>
                  <a:pt x="8" y="58"/>
                </a:lnTo>
                <a:lnTo>
                  <a:pt x="12" y="50"/>
                </a:lnTo>
                <a:lnTo>
                  <a:pt x="17" y="42"/>
                </a:lnTo>
                <a:lnTo>
                  <a:pt x="22" y="34"/>
                </a:lnTo>
                <a:lnTo>
                  <a:pt x="25" y="31"/>
                </a:lnTo>
                <a:lnTo>
                  <a:pt x="29" y="28"/>
                </a:lnTo>
                <a:lnTo>
                  <a:pt x="36" y="21"/>
                </a:lnTo>
                <a:lnTo>
                  <a:pt x="43" y="16"/>
                </a:lnTo>
                <a:lnTo>
                  <a:pt x="51" y="11"/>
                </a:lnTo>
                <a:lnTo>
                  <a:pt x="60" y="7"/>
                </a:lnTo>
                <a:lnTo>
                  <a:pt x="68" y="4"/>
                </a:lnTo>
                <a:lnTo>
                  <a:pt x="78" y="2"/>
                </a:lnTo>
                <a:lnTo>
                  <a:pt x="87" y="0"/>
                </a:lnTo>
                <a:lnTo>
                  <a:pt x="97" y="0"/>
                </a:lnTo>
                <a:lnTo>
                  <a:pt x="162" y="0"/>
                </a:lnTo>
                <a:lnTo>
                  <a:pt x="172" y="0"/>
                </a:lnTo>
                <a:lnTo>
                  <a:pt x="181" y="2"/>
                </a:lnTo>
                <a:lnTo>
                  <a:pt x="191" y="4"/>
                </a:lnTo>
                <a:lnTo>
                  <a:pt x="199" y="7"/>
                </a:lnTo>
                <a:lnTo>
                  <a:pt x="208" y="11"/>
                </a:lnTo>
                <a:lnTo>
                  <a:pt x="216" y="16"/>
                </a:lnTo>
                <a:lnTo>
                  <a:pt x="223" y="21"/>
                </a:lnTo>
                <a:lnTo>
                  <a:pt x="230" y="28"/>
                </a:lnTo>
                <a:lnTo>
                  <a:pt x="237" y="34"/>
                </a:lnTo>
                <a:lnTo>
                  <a:pt x="240" y="38"/>
                </a:lnTo>
                <a:lnTo>
                  <a:pt x="242" y="42"/>
                </a:lnTo>
                <a:lnTo>
                  <a:pt x="245" y="46"/>
                </a:lnTo>
                <a:lnTo>
                  <a:pt x="247" y="50"/>
                </a:lnTo>
                <a:lnTo>
                  <a:pt x="251" y="58"/>
                </a:lnTo>
                <a:lnTo>
                  <a:pt x="255" y="67"/>
                </a:lnTo>
                <a:lnTo>
                  <a:pt x="257" y="76"/>
                </a:lnTo>
                <a:lnTo>
                  <a:pt x="258" y="81"/>
                </a:lnTo>
                <a:lnTo>
                  <a:pt x="258" y="86"/>
                </a:lnTo>
                <a:lnTo>
                  <a:pt x="259" y="95"/>
                </a:lnTo>
                <a:lnTo>
                  <a:pt x="259" y="102"/>
                </a:lnTo>
                <a:lnTo>
                  <a:pt x="258" y="108"/>
                </a:lnTo>
                <a:lnTo>
                  <a:pt x="257" y="114"/>
                </a:lnTo>
                <a:lnTo>
                  <a:pt x="256" y="120"/>
                </a:lnTo>
                <a:lnTo>
                  <a:pt x="254" y="126"/>
                </a:lnTo>
                <a:lnTo>
                  <a:pt x="252" y="131"/>
                </a:lnTo>
                <a:lnTo>
                  <a:pt x="249" y="137"/>
                </a:lnTo>
                <a:lnTo>
                  <a:pt x="247" y="142"/>
                </a:lnTo>
                <a:lnTo>
                  <a:pt x="244" y="147"/>
                </a:lnTo>
                <a:lnTo>
                  <a:pt x="240" y="152"/>
                </a:lnTo>
                <a:lnTo>
                  <a:pt x="237" y="157"/>
                </a:lnTo>
                <a:lnTo>
                  <a:pt x="233" y="161"/>
                </a:lnTo>
                <a:lnTo>
                  <a:pt x="228" y="165"/>
                </a:lnTo>
                <a:lnTo>
                  <a:pt x="224" y="169"/>
                </a:lnTo>
                <a:lnTo>
                  <a:pt x="214" y="176"/>
                </a:lnTo>
                <a:lnTo>
                  <a:pt x="214" y="228"/>
                </a:lnTo>
                <a:lnTo>
                  <a:pt x="259" y="228"/>
                </a:lnTo>
                <a:lnTo>
                  <a:pt x="259" y="266"/>
                </a:lnTo>
                <a:lnTo>
                  <a:pt x="0" y="266"/>
                </a:lnTo>
                <a:lnTo>
                  <a:pt x="0" y="228"/>
                </a:lnTo>
                <a:lnTo>
                  <a:pt x="45" y="228"/>
                </a:lnTo>
                <a:close/>
                <a:moveTo>
                  <a:pt x="82" y="190"/>
                </a:moveTo>
                <a:lnTo>
                  <a:pt x="82" y="228"/>
                </a:lnTo>
                <a:lnTo>
                  <a:pt x="177" y="228"/>
                </a:lnTo>
                <a:lnTo>
                  <a:pt x="177" y="190"/>
                </a:lnTo>
                <a:lnTo>
                  <a:pt x="169" y="191"/>
                </a:lnTo>
                <a:lnTo>
                  <a:pt x="162" y="191"/>
                </a:lnTo>
                <a:lnTo>
                  <a:pt x="97" y="191"/>
                </a:lnTo>
                <a:lnTo>
                  <a:pt x="90" y="191"/>
                </a:lnTo>
                <a:lnTo>
                  <a:pt x="82" y="190"/>
                </a:lnTo>
                <a:close/>
              </a:path>
            </a:pathLst>
          </a:custGeom>
          <a:solidFill>
            <a:schemeClr val="tx1"/>
          </a:solidFill>
          <a:ln>
            <a:solidFill>
              <a:schemeClr val="bg1"/>
            </a:solid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endParaRPr>
          </a:p>
        </p:txBody>
      </p:sp>
      <p:cxnSp>
        <p:nvCxnSpPr>
          <p:cNvPr id="161" name="Straight Connector 160">
            <a:extLst>
              <a:ext uri="{FF2B5EF4-FFF2-40B4-BE49-F238E27FC236}">
                <a16:creationId xmlns:a16="http://schemas.microsoft.com/office/drawing/2014/main" id="{A7BEA306-D023-BBE4-D44D-C34C1900E726}"/>
              </a:ext>
            </a:extLst>
          </p:cNvPr>
          <p:cNvCxnSpPr>
            <a:cxnSpLocks/>
          </p:cNvCxnSpPr>
          <p:nvPr/>
        </p:nvCxnSpPr>
        <p:spPr>
          <a:xfrm flipV="1">
            <a:off x="1226913" y="6025010"/>
            <a:ext cx="0" cy="283161"/>
          </a:xfrm>
          <a:prstGeom prst="line">
            <a:avLst/>
          </a:prstGeom>
          <a:noFill/>
          <a:ln w="12700" cap="flat" cmpd="sng" algn="ctr">
            <a:solidFill>
              <a:schemeClr val="bg1"/>
            </a:solidFill>
            <a:prstDash val="solid"/>
            <a:tailEnd type="none"/>
          </a:ln>
          <a:effectLst/>
        </p:spPr>
      </p:cxnSp>
      <p:sp>
        <p:nvSpPr>
          <p:cNvPr id="162" name="TextBox 161">
            <a:extLst>
              <a:ext uri="{FF2B5EF4-FFF2-40B4-BE49-F238E27FC236}">
                <a16:creationId xmlns:a16="http://schemas.microsoft.com/office/drawing/2014/main" id="{C0B96B0F-DAF2-E428-5AFB-4F37C8E9B230}"/>
              </a:ext>
            </a:extLst>
          </p:cNvPr>
          <p:cNvSpPr txBox="1">
            <a:spLocks/>
          </p:cNvSpPr>
          <p:nvPr/>
        </p:nvSpPr>
        <p:spPr>
          <a:xfrm>
            <a:off x="621389" y="5803389"/>
            <a:ext cx="1838179" cy="202781"/>
          </a:xfrm>
          <a:prstGeom prst="rect">
            <a:avLst/>
          </a:prstGeom>
          <a:noFill/>
          <a:ln w="9525" cap="flat" cmpd="sng" algn="ctr">
            <a:solidFill>
              <a:srgbClr val="C4C4CD"/>
            </a:solidFill>
            <a:prstDash val="lgDash"/>
            <a:round/>
            <a:headEnd type="none" w="med" len="med"/>
            <a:tailEnd type="none" w="med" len="med"/>
          </a:ln>
          <a:extLst>
            <a:ext uri="{909E8E84-426E-40DD-AFC4-6F175D3DCCD1}">
              <a14:hiddenFill xmlns:a14="http://schemas.microsoft.com/office/drawing/2010/main">
                <a:solidFill>
                  <a:srgbClr val="747480"/>
                </a:solidFill>
              </a14:hiddenFill>
            </a:ext>
          </a:extLst>
        </p:spPr>
        <p:txBody>
          <a:bodyPr wrap="square" lIns="34290" tIns="34290" rIns="34290" bIns="34290" rtlCol="0" anchor="ctr" anchorCtr="0">
            <a:noAutofit/>
          </a:bodyPr>
          <a:lstStyle/>
          <a:p>
            <a:pPr marL="0" marR="0" lvl="0" indent="0" algn="ctr" defTabSz="914400" eaLnBrk="1" fontAlgn="auto" latinLnBrk="0" hangingPunct="1">
              <a:spcBef>
                <a:spcPts val="0"/>
              </a:spcBef>
              <a:buClr>
                <a:srgbClr val="FFD200"/>
              </a:buClr>
              <a:buSzPct val="70000"/>
              <a:buFontTx/>
              <a:buNone/>
              <a:tabLst/>
              <a:defRPr/>
            </a:pPr>
            <a:r>
              <a:rPr kumimoji="0" lang="en-US" sz="800" b="1" i="0" u="none" strike="noStrike" kern="0" cap="none" spc="0" normalizeH="0" baseline="0" noProof="0" dirty="0">
                <a:ln>
                  <a:noFill/>
                </a:ln>
                <a:solidFill>
                  <a:schemeClr val="bg1"/>
                </a:solidFill>
                <a:effectLst/>
                <a:uLnTx/>
                <a:uFillTx/>
              </a:rPr>
              <a:t>Chemical injection</a:t>
            </a:r>
          </a:p>
        </p:txBody>
      </p:sp>
      <p:cxnSp>
        <p:nvCxnSpPr>
          <p:cNvPr id="163" name="Straight Connector 162">
            <a:extLst>
              <a:ext uri="{FF2B5EF4-FFF2-40B4-BE49-F238E27FC236}">
                <a16:creationId xmlns:a16="http://schemas.microsoft.com/office/drawing/2014/main" id="{41A579CD-503E-3C6A-9220-B12ED458903C}"/>
              </a:ext>
            </a:extLst>
          </p:cNvPr>
          <p:cNvCxnSpPr/>
          <p:nvPr/>
        </p:nvCxnSpPr>
        <p:spPr>
          <a:xfrm>
            <a:off x="1219968" y="6305939"/>
            <a:ext cx="1182318" cy="0"/>
          </a:xfrm>
          <a:prstGeom prst="line">
            <a:avLst/>
          </a:prstGeom>
          <a:noFill/>
          <a:ln w="12700" cap="flat" cmpd="sng" algn="ctr">
            <a:solidFill>
              <a:schemeClr val="bg1"/>
            </a:solidFill>
            <a:prstDash val="solid"/>
            <a:tailEnd type="none"/>
          </a:ln>
          <a:effectLst/>
        </p:spPr>
      </p:cxnSp>
      <p:sp>
        <p:nvSpPr>
          <p:cNvPr id="164" name="Isosceles Triangle 163">
            <a:extLst>
              <a:ext uri="{FF2B5EF4-FFF2-40B4-BE49-F238E27FC236}">
                <a16:creationId xmlns:a16="http://schemas.microsoft.com/office/drawing/2014/main" id="{EEFF6465-C06C-E26E-7038-561F6770AE99}"/>
              </a:ext>
            </a:extLst>
          </p:cNvPr>
          <p:cNvSpPr/>
          <p:nvPr/>
        </p:nvSpPr>
        <p:spPr>
          <a:xfrm rot="16200000">
            <a:off x="1446749" y="6262442"/>
            <a:ext cx="105416" cy="89883"/>
          </a:xfrm>
          <a:prstGeom prst="triangle">
            <a:avLst/>
          </a:prstGeom>
          <a:solidFill>
            <a:srgbClr val="FFFFFF"/>
          </a:solidFill>
          <a:ln w="9525" cap="flat" cmpd="sng" algn="ctr">
            <a:solidFill>
              <a:srgbClr val="333333"/>
            </a:solid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ea typeface="+mn-ea"/>
              <a:cs typeface="+mn-cs"/>
            </a:endParaRPr>
          </a:p>
        </p:txBody>
      </p:sp>
      <p:sp>
        <p:nvSpPr>
          <p:cNvPr id="165" name="Freeform 290">
            <a:extLst>
              <a:ext uri="{FF2B5EF4-FFF2-40B4-BE49-F238E27FC236}">
                <a16:creationId xmlns:a16="http://schemas.microsoft.com/office/drawing/2014/main" id="{70BE1C35-95A9-5BD3-3B4F-7A7E96263819}"/>
              </a:ext>
            </a:extLst>
          </p:cNvPr>
          <p:cNvSpPr>
            <a:spLocks noEditPoints="1"/>
          </p:cNvSpPr>
          <p:nvPr/>
        </p:nvSpPr>
        <p:spPr bwMode="auto">
          <a:xfrm>
            <a:off x="2086589" y="6246311"/>
            <a:ext cx="156888" cy="162908"/>
          </a:xfrm>
          <a:custGeom>
            <a:avLst/>
            <a:gdLst>
              <a:gd name="T0" fmla="*/ 45 w 259"/>
              <a:gd name="T1" fmla="*/ 176 h 266"/>
              <a:gd name="T2" fmla="*/ 26 w 259"/>
              <a:gd name="T3" fmla="*/ 161 h 266"/>
              <a:gd name="T4" fmla="*/ 19 w 259"/>
              <a:gd name="T5" fmla="*/ 152 h 266"/>
              <a:gd name="T6" fmla="*/ 10 w 259"/>
              <a:gd name="T7" fmla="*/ 137 h 266"/>
              <a:gd name="T8" fmla="*/ 5 w 259"/>
              <a:gd name="T9" fmla="*/ 126 h 266"/>
              <a:gd name="T10" fmla="*/ 1 w 259"/>
              <a:gd name="T11" fmla="*/ 108 h 266"/>
              <a:gd name="T12" fmla="*/ 0 w 259"/>
              <a:gd name="T13" fmla="*/ 95 h 266"/>
              <a:gd name="T14" fmla="*/ 1 w 259"/>
              <a:gd name="T15" fmla="*/ 81 h 266"/>
              <a:gd name="T16" fmla="*/ 4 w 259"/>
              <a:gd name="T17" fmla="*/ 67 h 266"/>
              <a:gd name="T18" fmla="*/ 12 w 259"/>
              <a:gd name="T19" fmla="*/ 50 h 266"/>
              <a:gd name="T20" fmla="*/ 22 w 259"/>
              <a:gd name="T21" fmla="*/ 34 h 266"/>
              <a:gd name="T22" fmla="*/ 29 w 259"/>
              <a:gd name="T23" fmla="*/ 28 h 266"/>
              <a:gd name="T24" fmla="*/ 43 w 259"/>
              <a:gd name="T25" fmla="*/ 16 h 266"/>
              <a:gd name="T26" fmla="*/ 60 w 259"/>
              <a:gd name="T27" fmla="*/ 7 h 266"/>
              <a:gd name="T28" fmla="*/ 78 w 259"/>
              <a:gd name="T29" fmla="*/ 2 h 266"/>
              <a:gd name="T30" fmla="*/ 97 w 259"/>
              <a:gd name="T31" fmla="*/ 0 h 266"/>
              <a:gd name="T32" fmla="*/ 172 w 259"/>
              <a:gd name="T33" fmla="*/ 0 h 266"/>
              <a:gd name="T34" fmla="*/ 191 w 259"/>
              <a:gd name="T35" fmla="*/ 4 h 266"/>
              <a:gd name="T36" fmla="*/ 208 w 259"/>
              <a:gd name="T37" fmla="*/ 11 h 266"/>
              <a:gd name="T38" fmla="*/ 223 w 259"/>
              <a:gd name="T39" fmla="*/ 21 h 266"/>
              <a:gd name="T40" fmla="*/ 237 w 259"/>
              <a:gd name="T41" fmla="*/ 34 h 266"/>
              <a:gd name="T42" fmla="*/ 242 w 259"/>
              <a:gd name="T43" fmla="*/ 42 h 266"/>
              <a:gd name="T44" fmla="*/ 247 w 259"/>
              <a:gd name="T45" fmla="*/ 50 h 266"/>
              <a:gd name="T46" fmla="*/ 255 w 259"/>
              <a:gd name="T47" fmla="*/ 67 h 266"/>
              <a:gd name="T48" fmla="*/ 258 w 259"/>
              <a:gd name="T49" fmla="*/ 81 h 266"/>
              <a:gd name="T50" fmla="*/ 259 w 259"/>
              <a:gd name="T51" fmla="*/ 95 h 266"/>
              <a:gd name="T52" fmla="*/ 258 w 259"/>
              <a:gd name="T53" fmla="*/ 108 h 266"/>
              <a:gd name="T54" fmla="*/ 256 w 259"/>
              <a:gd name="T55" fmla="*/ 120 h 266"/>
              <a:gd name="T56" fmla="*/ 252 w 259"/>
              <a:gd name="T57" fmla="*/ 131 h 266"/>
              <a:gd name="T58" fmla="*/ 247 w 259"/>
              <a:gd name="T59" fmla="*/ 142 h 266"/>
              <a:gd name="T60" fmla="*/ 240 w 259"/>
              <a:gd name="T61" fmla="*/ 152 h 266"/>
              <a:gd name="T62" fmla="*/ 233 w 259"/>
              <a:gd name="T63" fmla="*/ 161 h 266"/>
              <a:gd name="T64" fmla="*/ 224 w 259"/>
              <a:gd name="T65" fmla="*/ 169 h 266"/>
              <a:gd name="T66" fmla="*/ 214 w 259"/>
              <a:gd name="T67" fmla="*/ 228 h 266"/>
              <a:gd name="T68" fmla="*/ 259 w 259"/>
              <a:gd name="T69" fmla="*/ 266 h 266"/>
              <a:gd name="T70" fmla="*/ 0 w 259"/>
              <a:gd name="T71" fmla="*/ 228 h 266"/>
              <a:gd name="T72" fmla="*/ 82 w 259"/>
              <a:gd name="T73" fmla="*/ 190 h 266"/>
              <a:gd name="T74" fmla="*/ 177 w 259"/>
              <a:gd name="T75" fmla="*/ 228 h 266"/>
              <a:gd name="T76" fmla="*/ 169 w 259"/>
              <a:gd name="T77" fmla="*/ 191 h 266"/>
              <a:gd name="T78" fmla="*/ 97 w 259"/>
              <a:gd name="T79" fmla="*/ 191 h 266"/>
              <a:gd name="T80" fmla="*/ 82 w 259"/>
              <a:gd name="T81" fmla="*/ 19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59" h="266">
                <a:moveTo>
                  <a:pt x="45" y="228"/>
                </a:moveTo>
                <a:lnTo>
                  <a:pt x="45" y="176"/>
                </a:lnTo>
                <a:lnTo>
                  <a:pt x="35" y="169"/>
                </a:lnTo>
                <a:lnTo>
                  <a:pt x="26" y="161"/>
                </a:lnTo>
                <a:lnTo>
                  <a:pt x="22" y="157"/>
                </a:lnTo>
                <a:lnTo>
                  <a:pt x="19" y="152"/>
                </a:lnTo>
                <a:lnTo>
                  <a:pt x="12" y="142"/>
                </a:lnTo>
                <a:lnTo>
                  <a:pt x="10" y="137"/>
                </a:lnTo>
                <a:lnTo>
                  <a:pt x="7" y="131"/>
                </a:lnTo>
                <a:lnTo>
                  <a:pt x="5" y="126"/>
                </a:lnTo>
                <a:lnTo>
                  <a:pt x="3" y="120"/>
                </a:lnTo>
                <a:lnTo>
                  <a:pt x="1" y="108"/>
                </a:lnTo>
                <a:lnTo>
                  <a:pt x="0" y="102"/>
                </a:lnTo>
                <a:lnTo>
                  <a:pt x="0" y="95"/>
                </a:lnTo>
                <a:lnTo>
                  <a:pt x="1" y="86"/>
                </a:lnTo>
                <a:lnTo>
                  <a:pt x="1" y="81"/>
                </a:lnTo>
                <a:lnTo>
                  <a:pt x="2" y="76"/>
                </a:lnTo>
                <a:lnTo>
                  <a:pt x="4" y="67"/>
                </a:lnTo>
                <a:lnTo>
                  <a:pt x="8" y="58"/>
                </a:lnTo>
                <a:lnTo>
                  <a:pt x="12" y="50"/>
                </a:lnTo>
                <a:lnTo>
                  <a:pt x="17" y="42"/>
                </a:lnTo>
                <a:lnTo>
                  <a:pt x="22" y="34"/>
                </a:lnTo>
                <a:lnTo>
                  <a:pt x="25" y="31"/>
                </a:lnTo>
                <a:lnTo>
                  <a:pt x="29" y="28"/>
                </a:lnTo>
                <a:lnTo>
                  <a:pt x="36" y="21"/>
                </a:lnTo>
                <a:lnTo>
                  <a:pt x="43" y="16"/>
                </a:lnTo>
                <a:lnTo>
                  <a:pt x="51" y="11"/>
                </a:lnTo>
                <a:lnTo>
                  <a:pt x="60" y="7"/>
                </a:lnTo>
                <a:lnTo>
                  <a:pt x="68" y="4"/>
                </a:lnTo>
                <a:lnTo>
                  <a:pt x="78" y="2"/>
                </a:lnTo>
                <a:lnTo>
                  <a:pt x="87" y="0"/>
                </a:lnTo>
                <a:lnTo>
                  <a:pt x="97" y="0"/>
                </a:lnTo>
                <a:lnTo>
                  <a:pt x="162" y="0"/>
                </a:lnTo>
                <a:lnTo>
                  <a:pt x="172" y="0"/>
                </a:lnTo>
                <a:lnTo>
                  <a:pt x="181" y="2"/>
                </a:lnTo>
                <a:lnTo>
                  <a:pt x="191" y="4"/>
                </a:lnTo>
                <a:lnTo>
                  <a:pt x="199" y="7"/>
                </a:lnTo>
                <a:lnTo>
                  <a:pt x="208" y="11"/>
                </a:lnTo>
                <a:lnTo>
                  <a:pt x="216" y="16"/>
                </a:lnTo>
                <a:lnTo>
                  <a:pt x="223" y="21"/>
                </a:lnTo>
                <a:lnTo>
                  <a:pt x="230" y="28"/>
                </a:lnTo>
                <a:lnTo>
                  <a:pt x="237" y="34"/>
                </a:lnTo>
                <a:lnTo>
                  <a:pt x="240" y="38"/>
                </a:lnTo>
                <a:lnTo>
                  <a:pt x="242" y="42"/>
                </a:lnTo>
                <a:lnTo>
                  <a:pt x="245" y="46"/>
                </a:lnTo>
                <a:lnTo>
                  <a:pt x="247" y="50"/>
                </a:lnTo>
                <a:lnTo>
                  <a:pt x="251" y="58"/>
                </a:lnTo>
                <a:lnTo>
                  <a:pt x="255" y="67"/>
                </a:lnTo>
                <a:lnTo>
                  <a:pt x="257" y="76"/>
                </a:lnTo>
                <a:lnTo>
                  <a:pt x="258" y="81"/>
                </a:lnTo>
                <a:lnTo>
                  <a:pt x="258" y="86"/>
                </a:lnTo>
                <a:lnTo>
                  <a:pt x="259" y="95"/>
                </a:lnTo>
                <a:lnTo>
                  <a:pt x="259" y="102"/>
                </a:lnTo>
                <a:lnTo>
                  <a:pt x="258" y="108"/>
                </a:lnTo>
                <a:lnTo>
                  <a:pt x="257" y="114"/>
                </a:lnTo>
                <a:lnTo>
                  <a:pt x="256" y="120"/>
                </a:lnTo>
                <a:lnTo>
                  <a:pt x="254" y="126"/>
                </a:lnTo>
                <a:lnTo>
                  <a:pt x="252" y="131"/>
                </a:lnTo>
                <a:lnTo>
                  <a:pt x="249" y="137"/>
                </a:lnTo>
                <a:lnTo>
                  <a:pt x="247" y="142"/>
                </a:lnTo>
                <a:lnTo>
                  <a:pt x="244" y="147"/>
                </a:lnTo>
                <a:lnTo>
                  <a:pt x="240" y="152"/>
                </a:lnTo>
                <a:lnTo>
                  <a:pt x="237" y="157"/>
                </a:lnTo>
                <a:lnTo>
                  <a:pt x="233" y="161"/>
                </a:lnTo>
                <a:lnTo>
                  <a:pt x="228" y="165"/>
                </a:lnTo>
                <a:lnTo>
                  <a:pt x="224" y="169"/>
                </a:lnTo>
                <a:lnTo>
                  <a:pt x="214" y="176"/>
                </a:lnTo>
                <a:lnTo>
                  <a:pt x="214" y="228"/>
                </a:lnTo>
                <a:lnTo>
                  <a:pt x="259" y="228"/>
                </a:lnTo>
                <a:lnTo>
                  <a:pt x="259" y="266"/>
                </a:lnTo>
                <a:lnTo>
                  <a:pt x="0" y="266"/>
                </a:lnTo>
                <a:lnTo>
                  <a:pt x="0" y="228"/>
                </a:lnTo>
                <a:lnTo>
                  <a:pt x="45" y="228"/>
                </a:lnTo>
                <a:close/>
                <a:moveTo>
                  <a:pt x="82" y="190"/>
                </a:moveTo>
                <a:lnTo>
                  <a:pt x="82" y="228"/>
                </a:lnTo>
                <a:lnTo>
                  <a:pt x="177" y="228"/>
                </a:lnTo>
                <a:lnTo>
                  <a:pt x="177" y="190"/>
                </a:lnTo>
                <a:lnTo>
                  <a:pt x="169" y="191"/>
                </a:lnTo>
                <a:lnTo>
                  <a:pt x="162" y="191"/>
                </a:lnTo>
                <a:lnTo>
                  <a:pt x="97" y="191"/>
                </a:lnTo>
                <a:lnTo>
                  <a:pt x="90" y="191"/>
                </a:lnTo>
                <a:lnTo>
                  <a:pt x="82" y="190"/>
                </a:lnTo>
                <a:close/>
              </a:path>
            </a:pathLst>
          </a:custGeom>
          <a:solidFill>
            <a:schemeClr val="tx1"/>
          </a:solidFill>
          <a:ln>
            <a:solidFill>
              <a:schemeClr val="bg1"/>
            </a:solid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endParaRPr>
          </a:p>
        </p:txBody>
      </p:sp>
      <p:sp>
        <p:nvSpPr>
          <p:cNvPr id="317" name="Freeform: Shape 316">
            <a:extLst>
              <a:ext uri="{FF2B5EF4-FFF2-40B4-BE49-F238E27FC236}">
                <a16:creationId xmlns:a16="http://schemas.microsoft.com/office/drawing/2014/main" id="{21EC2F05-5F79-3B08-CD59-A60071EF15F0}"/>
              </a:ext>
            </a:extLst>
          </p:cNvPr>
          <p:cNvSpPr>
            <a:spLocks/>
          </p:cNvSpPr>
          <p:nvPr/>
        </p:nvSpPr>
        <p:spPr bwMode="auto">
          <a:xfrm>
            <a:off x="2491526" y="4476030"/>
            <a:ext cx="168885" cy="107910"/>
          </a:xfrm>
          <a:custGeom>
            <a:avLst/>
            <a:gdLst>
              <a:gd name="connsiteX0" fmla="*/ 66098 w 168885"/>
              <a:gd name="connsiteY0" fmla="*/ 0 h 107910"/>
              <a:gd name="connsiteX1" fmla="*/ 102787 w 168885"/>
              <a:gd name="connsiteY1" fmla="*/ 0 h 107910"/>
              <a:gd name="connsiteX2" fmla="*/ 108345 w 168885"/>
              <a:gd name="connsiteY2" fmla="*/ 562 h 107910"/>
              <a:gd name="connsiteX3" fmla="*/ 113349 w 168885"/>
              <a:gd name="connsiteY3" fmla="*/ 1124 h 107910"/>
              <a:gd name="connsiteX4" fmla="*/ 118907 w 168885"/>
              <a:gd name="connsiteY4" fmla="*/ 2810 h 107910"/>
              <a:gd name="connsiteX5" fmla="*/ 123355 w 168885"/>
              <a:gd name="connsiteY5" fmla="*/ 4496 h 107910"/>
              <a:gd name="connsiteX6" fmla="*/ 128358 w 168885"/>
              <a:gd name="connsiteY6" fmla="*/ 6745 h 107910"/>
              <a:gd name="connsiteX7" fmla="*/ 132805 w 168885"/>
              <a:gd name="connsiteY7" fmla="*/ 9555 h 107910"/>
              <a:gd name="connsiteX8" fmla="*/ 136696 w 168885"/>
              <a:gd name="connsiteY8" fmla="*/ 12365 h 107910"/>
              <a:gd name="connsiteX9" fmla="*/ 140587 w 168885"/>
              <a:gd name="connsiteY9" fmla="*/ 15737 h 107910"/>
              <a:gd name="connsiteX10" fmla="*/ 144479 w 168885"/>
              <a:gd name="connsiteY10" fmla="*/ 19671 h 107910"/>
              <a:gd name="connsiteX11" fmla="*/ 146146 w 168885"/>
              <a:gd name="connsiteY11" fmla="*/ 21919 h 107910"/>
              <a:gd name="connsiteX12" fmla="*/ 147258 w 168885"/>
              <a:gd name="connsiteY12" fmla="*/ 24168 h 107910"/>
              <a:gd name="connsiteX13" fmla="*/ 147630 w 168885"/>
              <a:gd name="connsiteY13" fmla="*/ 24669 h 107910"/>
              <a:gd name="connsiteX14" fmla="*/ 168885 w 168885"/>
              <a:gd name="connsiteY14" fmla="*/ 24669 h 107910"/>
              <a:gd name="connsiteX15" fmla="*/ 168885 w 168885"/>
              <a:gd name="connsiteY15" fmla="*/ 83242 h 107910"/>
              <a:gd name="connsiteX16" fmla="*/ 147915 w 168885"/>
              <a:gd name="connsiteY16" fmla="*/ 83242 h 107910"/>
              <a:gd name="connsiteX17" fmla="*/ 147258 w 168885"/>
              <a:gd name="connsiteY17" fmla="*/ 84305 h 107910"/>
              <a:gd name="connsiteX18" fmla="*/ 144479 w 168885"/>
              <a:gd name="connsiteY18" fmla="*/ 88239 h 107910"/>
              <a:gd name="connsiteX19" fmla="*/ 142811 w 168885"/>
              <a:gd name="connsiteY19" fmla="*/ 90487 h 107910"/>
              <a:gd name="connsiteX20" fmla="*/ 140587 w 168885"/>
              <a:gd name="connsiteY20" fmla="*/ 92173 h 107910"/>
              <a:gd name="connsiteX21" fmla="*/ 136696 w 168885"/>
              <a:gd name="connsiteY21" fmla="*/ 95546 h 107910"/>
              <a:gd name="connsiteX22" fmla="*/ 132805 w 168885"/>
              <a:gd name="connsiteY22" fmla="*/ 98918 h 107910"/>
              <a:gd name="connsiteX23" fmla="*/ 128358 w 168885"/>
              <a:gd name="connsiteY23" fmla="*/ 101728 h 107910"/>
              <a:gd name="connsiteX24" fmla="*/ 123355 w 168885"/>
              <a:gd name="connsiteY24" fmla="*/ 103976 h 107910"/>
              <a:gd name="connsiteX25" fmla="*/ 118907 w 168885"/>
              <a:gd name="connsiteY25" fmla="*/ 105662 h 107910"/>
              <a:gd name="connsiteX26" fmla="*/ 113349 w 168885"/>
              <a:gd name="connsiteY26" fmla="*/ 106786 h 107910"/>
              <a:gd name="connsiteX27" fmla="*/ 108345 w 168885"/>
              <a:gd name="connsiteY27" fmla="*/ 107910 h 107910"/>
              <a:gd name="connsiteX28" fmla="*/ 102787 w 168885"/>
              <a:gd name="connsiteY28" fmla="*/ 107910 h 107910"/>
              <a:gd name="connsiteX29" fmla="*/ 66098 w 168885"/>
              <a:gd name="connsiteY29" fmla="*/ 107910 h 107910"/>
              <a:gd name="connsiteX30" fmla="*/ 60539 w 168885"/>
              <a:gd name="connsiteY30" fmla="*/ 107910 h 107910"/>
              <a:gd name="connsiteX31" fmla="*/ 55536 w 168885"/>
              <a:gd name="connsiteY31" fmla="*/ 106786 h 107910"/>
              <a:gd name="connsiteX32" fmla="*/ 49977 w 168885"/>
              <a:gd name="connsiteY32" fmla="*/ 105662 h 107910"/>
              <a:gd name="connsiteX33" fmla="*/ 45530 w 168885"/>
              <a:gd name="connsiteY33" fmla="*/ 103976 h 107910"/>
              <a:gd name="connsiteX34" fmla="*/ 40527 w 168885"/>
              <a:gd name="connsiteY34" fmla="*/ 101728 h 107910"/>
              <a:gd name="connsiteX35" fmla="*/ 36079 w 168885"/>
              <a:gd name="connsiteY35" fmla="*/ 98918 h 107910"/>
              <a:gd name="connsiteX36" fmla="*/ 32188 w 168885"/>
              <a:gd name="connsiteY36" fmla="*/ 95546 h 107910"/>
              <a:gd name="connsiteX37" fmla="*/ 28297 w 168885"/>
              <a:gd name="connsiteY37" fmla="*/ 92173 h 107910"/>
              <a:gd name="connsiteX38" fmla="*/ 24406 w 168885"/>
              <a:gd name="connsiteY38" fmla="*/ 88239 h 107910"/>
              <a:gd name="connsiteX39" fmla="*/ 22738 w 168885"/>
              <a:gd name="connsiteY39" fmla="*/ 86553 h 107910"/>
              <a:gd name="connsiteX40" fmla="*/ 21626 w 168885"/>
              <a:gd name="connsiteY40" fmla="*/ 84305 h 107910"/>
              <a:gd name="connsiteX41" fmla="*/ 20838 w 168885"/>
              <a:gd name="connsiteY41" fmla="*/ 83242 h 107910"/>
              <a:gd name="connsiteX42" fmla="*/ 0 w 168885"/>
              <a:gd name="connsiteY42" fmla="*/ 83242 h 107910"/>
              <a:gd name="connsiteX43" fmla="*/ 0 w 168885"/>
              <a:gd name="connsiteY43" fmla="*/ 24669 h 107910"/>
              <a:gd name="connsiteX44" fmla="*/ 21316 w 168885"/>
              <a:gd name="connsiteY44" fmla="*/ 24669 h 107910"/>
              <a:gd name="connsiteX45" fmla="*/ 21626 w 168885"/>
              <a:gd name="connsiteY45" fmla="*/ 24168 h 107910"/>
              <a:gd name="connsiteX46" fmla="*/ 24406 w 168885"/>
              <a:gd name="connsiteY46" fmla="*/ 19671 h 107910"/>
              <a:gd name="connsiteX47" fmla="*/ 26073 w 168885"/>
              <a:gd name="connsiteY47" fmla="*/ 17985 h 107910"/>
              <a:gd name="connsiteX48" fmla="*/ 28297 w 168885"/>
              <a:gd name="connsiteY48" fmla="*/ 15737 h 107910"/>
              <a:gd name="connsiteX49" fmla="*/ 32188 w 168885"/>
              <a:gd name="connsiteY49" fmla="*/ 12365 h 107910"/>
              <a:gd name="connsiteX50" fmla="*/ 36079 w 168885"/>
              <a:gd name="connsiteY50" fmla="*/ 9555 h 107910"/>
              <a:gd name="connsiteX51" fmla="*/ 40527 w 168885"/>
              <a:gd name="connsiteY51" fmla="*/ 6745 h 107910"/>
              <a:gd name="connsiteX52" fmla="*/ 45530 w 168885"/>
              <a:gd name="connsiteY52" fmla="*/ 4496 h 107910"/>
              <a:gd name="connsiteX53" fmla="*/ 49977 w 168885"/>
              <a:gd name="connsiteY53" fmla="*/ 2810 h 107910"/>
              <a:gd name="connsiteX54" fmla="*/ 55536 w 168885"/>
              <a:gd name="connsiteY54" fmla="*/ 1124 h 107910"/>
              <a:gd name="connsiteX55" fmla="*/ 60539 w 168885"/>
              <a:gd name="connsiteY55" fmla="*/ 562 h 107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68885" h="107910">
                <a:moveTo>
                  <a:pt x="66098" y="0"/>
                </a:moveTo>
                <a:lnTo>
                  <a:pt x="102787" y="0"/>
                </a:lnTo>
                <a:lnTo>
                  <a:pt x="108345" y="562"/>
                </a:lnTo>
                <a:lnTo>
                  <a:pt x="113349" y="1124"/>
                </a:lnTo>
                <a:lnTo>
                  <a:pt x="118907" y="2810"/>
                </a:lnTo>
                <a:lnTo>
                  <a:pt x="123355" y="4496"/>
                </a:lnTo>
                <a:lnTo>
                  <a:pt x="128358" y="6745"/>
                </a:lnTo>
                <a:lnTo>
                  <a:pt x="132805" y="9555"/>
                </a:lnTo>
                <a:lnTo>
                  <a:pt x="136696" y="12365"/>
                </a:lnTo>
                <a:lnTo>
                  <a:pt x="140587" y="15737"/>
                </a:lnTo>
                <a:lnTo>
                  <a:pt x="144479" y="19671"/>
                </a:lnTo>
                <a:lnTo>
                  <a:pt x="146146" y="21919"/>
                </a:lnTo>
                <a:lnTo>
                  <a:pt x="147258" y="24168"/>
                </a:lnTo>
                <a:lnTo>
                  <a:pt x="147630" y="24669"/>
                </a:lnTo>
                <a:lnTo>
                  <a:pt x="168885" y="24669"/>
                </a:lnTo>
                <a:lnTo>
                  <a:pt x="168885" y="83242"/>
                </a:lnTo>
                <a:lnTo>
                  <a:pt x="147915" y="83242"/>
                </a:lnTo>
                <a:lnTo>
                  <a:pt x="147258" y="84305"/>
                </a:lnTo>
                <a:lnTo>
                  <a:pt x="144479" y="88239"/>
                </a:lnTo>
                <a:lnTo>
                  <a:pt x="142811" y="90487"/>
                </a:lnTo>
                <a:lnTo>
                  <a:pt x="140587" y="92173"/>
                </a:lnTo>
                <a:lnTo>
                  <a:pt x="136696" y="95546"/>
                </a:lnTo>
                <a:lnTo>
                  <a:pt x="132805" y="98918"/>
                </a:lnTo>
                <a:lnTo>
                  <a:pt x="128358" y="101728"/>
                </a:lnTo>
                <a:lnTo>
                  <a:pt x="123355" y="103976"/>
                </a:lnTo>
                <a:lnTo>
                  <a:pt x="118907" y="105662"/>
                </a:lnTo>
                <a:lnTo>
                  <a:pt x="113349" y="106786"/>
                </a:lnTo>
                <a:lnTo>
                  <a:pt x="108345" y="107910"/>
                </a:lnTo>
                <a:lnTo>
                  <a:pt x="102787" y="107910"/>
                </a:lnTo>
                <a:lnTo>
                  <a:pt x="66098" y="107910"/>
                </a:lnTo>
                <a:lnTo>
                  <a:pt x="60539" y="107910"/>
                </a:lnTo>
                <a:lnTo>
                  <a:pt x="55536" y="106786"/>
                </a:lnTo>
                <a:lnTo>
                  <a:pt x="49977" y="105662"/>
                </a:lnTo>
                <a:lnTo>
                  <a:pt x="45530" y="103976"/>
                </a:lnTo>
                <a:lnTo>
                  <a:pt x="40527" y="101728"/>
                </a:lnTo>
                <a:lnTo>
                  <a:pt x="36079" y="98918"/>
                </a:lnTo>
                <a:lnTo>
                  <a:pt x="32188" y="95546"/>
                </a:lnTo>
                <a:lnTo>
                  <a:pt x="28297" y="92173"/>
                </a:lnTo>
                <a:lnTo>
                  <a:pt x="24406" y="88239"/>
                </a:lnTo>
                <a:lnTo>
                  <a:pt x="22738" y="86553"/>
                </a:lnTo>
                <a:lnTo>
                  <a:pt x="21626" y="84305"/>
                </a:lnTo>
                <a:lnTo>
                  <a:pt x="20838" y="83242"/>
                </a:lnTo>
                <a:lnTo>
                  <a:pt x="0" y="83242"/>
                </a:lnTo>
                <a:lnTo>
                  <a:pt x="0" y="24669"/>
                </a:lnTo>
                <a:lnTo>
                  <a:pt x="21316" y="24669"/>
                </a:lnTo>
                <a:lnTo>
                  <a:pt x="21626" y="24168"/>
                </a:lnTo>
                <a:lnTo>
                  <a:pt x="24406" y="19671"/>
                </a:lnTo>
                <a:lnTo>
                  <a:pt x="26073" y="17985"/>
                </a:lnTo>
                <a:lnTo>
                  <a:pt x="28297" y="15737"/>
                </a:lnTo>
                <a:lnTo>
                  <a:pt x="32188" y="12365"/>
                </a:lnTo>
                <a:lnTo>
                  <a:pt x="36079" y="9555"/>
                </a:lnTo>
                <a:lnTo>
                  <a:pt x="40527" y="6745"/>
                </a:lnTo>
                <a:lnTo>
                  <a:pt x="45530" y="4496"/>
                </a:lnTo>
                <a:lnTo>
                  <a:pt x="49977" y="2810"/>
                </a:lnTo>
                <a:lnTo>
                  <a:pt x="55536" y="1124"/>
                </a:lnTo>
                <a:lnTo>
                  <a:pt x="60539" y="562"/>
                </a:lnTo>
                <a:close/>
              </a:path>
            </a:pathLst>
          </a:custGeom>
          <a:solidFill>
            <a:schemeClr val="tx1"/>
          </a:solidFill>
          <a:ln>
            <a:solidFill>
              <a:schemeClr val="bg1"/>
            </a:solidFill>
          </a:ln>
        </p:spPr>
        <p:txBody>
          <a:bodyPr vert="horz" wrap="square" lIns="68580" tIns="34290" rIns="68580" bIns="3429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endParaRPr>
          </a:p>
        </p:txBody>
      </p:sp>
      <p:sp>
        <p:nvSpPr>
          <p:cNvPr id="210" name="Freeform 290">
            <a:extLst>
              <a:ext uri="{FF2B5EF4-FFF2-40B4-BE49-F238E27FC236}">
                <a16:creationId xmlns:a16="http://schemas.microsoft.com/office/drawing/2014/main" id="{39B0003A-9C35-C7D9-80E2-706DCBCD7D12}"/>
              </a:ext>
            </a:extLst>
          </p:cNvPr>
          <p:cNvSpPr>
            <a:spLocks noEditPoints="1"/>
          </p:cNvSpPr>
          <p:nvPr/>
        </p:nvSpPr>
        <p:spPr bwMode="auto">
          <a:xfrm>
            <a:off x="2752035" y="4469307"/>
            <a:ext cx="156889" cy="162908"/>
          </a:xfrm>
          <a:custGeom>
            <a:avLst/>
            <a:gdLst>
              <a:gd name="T0" fmla="*/ 45 w 259"/>
              <a:gd name="T1" fmla="*/ 176 h 266"/>
              <a:gd name="T2" fmla="*/ 26 w 259"/>
              <a:gd name="T3" fmla="*/ 161 h 266"/>
              <a:gd name="T4" fmla="*/ 19 w 259"/>
              <a:gd name="T5" fmla="*/ 152 h 266"/>
              <a:gd name="T6" fmla="*/ 10 w 259"/>
              <a:gd name="T7" fmla="*/ 137 h 266"/>
              <a:gd name="T8" fmla="*/ 5 w 259"/>
              <a:gd name="T9" fmla="*/ 126 h 266"/>
              <a:gd name="T10" fmla="*/ 1 w 259"/>
              <a:gd name="T11" fmla="*/ 108 h 266"/>
              <a:gd name="T12" fmla="*/ 0 w 259"/>
              <a:gd name="T13" fmla="*/ 95 h 266"/>
              <a:gd name="T14" fmla="*/ 1 w 259"/>
              <a:gd name="T15" fmla="*/ 81 h 266"/>
              <a:gd name="T16" fmla="*/ 4 w 259"/>
              <a:gd name="T17" fmla="*/ 67 h 266"/>
              <a:gd name="T18" fmla="*/ 12 w 259"/>
              <a:gd name="T19" fmla="*/ 50 h 266"/>
              <a:gd name="T20" fmla="*/ 22 w 259"/>
              <a:gd name="T21" fmla="*/ 34 h 266"/>
              <a:gd name="T22" fmla="*/ 29 w 259"/>
              <a:gd name="T23" fmla="*/ 28 h 266"/>
              <a:gd name="T24" fmla="*/ 43 w 259"/>
              <a:gd name="T25" fmla="*/ 16 h 266"/>
              <a:gd name="T26" fmla="*/ 60 w 259"/>
              <a:gd name="T27" fmla="*/ 7 h 266"/>
              <a:gd name="T28" fmla="*/ 78 w 259"/>
              <a:gd name="T29" fmla="*/ 2 h 266"/>
              <a:gd name="T30" fmla="*/ 97 w 259"/>
              <a:gd name="T31" fmla="*/ 0 h 266"/>
              <a:gd name="T32" fmla="*/ 172 w 259"/>
              <a:gd name="T33" fmla="*/ 0 h 266"/>
              <a:gd name="T34" fmla="*/ 191 w 259"/>
              <a:gd name="T35" fmla="*/ 4 h 266"/>
              <a:gd name="T36" fmla="*/ 208 w 259"/>
              <a:gd name="T37" fmla="*/ 11 h 266"/>
              <a:gd name="T38" fmla="*/ 223 w 259"/>
              <a:gd name="T39" fmla="*/ 21 h 266"/>
              <a:gd name="T40" fmla="*/ 237 w 259"/>
              <a:gd name="T41" fmla="*/ 34 h 266"/>
              <a:gd name="T42" fmla="*/ 242 w 259"/>
              <a:gd name="T43" fmla="*/ 42 h 266"/>
              <a:gd name="T44" fmla="*/ 247 w 259"/>
              <a:gd name="T45" fmla="*/ 50 h 266"/>
              <a:gd name="T46" fmla="*/ 255 w 259"/>
              <a:gd name="T47" fmla="*/ 67 h 266"/>
              <a:gd name="T48" fmla="*/ 258 w 259"/>
              <a:gd name="T49" fmla="*/ 81 h 266"/>
              <a:gd name="T50" fmla="*/ 259 w 259"/>
              <a:gd name="T51" fmla="*/ 95 h 266"/>
              <a:gd name="T52" fmla="*/ 258 w 259"/>
              <a:gd name="T53" fmla="*/ 108 h 266"/>
              <a:gd name="T54" fmla="*/ 256 w 259"/>
              <a:gd name="T55" fmla="*/ 120 h 266"/>
              <a:gd name="T56" fmla="*/ 252 w 259"/>
              <a:gd name="T57" fmla="*/ 131 h 266"/>
              <a:gd name="T58" fmla="*/ 247 w 259"/>
              <a:gd name="T59" fmla="*/ 142 h 266"/>
              <a:gd name="T60" fmla="*/ 240 w 259"/>
              <a:gd name="T61" fmla="*/ 152 h 266"/>
              <a:gd name="T62" fmla="*/ 233 w 259"/>
              <a:gd name="T63" fmla="*/ 161 h 266"/>
              <a:gd name="T64" fmla="*/ 224 w 259"/>
              <a:gd name="T65" fmla="*/ 169 h 266"/>
              <a:gd name="T66" fmla="*/ 214 w 259"/>
              <a:gd name="T67" fmla="*/ 228 h 266"/>
              <a:gd name="T68" fmla="*/ 259 w 259"/>
              <a:gd name="T69" fmla="*/ 266 h 266"/>
              <a:gd name="T70" fmla="*/ 0 w 259"/>
              <a:gd name="T71" fmla="*/ 228 h 266"/>
              <a:gd name="T72" fmla="*/ 82 w 259"/>
              <a:gd name="T73" fmla="*/ 190 h 266"/>
              <a:gd name="T74" fmla="*/ 177 w 259"/>
              <a:gd name="T75" fmla="*/ 228 h 266"/>
              <a:gd name="T76" fmla="*/ 169 w 259"/>
              <a:gd name="T77" fmla="*/ 191 h 266"/>
              <a:gd name="T78" fmla="*/ 97 w 259"/>
              <a:gd name="T79" fmla="*/ 191 h 266"/>
              <a:gd name="T80" fmla="*/ 82 w 259"/>
              <a:gd name="T81" fmla="*/ 19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59" h="266">
                <a:moveTo>
                  <a:pt x="45" y="228"/>
                </a:moveTo>
                <a:lnTo>
                  <a:pt x="45" y="176"/>
                </a:lnTo>
                <a:lnTo>
                  <a:pt x="35" y="169"/>
                </a:lnTo>
                <a:lnTo>
                  <a:pt x="26" y="161"/>
                </a:lnTo>
                <a:lnTo>
                  <a:pt x="22" y="157"/>
                </a:lnTo>
                <a:lnTo>
                  <a:pt x="19" y="152"/>
                </a:lnTo>
                <a:lnTo>
                  <a:pt x="12" y="142"/>
                </a:lnTo>
                <a:lnTo>
                  <a:pt x="10" y="137"/>
                </a:lnTo>
                <a:lnTo>
                  <a:pt x="7" y="131"/>
                </a:lnTo>
                <a:lnTo>
                  <a:pt x="5" y="126"/>
                </a:lnTo>
                <a:lnTo>
                  <a:pt x="3" y="120"/>
                </a:lnTo>
                <a:lnTo>
                  <a:pt x="1" y="108"/>
                </a:lnTo>
                <a:lnTo>
                  <a:pt x="0" y="102"/>
                </a:lnTo>
                <a:lnTo>
                  <a:pt x="0" y="95"/>
                </a:lnTo>
                <a:lnTo>
                  <a:pt x="1" y="86"/>
                </a:lnTo>
                <a:lnTo>
                  <a:pt x="1" y="81"/>
                </a:lnTo>
                <a:lnTo>
                  <a:pt x="2" y="76"/>
                </a:lnTo>
                <a:lnTo>
                  <a:pt x="4" y="67"/>
                </a:lnTo>
                <a:lnTo>
                  <a:pt x="8" y="58"/>
                </a:lnTo>
                <a:lnTo>
                  <a:pt x="12" y="50"/>
                </a:lnTo>
                <a:lnTo>
                  <a:pt x="17" y="42"/>
                </a:lnTo>
                <a:lnTo>
                  <a:pt x="22" y="34"/>
                </a:lnTo>
                <a:lnTo>
                  <a:pt x="25" y="31"/>
                </a:lnTo>
                <a:lnTo>
                  <a:pt x="29" y="28"/>
                </a:lnTo>
                <a:lnTo>
                  <a:pt x="36" y="21"/>
                </a:lnTo>
                <a:lnTo>
                  <a:pt x="43" y="16"/>
                </a:lnTo>
                <a:lnTo>
                  <a:pt x="51" y="11"/>
                </a:lnTo>
                <a:lnTo>
                  <a:pt x="60" y="7"/>
                </a:lnTo>
                <a:lnTo>
                  <a:pt x="68" y="4"/>
                </a:lnTo>
                <a:lnTo>
                  <a:pt x="78" y="2"/>
                </a:lnTo>
                <a:lnTo>
                  <a:pt x="87" y="0"/>
                </a:lnTo>
                <a:lnTo>
                  <a:pt x="97" y="0"/>
                </a:lnTo>
                <a:lnTo>
                  <a:pt x="162" y="0"/>
                </a:lnTo>
                <a:lnTo>
                  <a:pt x="172" y="0"/>
                </a:lnTo>
                <a:lnTo>
                  <a:pt x="181" y="2"/>
                </a:lnTo>
                <a:lnTo>
                  <a:pt x="191" y="4"/>
                </a:lnTo>
                <a:lnTo>
                  <a:pt x="199" y="7"/>
                </a:lnTo>
                <a:lnTo>
                  <a:pt x="208" y="11"/>
                </a:lnTo>
                <a:lnTo>
                  <a:pt x="216" y="16"/>
                </a:lnTo>
                <a:lnTo>
                  <a:pt x="223" y="21"/>
                </a:lnTo>
                <a:lnTo>
                  <a:pt x="230" y="28"/>
                </a:lnTo>
                <a:lnTo>
                  <a:pt x="237" y="34"/>
                </a:lnTo>
                <a:lnTo>
                  <a:pt x="240" y="38"/>
                </a:lnTo>
                <a:lnTo>
                  <a:pt x="242" y="42"/>
                </a:lnTo>
                <a:lnTo>
                  <a:pt x="245" y="46"/>
                </a:lnTo>
                <a:lnTo>
                  <a:pt x="247" y="50"/>
                </a:lnTo>
                <a:lnTo>
                  <a:pt x="251" y="58"/>
                </a:lnTo>
                <a:lnTo>
                  <a:pt x="255" y="67"/>
                </a:lnTo>
                <a:lnTo>
                  <a:pt x="257" y="76"/>
                </a:lnTo>
                <a:lnTo>
                  <a:pt x="258" y="81"/>
                </a:lnTo>
                <a:lnTo>
                  <a:pt x="258" y="86"/>
                </a:lnTo>
                <a:lnTo>
                  <a:pt x="259" y="95"/>
                </a:lnTo>
                <a:lnTo>
                  <a:pt x="259" y="102"/>
                </a:lnTo>
                <a:lnTo>
                  <a:pt x="258" y="108"/>
                </a:lnTo>
                <a:lnTo>
                  <a:pt x="257" y="114"/>
                </a:lnTo>
                <a:lnTo>
                  <a:pt x="256" y="120"/>
                </a:lnTo>
                <a:lnTo>
                  <a:pt x="254" y="126"/>
                </a:lnTo>
                <a:lnTo>
                  <a:pt x="252" y="131"/>
                </a:lnTo>
                <a:lnTo>
                  <a:pt x="249" y="137"/>
                </a:lnTo>
                <a:lnTo>
                  <a:pt x="247" y="142"/>
                </a:lnTo>
                <a:lnTo>
                  <a:pt x="244" y="147"/>
                </a:lnTo>
                <a:lnTo>
                  <a:pt x="240" y="152"/>
                </a:lnTo>
                <a:lnTo>
                  <a:pt x="237" y="157"/>
                </a:lnTo>
                <a:lnTo>
                  <a:pt x="233" y="161"/>
                </a:lnTo>
                <a:lnTo>
                  <a:pt x="228" y="165"/>
                </a:lnTo>
                <a:lnTo>
                  <a:pt x="224" y="169"/>
                </a:lnTo>
                <a:lnTo>
                  <a:pt x="214" y="176"/>
                </a:lnTo>
                <a:lnTo>
                  <a:pt x="214" y="228"/>
                </a:lnTo>
                <a:lnTo>
                  <a:pt x="259" y="228"/>
                </a:lnTo>
                <a:lnTo>
                  <a:pt x="259" y="266"/>
                </a:lnTo>
                <a:lnTo>
                  <a:pt x="0" y="266"/>
                </a:lnTo>
                <a:lnTo>
                  <a:pt x="0" y="228"/>
                </a:lnTo>
                <a:lnTo>
                  <a:pt x="45" y="228"/>
                </a:lnTo>
                <a:close/>
                <a:moveTo>
                  <a:pt x="82" y="190"/>
                </a:moveTo>
                <a:lnTo>
                  <a:pt x="82" y="228"/>
                </a:lnTo>
                <a:lnTo>
                  <a:pt x="177" y="228"/>
                </a:lnTo>
                <a:lnTo>
                  <a:pt x="177" y="190"/>
                </a:lnTo>
                <a:lnTo>
                  <a:pt x="169" y="191"/>
                </a:lnTo>
                <a:lnTo>
                  <a:pt x="162" y="191"/>
                </a:lnTo>
                <a:lnTo>
                  <a:pt x="97" y="191"/>
                </a:lnTo>
                <a:lnTo>
                  <a:pt x="90" y="191"/>
                </a:lnTo>
                <a:lnTo>
                  <a:pt x="82" y="190"/>
                </a:lnTo>
                <a:close/>
              </a:path>
            </a:pathLst>
          </a:custGeom>
          <a:solidFill>
            <a:schemeClr val="tx1"/>
          </a:solidFill>
          <a:ln w="12700">
            <a:solidFill>
              <a:schemeClr val="bg1"/>
            </a:solid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endParaRPr>
          </a:p>
        </p:txBody>
      </p:sp>
      <p:sp>
        <p:nvSpPr>
          <p:cNvPr id="318" name="Freeform: Shape 317">
            <a:extLst>
              <a:ext uri="{FF2B5EF4-FFF2-40B4-BE49-F238E27FC236}">
                <a16:creationId xmlns:a16="http://schemas.microsoft.com/office/drawing/2014/main" id="{DD278D3D-1C3B-7893-622F-5E4B1524E5F1}"/>
              </a:ext>
            </a:extLst>
          </p:cNvPr>
          <p:cNvSpPr>
            <a:spLocks noChangeArrowheads="1"/>
          </p:cNvSpPr>
          <p:nvPr/>
        </p:nvSpPr>
        <p:spPr bwMode="auto">
          <a:xfrm>
            <a:off x="2491526" y="4109938"/>
            <a:ext cx="168885" cy="107910"/>
          </a:xfrm>
          <a:custGeom>
            <a:avLst/>
            <a:gdLst>
              <a:gd name="connsiteX0" fmla="*/ 66098 w 168885"/>
              <a:gd name="connsiteY0" fmla="*/ 0 h 107910"/>
              <a:gd name="connsiteX1" fmla="*/ 102787 w 168885"/>
              <a:gd name="connsiteY1" fmla="*/ 0 h 107910"/>
              <a:gd name="connsiteX2" fmla="*/ 108345 w 168885"/>
              <a:gd name="connsiteY2" fmla="*/ 562 h 107910"/>
              <a:gd name="connsiteX3" fmla="*/ 113349 w 168885"/>
              <a:gd name="connsiteY3" fmla="*/ 1124 h 107910"/>
              <a:gd name="connsiteX4" fmla="*/ 118907 w 168885"/>
              <a:gd name="connsiteY4" fmla="*/ 2810 h 107910"/>
              <a:gd name="connsiteX5" fmla="*/ 123355 w 168885"/>
              <a:gd name="connsiteY5" fmla="*/ 4496 h 107910"/>
              <a:gd name="connsiteX6" fmla="*/ 128358 w 168885"/>
              <a:gd name="connsiteY6" fmla="*/ 6744 h 107910"/>
              <a:gd name="connsiteX7" fmla="*/ 132805 w 168885"/>
              <a:gd name="connsiteY7" fmla="*/ 9554 h 107910"/>
              <a:gd name="connsiteX8" fmla="*/ 136696 w 168885"/>
              <a:gd name="connsiteY8" fmla="*/ 12365 h 107910"/>
              <a:gd name="connsiteX9" fmla="*/ 140587 w 168885"/>
              <a:gd name="connsiteY9" fmla="*/ 15737 h 107910"/>
              <a:gd name="connsiteX10" fmla="*/ 144479 w 168885"/>
              <a:gd name="connsiteY10" fmla="*/ 19671 h 107910"/>
              <a:gd name="connsiteX11" fmla="*/ 146146 w 168885"/>
              <a:gd name="connsiteY11" fmla="*/ 21919 h 107910"/>
              <a:gd name="connsiteX12" fmla="*/ 147258 w 168885"/>
              <a:gd name="connsiteY12" fmla="*/ 24167 h 107910"/>
              <a:gd name="connsiteX13" fmla="*/ 147630 w 168885"/>
              <a:gd name="connsiteY13" fmla="*/ 24669 h 107910"/>
              <a:gd name="connsiteX14" fmla="*/ 168885 w 168885"/>
              <a:gd name="connsiteY14" fmla="*/ 24669 h 107910"/>
              <a:gd name="connsiteX15" fmla="*/ 168885 w 168885"/>
              <a:gd name="connsiteY15" fmla="*/ 83242 h 107910"/>
              <a:gd name="connsiteX16" fmla="*/ 147915 w 168885"/>
              <a:gd name="connsiteY16" fmla="*/ 83242 h 107910"/>
              <a:gd name="connsiteX17" fmla="*/ 147258 w 168885"/>
              <a:gd name="connsiteY17" fmla="*/ 84305 h 107910"/>
              <a:gd name="connsiteX18" fmla="*/ 144479 w 168885"/>
              <a:gd name="connsiteY18" fmla="*/ 88239 h 107910"/>
              <a:gd name="connsiteX19" fmla="*/ 142811 w 168885"/>
              <a:gd name="connsiteY19" fmla="*/ 90487 h 107910"/>
              <a:gd name="connsiteX20" fmla="*/ 140587 w 168885"/>
              <a:gd name="connsiteY20" fmla="*/ 92173 h 107910"/>
              <a:gd name="connsiteX21" fmla="*/ 136696 w 168885"/>
              <a:gd name="connsiteY21" fmla="*/ 95546 h 107910"/>
              <a:gd name="connsiteX22" fmla="*/ 132805 w 168885"/>
              <a:gd name="connsiteY22" fmla="*/ 98918 h 107910"/>
              <a:gd name="connsiteX23" fmla="*/ 128358 w 168885"/>
              <a:gd name="connsiteY23" fmla="*/ 101728 h 107910"/>
              <a:gd name="connsiteX24" fmla="*/ 123355 w 168885"/>
              <a:gd name="connsiteY24" fmla="*/ 103976 h 107910"/>
              <a:gd name="connsiteX25" fmla="*/ 118907 w 168885"/>
              <a:gd name="connsiteY25" fmla="*/ 105662 h 107910"/>
              <a:gd name="connsiteX26" fmla="*/ 113349 w 168885"/>
              <a:gd name="connsiteY26" fmla="*/ 106786 h 107910"/>
              <a:gd name="connsiteX27" fmla="*/ 108345 w 168885"/>
              <a:gd name="connsiteY27" fmla="*/ 107910 h 107910"/>
              <a:gd name="connsiteX28" fmla="*/ 102787 w 168885"/>
              <a:gd name="connsiteY28" fmla="*/ 107910 h 107910"/>
              <a:gd name="connsiteX29" fmla="*/ 66098 w 168885"/>
              <a:gd name="connsiteY29" fmla="*/ 107910 h 107910"/>
              <a:gd name="connsiteX30" fmla="*/ 60539 w 168885"/>
              <a:gd name="connsiteY30" fmla="*/ 107910 h 107910"/>
              <a:gd name="connsiteX31" fmla="*/ 55536 w 168885"/>
              <a:gd name="connsiteY31" fmla="*/ 106786 h 107910"/>
              <a:gd name="connsiteX32" fmla="*/ 49977 w 168885"/>
              <a:gd name="connsiteY32" fmla="*/ 105662 h 107910"/>
              <a:gd name="connsiteX33" fmla="*/ 45530 w 168885"/>
              <a:gd name="connsiteY33" fmla="*/ 103976 h 107910"/>
              <a:gd name="connsiteX34" fmla="*/ 40527 w 168885"/>
              <a:gd name="connsiteY34" fmla="*/ 101728 h 107910"/>
              <a:gd name="connsiteX35" fmla="*/ 36079 w 168885"/>
              <a:gd name="connsiteY35" fmla="*/ 98918 h 107910"/>
              <a:gd name="connsiteX36" fmla="*/ 32188 w 168885"/>
              <a:gd name="connsiteY36" fmla="*/ 95546 h 107910"/>
              <a:gd name="connsiteX37" fmla="*/ 28297 w 168885"/>
              <a:gd name="connsiteY37" fmla="*/ 92173 h 107910"/>
              <a:gd name="connsiteX38" fmla="*/ 24406 w 168885"/>
              <a:gd name="connsiteY38" fmla="*/ 88239 h 107910"/>
              <a:gd name="connsiteX39" fmla="*/ 22738 w 168885"/>
              <a:gd name="connsiteY39" fmla="*/ 86553 h 107910"/>
              <a:gd name="connsiteX40" fmla="*/ 21626 w 168885"/>
              <a:gd name="connsiteY40" fmla="*/ 84305 h 107910"/>
              <a:gd name="connsiteX41" fmla="*/ 20838 w 168885"/>
              <a:gd name="connsiteY41" fmla="*/ 83242 h 107910"/>
              <a:gd name="connsiteX42" fmla="*/ 0 w 168885"/>
              <a:gd name="connsiteY42" fmla="*/ 83242 h 107910"/>
              <a:gd name="connsiteX43" fmla="*/ 0 w 168885"/>
              <a:gd name="connsiteY43" fmla="*/ 24669 h 107910"/>
              <a:gd name="connsiteX44" fmla="*/ 21316 w 168885"/>
              <a:gd name="connsiteY44" fmla="*/ 24669 h 107910"/>
              <a:gd name="connsiteX45" fmla="*/ 21626 w 168885"/>
              <a:gd name="connsiteY45" fmla="*/ 24167 h 107910"/>
              <a:gd name="connsiteX46" fmla="*/ 24406 w 168885"/>
              <a:gd name="connsiteY46" fmla="*/ 19671 h 107910"/>
              <a:gd name="connsiteX47" fmla="*/ 26073 w 168885"/>
              <a:gd name="connsiteY47" fmla="*/ 17985 h 107910"/>
              <a:gd name="connsiteX48" fmla="*/ 28297 w 168885"/>
              <a:gd name="connsiteY48" fmla="*/ 15737 h 107910"/>
              <a:gd name="connsiteX49" fmla="*/ 32188 w 168885"/>
              <a:gd name="connsiteY49" fmla="*/ 12365 h 107910"/>
              <a:gd name="connsiteX50" fmla="*/ 36079 w 168885"/>
              <a:gd name="connsiteY50" fmla="*/ 9554 h 107910"/>
              <a:gd name="connsiteX51" fmla="*/ 40527 w 168885"/>
              <a:gd name="connsiteY51" fmla="*/ 6744 h 107910"/>
              <a:gd name="connsiteX52" fmla="*/ 45530 w 168885"/>
              <a:gd name="connsiteY52" fmla="*/ 4496 h 107910"/>
              <a:gd name="connsiteX53" fmla="*/ 49977 w 168885"/>
              <a:gd name="connsiteY53" fmla="*/ 2810 h 107910"/>
              <a:gd name="connsiteX54" fmla="*/ 55536 w 168885"/>
              <a:gd name="connsiteY54" fmla="*/ 1124 h 107910"/>
              <a:gd name="connsiteX55" fmla="*/ 60539 w 168885"/>
              <a:gd name="connsiteY55" fmla="*/ 562 h 107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68885" h="107910">
                <a:moveTo>
                  <a:pt x="66098" y="0"/>
                </a:moveTo>
                <a:lnTo>
                  <a:pt x="102787" y="0"/>
                </a:lnTo>
                <a:lnTo>
                  <a:pt x="108345" y="562"/>
                </a:lnTo>
                <a:lnTo>
                  <a:pt x="113349" y="1124"/>
                </a:lnTo>
                <a:lnTo>
                  <a:pt x="118907" y="2810"/>
                </a:lnTo>
                <a:lnTo>
                  <a:pt x="123355" y="4496"/>
                </a:lnTo>
                <a:lnTo>
                  <a:pt x="128358" y="6744"/>
                </a:lnTo>
                <a:lnTo>
                  <a:pt x="132805" y="9554"/>
                </a:lnTo>
                <a:lnTo>
                  <a:pt x="136696" y="12365"/>
                </a:lnTo>
                <a:lnTo>
                  <a:pt x="140587" y="15737"/>
                </a:lnTo>
                <a:lnTo>
                  <a:pt x="144479" y="19671"/>
                </a:lnTo>
                <a:lnTo>
                  <a:pt x="146146" y="21919"/>
                </a:lnTo>
                <a:lnTo>
                  <a:pt x="147258" y="24167"/>
                </a:lnTo>
                <a:lnTo>
                  <a:pt x="147630" y="24669"/>
                </a:lnTo>
                <a:lnTo>
                  <a:pt x="168885" y="24669"/>
                </a:lnTo>
                <a:lnTo>
                  <a:pt x="168885" y="83242"/>
                </a:lnTo>
                <a:lnTo>
                  <a:pt x="147915" y="83242"/>
                </a:lnTo>
                <a:lnTo>
                  <a:pt x="147258" y="84305"/>
                </a:lnTo>
                <a:lnTo>
                  <a:pt x="144479" y="88239"/>
                </a:lnTo>
                <a:lnTo>
                  <a:pt x="142811" y="90487"/>
                </a:lnTo>
                <a:lnTo>
                  <a:pt x="140587" y="92173"/>
                </a:lnTo>
                <a:lnTo>
                  <a:pt x="136696" y="95546"/>
                </a:lnTo>
                <a:lnTo>
                  <a:pt x="132805" y="98918"/>
                </a:lnTo>
                <a:lnTo>
                  <a:pt x="128358" y="101728"/>
                </a:lnTo>
                <a:lnTo>
                  <a:pt x="123355" y="103976"/>
                </a:lnTo>
                <a:lnTo>
                  <a:pt x="118907" y="105662"/>
                </a:lnTo>
                <a:lnTo>
                  <a:pt x="113349" y="106786"/>
                </a:lnTo>
                <a:lnTo>
                  <a:pt x="108345" y="107910"/>
                </a:lnTo>
                <a:lnTo>
                  <a:pt x="102787" y="107910"/>
                </a:lnTo>
                <a:lnTo>
                  <a:pt x="66098" y="107910"/>
                </a:lnTo>
                <a:lnTo>
                  <a:pt x="60539" y="107910"/>
                </a:lnTo>
                <a:lnTo>
                  <a:pt x="55536" y="106786"/>
                </a:lnTo>
                <a:lnTo>
                  <a:pt x="49977" y="105662"/>
                </a:lnTo>
                <a:lnTo>
                  <a:pt x="45530" y="103976"/>
                </a:lnTo>
                <a:lnTo>
                  <a:pt x="40527" y="101728"/>
                </a:lnTo>
                <a:lnTo>
                  <a:pt x="36079" y="98918"/>
                </a:lnTo>
                <a:lnTo>
                  <a:pt x="32188" y="95546"/>
                </a:lnTo>
                <a:lnTo>
                  <a:pt x="28297" y="92173"/>
                </a:lnTo>
                <a:lnTo>
                  <a:pt x="24406" y="88239"/>
                </a:lnTo>
                <a:lnTo>
                  <a:pt x="22738" y="86553"/>
                </a:lnTo>
                <a:lnTo>
                  <a:pt x="21626" y="84305"/>
                </a:lnTo>
                <a:lnTo>
                  <a:pt x="20838" y="83242"/>
                </a:lnTo>
                <a:lnTo>
                  <a:pt x="0" y="83242"/>
                </a:lnTo>
                <a:lnTo>
                  <a:pt x="0" y="24669"/>
                </a:lnTo>
                <a:lnTo>
                  <a:pt x="21316" y="24669"/>
                </a:lnTo>
                <a:lnTo>
                  <a:pt x="21626" y="24167"/>
                </a:lnTo>
                <a:lnTo>
                  <a:pt x="24406" y="19671"/>
                </a:lnTo>
                <a:lnTo>
                  <a:pt x="26073" y="17985"/>
                </a:lnTo>
                <a:lnTo>
                  <a:pt x="28297" y="15737"/>
                </a:lnTo>
                <a:lnTo>
                  <a:pt x="32188" y="12365"/>
                </a:lnTo>
                <a:lnTo>
                  <a:pt x="36079" y="9554"/>
                </a:lnTo>
                <a:lnTo>
                  <a:pt x="40527" y="6744"/>
                </a:lnTo>
                <a:lnTo>
                  <a:pt x="45530" y="4496"/>
                </a:lnTo>
                <a:lnTo>
                  <a:pt x="49977" y="2810"/>
                </a:lnTo>
                <a:lnTo>
                  <a:pt x="55536" y="1124"/>
                </a:lnTo>
                <a:lnTo>
                  <a:pt x="60539" y="562"/>
                </a:lnTo>
                <a:close/>
              </a:path>
            </a:pathLst>
          </a:custGeom>
          <a:solidFill>
            <a:schemeClr val="tx1"/>
          </a:solidFill>
          <a:ln>
            <a:solidFill>
              <a:schemeClr val="bg1"/>
            </a:solidFill>
          </a:ln>
        </p:spPr>
        <p:txBody>
          <a:bodyPr vert="horz" wrap="square" lIns="68580" tIns="34290" rIns="68580" bIns="3429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endParaRPr>
          </a:p>
        </p:txBody>
      </p:sp>
      <p:sp>
        <p:nvSpPr>
          <p:cNvPr id="206" name="Freeform 290">
            <a:extLst>
              <a:ext uri="{FF2B5EF4-FFF2-40B4-BE49-F238E27FC236}">
                <a16:creationId xmlns:a16="http://schemas.microsoft.com/office/drawing/2014/main" id="{8918F904-EFD9-8142-E3C3-E9E437B88B4E}"/>
              </a:ext>
            </a:extLst>
          </p:cNvPr>
          <p:cNvSpPr>
            <a:spLocks noEditPoints="1"/>
          </p:cNvSpPr>
          <p:nvPr/>
        </p:nvSpPr>
        <p:spPr bwMode="auto">
          <a:xfrm>
            <a:off x="2752035" y="4103216"/>
            <a:ext cx="156889" cy="162908"/>
          </a:xfrm>
          <a:custGeom>
            <a:avLst/>
            <a:gdLst>
              <a:gd name="T0" fmla="*/ 45 w 259"/>
              <a:gd name="T1" fmla="*/ 176 h 266"/>
              <a:gd name="T2" fmla="*/ 26 w 259"/>
              <a:gd name="T3" fmla="*/ 161 h 266"/>
              <a:gd name="T4" fmla="*/ 19 w 259"/>
              <a:gd name="T5" fmla="*/ 152 h 266"/>
              <a:gd name="T6" fmla="*/ 10 w 259"/>
              <a:gd name="T7" fmla="*/ 137 h 266"/>
              <a:gd name="T8" fmla="*/ 5 w 259"/>
              <a:gd name="T9" fmla="*/ 126 h 266"/>
              <a:gd name="T10" fmla="*/ 1 w 259"/>
              <a:gd name="T11" fmla="*/ 108 h 266"/>
              <a:gd name="T12" fmla="*/ 0 w 259"/>
              <a:gd name="T13" fmla="*/ 95 h 266"/>
              <a:gd name="T14" fmla="*/ 1 w 259"/>
              <a:gd name="T15" fmla="*/ 81 h 266"/>
              <a:gd name="T16" fmla="*/ 4 w 259"/>
              <a:gd name="T17" fmla="*/ 67 h 266"/>
              <a:gd name="T18" fmla="*/ 12 w 259"/>
              <a:gd name="T19" fmla="*/ 50 h 266"/>
              <a:gd name="T20" fmla="*/ 22 w 259"/>
              <a:gd name="T21" fmla="*/ 34 h 266"/>
              <a:gd name="T22" fmla="*/ 29 w 259"/>
              <a:gd name="T23" fmla="*/ 28 h 266"/>
              <a:gd name="T24" fmla="*/ 43 w 259"/>
              <a:gd name="T25" fmla="*/ 16 h 266"/>
              <a:gd name="T26" fmla="*/ 60 w 259"/>
              <a:gd name="T27" fmla="*/ 7 h 266"/>
              <a:gd name="T28" fmla="*/ 78 w 259"/>
              <a:gd name="T29" fmla="*/ 2 h 266"/>
              <a:gd name="T30" fmla="*/ 97 w 259"/>
              <a:gd name="T31" fmla="*/ 0 h 266"/>
              <a:gd name="T32" fmla="*/ 172 w 259"/>
              <a:gd name="T33" fmla="*/ 0 h 266"/>
              <a:gd name="T34" fmla="*/ 191 w 259"/>
              <a:gd name="T35" fmla="*/ 4 h 266"/>
              <a:gd name="T36" fmla="*/ 208 w 259"/>
              <a:gd name="T37" fmla="*/ 11 h 266"/>
              <a:gd name="T38" fmla="*/ 223 w 259"/>
              <a:gd name="T39" fmla="*/ 21 h 266"/>
              <a:gd name="T40" fmla="*/ 237 w 259"/>
              <a:gd name="T41" fmla="*/ 34 h 266"/>
              <a:gd name="T42" fmla="*/ 242 w 259"/>
              <a:gd name="T43" fmla="*/ 42 h 266"/>
              <a:gd name="T44" fmla="*/ 247 w 259"/>
              <a:gd name="T45" fmla="*/ 50 h 266"/>
              <a:gd name="T46" fmla="*/ 255 w 259"/>
              <a:gd name="T47" fmla="*/ 67 h 266"/>
              <a:gd name="T48" fmla="*/ 258 w 259"/>
              <a:gd name="T49" fmla="*/ 81 h 266"/>
              <a:gd name="T50" fmla="*/ 259 w 259"/>
              <a:gd name="T51" fmla="*/ 95 h 266"/>
              <a:gd name="T52" fmla="*/ 258 w 259"/>
              <a:gd name="T53" fmla="*/ 108 h 266"/>
              <a:gd name="T54" fmla="*/ 256 w 259"/>
              <a:gd name="T55" fmla="*/ 120 h 266"/>
              <a:gd name="T56" fmla="*/ 252 w 259"/>
              <a:gd name="T57" fmla="*/ 131 h 266"/>
              <a:gd name="T58" fmla="*/ 247 w 259"/>
              <a:gd name="T59" fmla="*/ 142 h 266"/>
              <a:gd name="T60" fmla="*/ 240 w 259"/>
              <a:gd name="T61" fmla="*/ 152 h 266"/>
              <a:gd name="T62" fmla="*/ 233 w 259"/>
              <a:gd name="T63" fmla="*/ 161 h 266"/>
              <a:gd name="T64" fmla="*/ 224 w 259"/>
              <a:gd name="T65" fmla="*/ 169 h 266"/>
              <a:gd name="T66" fmla="*/ 214 w 259"/>
              <a:gd name="T67" fmla="*/ 228 h 266"/>
              <a:gd name="T68" fmla="*/ 259 w 259"/>
              <a:gd name="T69" fmla="*/ 266 h 266"/>
              <a:gd name="T70" fmla="*/ 0 w 259"/>
              <a:gd name="T71" fmla="*/ 228 h 266"/>
              <a:gd name="T72" fmla="*/ 82 w 259"/>
              <a:gd name="T73" fmla="*/ 190 h 266"/>
              <a:gd name="T74" fmla="*/ 177 w 259"/>
              <a:gd name="T75" fmla="*/ 228 h 266"/>
              <a:gd name="T76" fmla="*/ 169 w 259"/>
              <a:gd name="T77" fmla="*/ 191 h 266"/>
              <a:gd name="T78" fmla="*/ 97 w 259"/>
              <a:gd name="T79" fmla="*/ 191 h 266"/>
              <a:gd name="T80" fmla="*/ 82 w 259"/>
              <a:gd name="T81" fmla="*/ 19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59" h="266">
                <a:moveTo>
                  <a:pt x="45" y="228"/>
                </a:moveTo>
                <a:lnTo>
                  <a:pt x="45" y="176"/>
                </a:lnTo>
                <a:lnTo>
                  <a:pt x="35" y="169"/>
                </a:lnTo>
                <a:lnTo>
                  <a:pt x="26" y="161"/>
                </a:lnTo>
                <a:lnTo>
                  <a:pt x="22" y="157"/>
                </a:lnTo>
                <a:lnTo>
                  <a:pt x="19" y="152"/>
                </a:lnTo>
                <a:lnTo>
                  <a:pt x="12" y="142"/>
                </a:lnTo>
                <a:lnTo>
                  <a:pt x="10" y="137"/>
                </a:lnTo>
                <a:lnTo>
                  <a:pt x="7" y="131"/>
                </a:lnTo>
                <a:lnTo>
                  <a:pt x="5" y="126"/>
                </a:lnTo>
                <a:lnTo>
                  <a:pt x="3" y="120"/>
                </a:lnTo>
                <a:lnTo>
                  <a:pt x="1" y="108"/>
                </a:lnTo>
                <a:lnTo>
                  <a:pt x="0" y="102"/>
                </a:lnTo>
                <a:lnTo>
                  <a:pt x="0" y="95"/>
                </a:lnTo>
                <a:lnTo>
                  <a:pt x="1" y="86"/>
                </a:lnTo>
                <a:lnTo>
                  <a:pt x="1" y="81"/>
                </a:lnTo>
                <a:lnTo>
                  <a:pt x="2" y="76"/>
                </a:lnTo>
                <a:lnTo>
                  <a:pt x="4" y="67"/>
                </a:lnTo>
                <a:lnTo>
                  <a:pt x="8" y="58"/>
                </a:lnTo>
                <a:lnTo>
                  <a:pt x="12" y="50"/>
                </a:lnTo>
                <a:lnTo>
                  <a:pt x="17" y="42"/>
                </a:lnTo>
                <a:lnTo>
                  <a:pt x="22" y="34"/>
                </a:lnTo>
                <a:lnTo>
                  <a:pt x="25" y="31"/>
                </a:lnTo>
                <a:lnTo>
                  <a:pt x="29" y="28"/>
                </a:lnTo>
                <a:lnTo>
                  <a:pt x="36" y="21"/>
                </a:lnTo>
                <a:lnTo>
                  <a:pt x="43" y="16"/>
                </a:lnTo>
                <a:lnTo>
                  <a:pt x="51" y="11"/>
                </a:lnTo>
                <a:lnTo>
                  <a:pt x="60" y="7"/>
                </a:lnTo>
                <a:lnTo>
                  <a:pt x="68" y="4"/>
                </a:lnTo>
                <a:lnTo>
                  <a:pt x="78" y="2"/>
                </a:lnTo>
                <a:lnTo>
                  <a:pt x="87" y="0"/>
                </a:lnTo>
                <a:lnTo>
                  <a:pt x="97" y="0"/>
                </a:lnTo>
                <a:lnTo>
                  <a:pt x="162" y="0"/>
                </a:lnTo>
                <a:lnTo>
                  <a:pt x="172" y="0"/>
                </a:lnTo>
                <a:lnTo>
                  <a:pt x="181" y="2"/>
                </a:lnTo>
                <a:lnTo>
                  <a:pt x="191" y="4"/>
                </a:lnTo>
                <a:lnTo>
                  <a:pt x="199" y="7"/>
                </a:lnTo>
                <a:lnTo>
                  <a:pt x="208" y="11"/>
                </a:lnTo>
                <a:lnTo>
                  <a:pt x="216" y="16"/>
                </a:lnTo>
                <a:lnTo>
                  <a:pt x="223" y="21"/>
                </a:lnTo>
                <a:lnTo>
                  <a:pt x="230" y="28"/>
                </a:lnTo>
                <a:lnTo>
                  <a:pt x="237" y="34"/>
                </a:lnTo>
                <a:lnTo>
                  <a:pt x="240" y="38"/>
                </a:lnTo>
                <a:lnTo>
                  <a:pt x="242" y="42"/>
                </a:lnTo>
                <a:lnTo>
                  <a:pt x="245" y="46"/>
                </a:lnTo>
                <a:lnTo>
                  <a:pt x="247" y="50"/>
                </a:lnTo>
                <a:lnTo>
                  <a:pt x="251" y="58"/>
                </a:lnTo>
                <a:lnTo>
                  <a:pt x="255" y="67"/>
                </a:lnTo>
                <a:lnTo>
                  <a:pt x="257" y="76"/>
                </a:lnTo>
                <a:lnTo>
                  <a:pt x="258" y="81"/>
                </a:lnTo>
                <a:lnTo>
                  <a:pt x="258" y="86"/>
                </a:lnTo>
                <a:lnTo>
                  <a:pt x="259" y="95"/>
                </a:lnTo>
                <a:lnTo>
                  <a:pt x="259" y="102"/>
                </a:lnTo>
                <a:lnTo>
                  <a:pt x="258" y="108"/>
                </a:lnTo>
                <a:lnTo>
                  <a:pt x="257" y="114"/>
                </a:lnTo>
                <a:lnTo>
                  <a:pt x="256" y="120"/>
                </a:lnTo>
                <a:lnTo>
                  <a:pt x="254" y="126"/>
                </a:lnTo>
                <a:lnTo>
                  <a:pt x="252" y="131"/>
                </a:lnTo>
                <a:lnTo>
                  <a:pt x="249" y="137"/>
                </a:lnTo>
                <a:lnTo>
                  <a:pt x="247" y="142"/>
                </a:lnTo>
                <a:lnTo>
                  <a:pt x="244" y="147"/>
                </a:lnTo>
                <a:lnTo>
                  <a:pt x="240" y="152"/>
                </a:lnTo>
                <a:lnTo>
                  <a:pt x="237" y="157"/>
                </a:lnTo>
                <a:lnTo>
                  <a:pt x="233" y="161"/>
                </a:lnTo>
                <a:lnTo>
                  <a:pt x="228" y="165"/>
                </a:lnTo>
                <a:lnTo>
                  <a:pt x="224" y="169"/>
                </a:lnTo>
                <a:lnTo>
                  <a:pt x="214" y="176"/>
                </a:lnTo>
                <a:lnTo>
                  <a:pt x="214" y="228"/>
                </a:lnTo>
                <a:lnTo>
                  <a:pt x="259" y="228"/>
                </a:lnTo>
                <a:lnTo>
                  <a:pt x="259" y="266"/>
                </a:lnTo>
                <a:lnTo>
                  <a:pt x="0" y="266"/>
                </a:lnTo>
                <a:lnTo>
                  <a:pt x="0" y="228"/>
                </a:lnTo>
                <a:lnTo>
                  <a:pt x="45" y="228"/>
                </a:lnTo>
                <a:close/>
                <a:moveTo>
                  <a:pt x="82" y="190"/>
                </a:moveTo>
                <a:lnTo>
                  <a:pt x="82" y="228"/>
                </a:lnTo>
                <a:lnTo>
                  <a:pt x="177" y="228"/>
                </a:lnTo>
                <a:lnTo>
                  <a:pt x="177" y="190"/>
                </a:lnTo>
                <a:lnTo>
                  <a:pt x="169" y="191"/>
                </a:lnTo>
                <a:lnTo>
                  <a:pt x="162" y="191"/>
                </a:lnTo>
                <a:lnTo>
                  <a:pt x="97" y="191"/>
                </a:lnTo>
                <a:lnTo>
                  <a:pt x="90" y="191"/>
                </a:lnTo>
                <a:lnTo>
                  <a:pt x="82" y="190"/>
                </a:lnTo>
                <a:close/>
              </a:path>
            </a:pathLst>
          </a:custGeom>
          <a:solidFill>
            <a:schemeClr val="tx1"/>
          </a:solidFill>
          <a:ln w="12700">
            <a:solidFill>
              <a:schemeClr val="bg1"/>
            </a:solid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endParaRPr>
          </a:p>
        </p:txBody>
      </p:sp>
      <p:sp>
        <p:nvSpPr>
          <p:cNvPr id="168" name="Isosceles Triangle 167">
            <a:extLst>
              <a:ext uri="{FF2B5EF4-FFF2-40B4-BE49-F238E27FC236}">
                <a16:creationId xmlns:a16="http://schemas.microsoft.com/office/drawing/2014/main" id="{907A862B-1C6C-6C35-46E2-CEE953274347}"/>
              </a:ext>
            </a:extLst>
          </p:cNvPr>
          <p:cNvSpPr/>
          <p:nvPr/>
        </p:nvSpPr>
        <p:spPr>
          <a:xfrm rot="5400000" flipH="1">
            <a:off x="2260834" y="4484652"/>
            <a:ext cx="105416" cy="89883"/>
          </a:xfrm>
          <a:prstGeom prst="triangle">
            <a:avLst/>
          </a:prstGeom>
          <a:solidFill>
            <a:schemeClr val="bg1"/>
          </a:solidFill>
          <a:ln w="12700" cap="flat" cmpd="sng" algn="ctr">
            <a:solidFill>
              <a:srgbClr val="333333"/>
            </a:solid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ea typeface="+mn-ea"/>
              <a:cs typeface="+mn-cs"/>
            </a:endParaRPr>
          </a:p>
        </p:txBody>
      </p:sp>
      <p:sp>
        <p:nvSpPr>
          <p:cNvPr id="169" name="Isosceles Triangle 168">
            <a:extLst>
              <a:ext uri="{FF2B5EF4-FFF2-40B4-BE49-F238E27FC236}">
                <a16:creationId xmlns:a16="http://schemas.microsoft.com/office/drawing/2014/main" id="{8C6C175F-7612-3683-C4AF-020FDD9DB885}"/>
              </a:ext>
            </a:extLst>
          </p:cNvPr>
          <p:cNvSpPr/>
          <p:nvPr/>
        </p:nvSpPr>
        <p:spPr>
          <a:xfrm rot="5400000" flipH="1">
            <a:off x="2260834" y="4665823"/>
            <a:ext cx="105416" cy="89883"/>
          </a:xfrm>
          <a:prstGeom prst="triangle">
            <a:avLst/>
          </a:prstGeom>
          <a:solidFill>
            <a:schemeClr val="bg1"/>
          </a:solidFill>
          <a:ln w="12700" cap="flat" cmpd="sng" algn="ctr">
            <a:solidFill>
              <a:srgbClr val="333333"/>
            </a:solid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ea typeface="+mn-ea"/>
              <a:cs typeface="+mn-cs"/>
            </a:endParaRPr>
          </a:p>
        </p:txBody>
      </p:sp>
      <p:sp>
        <p:nvSpPr>
          <p:cNvPr id="170" name="Isosceles Triangle 169">
            <a:extLst>
              <a:ext uri="{FF2B5EF4-FFF2-40B4-BE49-F238E27FC236}">
                <a16:creationId xmlns:a16="http://schemas.microsoft.com/office/drawing/2014/main" id="{9138D337-4A07-47D1-F2DD-4483838185E9}"/>
              </a:ext>
            </a:extLst>
          </p:cNvPr>
          <p:cNvSpPr/>
          <p:nvPr/>
        </p:nvSpPr>
        <p:spPr>
          <a:xfrm rot="5400000" flipH="1">
            <a:off x="2260834" y="4300433"/>
            <a:ext cx="105416" cy="89883"/>
          </a:xfrm>
          <a:prstGeom prst="triangle">
            <a:avLst/>
          </a:prstGeom>
          <a:solidFill>
            <a:schemeClr val="bg1"/>
          </a:solidFill>
          <a:ln w="12700" cap="flat" cmpd="sng" algn="ctr">
            <a:solidFill>
              <a:srgbClr val="333333"/>
            </a:solid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ea typeface="+mn-ea"/>
              <a:cs typeface="+mn-cs"/>
            </a:endParaRPr>
          </a:p>
        </p:txBody>
      </p:sp>
      <p:sp>
        <p:nvSpPr>
          <p:cNvPr id="171" name="Isosceles Triangle 170">
            <a:extLst>
              <a:ext uri="{FF2B5EF4-FFF2-40B4-BE49-F238E27FC236}">
                <a16:creationId xmlns:a16="http://schemas.microsoft.com/office/drawing/2014/main" id="{FC41F8A3-0B4F-94D5-6C17-E204DAB86CD1}"/>
              </a:ext>
            </a:extLst>
          </p:cNvPr>
          <p:cNvSpPr/>
          <p:nvPr/>
        </p:nvSpPr>
        <p:spPr>
          <a:xfrm rot="5400000" flipH="1">
            <a:off x="2260834" y="4119261"/>
            <a:ext cx="105416" cy="89883"/>
          </a:xfrm>
          <a:prstGeom prst="triangle">
            <a:avLst/>
          </a:prstGeom>
          <a:solidFill>
            <a:schemeClr val="bg1"/>
          </a:solidFill>
          <a:ln w="12700" cap="flat" cmpd="sng" algn="ctr">
            <a:solidFill>
              <a:srgbClr val="333333"/>
            </a:solid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ea typeface="+mn-ea"/>
              <a:cs typeface="+mn-cs"/>
            </a:endParaRPr>
          </a:p>
        </p:txBody>
      </p:sp>
      <p:cxnSp>
        <p:nvCxnSpPr>
          <p:cNvPr id="172" name="Straight Connector 171">
            <a:extLst>
              <a:ext uri="{FF2B5EF4-FFF2-40B4-BE49-F238E27FC236}">
                <a16:creationId xmlns:a16="http://schemas.microsoft.com/office/drawing/2014/main" id="{94C9498D-2FF8-C03F-7A29-E28D254F1632}"/>
              </a:ext>
            </a:extLst>
          </p:cNvPr>
          <p:cNvCxnSpPr/>
          <p:nvPr/>
        </p:nvCxnSpPr>
        <p:spPr>
          <a:xfrm>
            <a:off x="2418972" y="3453779"/>
            <a:ext cx="0" cy="1263311"/>
          </a:xfrm>
          <a:prstGeom prst="line">
            <a:avLst/>
          </a:prstGeom>
          <a:noFill/>
          <a:ln w="12700" cap="flat" cmpd="sng" algn="ctr">
            <a:solidFill>
              <a:schemeClr val="bg1"/>
            </a:solidFill>
            <a:prstDash val="solid"/>
            <a:tailEnd type="none"/>
          </a:ln>
          <a:effectLst/>
        </p:spPr>
      </p:cxnSp>
      <p:sp>
        <p:nvSpPr>
          <p:cNvPr id="174" name="TextBox 173">
            <a:extLst>
              <a:ext uri="{FF2B5EF4-FFF2-40B4-BE49-F238E27FC236}">
                <a16:creationId xmlns:a16="http://schemas.microsoft.com/office/drawing/2014/main" id="{50877383-35B8-A870-B098-E0F8A83EC4E4}"/>
              </a:ext>
            </a:extLst>
          </p:cNvPr>
          <p:cNvSpPr txBox="1"/>
          <p:nvPr/>
        </p:nvSpPr>
        <p:spPr>
          <a:xfrm>
            <a:off x="3358016" y="3897461"/>
            <a:ext cx="774621" cy="157323"/>
          </a:xfrm>
          <a:prstGeom prst="rect">
            <a:avLst/>
          </a:prstGeom>
          <a:noFill/>
        </p:spPr>
        <p:txBody>
          <a:bodyPr wrap="square" lIns="0" tIns="27432" rIns="0" bIns="0" rtlCol="0">
            <a:spAutoFit/>
          </a:bodyPr>
          <a:lstStyle/>
          <a:p>
            <a:pPr marL="0" marR="0" lvl="0" indent="0" defTabSz="914400" eaLnBrk="1" fontAlgn="auto" latinLnBrk="0" hangingPunct="1">
              <a:lnSpc>
                <a:spcPct val="85000"/>
              </a:lnSpc>
              <a:spcBef>
                <a:spcPts val="0"/>
              </a:spcBef>
              <a:spcAft>
                <a:spcPts val="450"/>
              </a:spcAft>
              <a:buClr>
                <a:srgbClr val="FFD200"/>
              </a:buClr>
              <a:buSzPct val="70000"/>
              <a:buFontTx/>
              <a:buNone/>
              <a:tabLst/>
              <a:defRPr/>
            </a:pPr>
            <a:r>
              <a:rPr kumimoji="0" lang="en-US" sz="800" b="0" i="0" u="none" strike="noStrike" kern="0" cap="none" spc="0" normalizeH="0" baseline="0" noProof="0" dirty="0">
                <a:ln>
                  <a:noFill/>
                </a:ln>
                <a:solidFill>
                  <a:srgbClr val="FFFFFF"/>
                </a:solidFill>
                <a:effectLst/>
                <a:uLnTx/>
                <a:uFillTx/>
              </a:rPr>
              <a:t>Header</a:t>
            </a:r>
          </a:p>
        </p:txBody>
      </p:sp>
      <p:grpSp>
        <p:nvGrpSpPr>
          <p:cNvPr id="176" name="Group 175">
            <a:extLst>
              <a:ext uri="{FF2B5EF4-FFF2-40B4-BE49-F238E27FC236}">
                <a16:creationId xmlns:a16="http://schemas.microsoft.com/office/drawing/2014/main" id="{3EB5DA05-77E8-6343-0830-B731238A5BCC}"/>
              </a:ext>
            </a:extLst>
          </p:cNvPr>
          <p:cNvGrpSpPr/>
          <p:nvPr/>
        </p:nvGrpSpPr>
        <p:grpSpPr>
          <a:xfrm>
            <a:off x="7508497" y="4641546"/>
            <a:ext cx="381065" cy="780557"/>
            <a:chOff x="6415001" y="3677950"/>
            <a:chExt cx="320562" cy="656625"/>
          </a:xfrm>
          <a:solidFill>
            <a:schemeClr val="tx1"/>
          </a:solidFill>
        </p:grpSpPr>
        <p:sp>
          <p:nvSpPr>
            <p:cNvPr id="197" name="Rectangle 196">
              <a:extLst>
                <a:ext uri="{FF2B5EF4-FFF2-40B4-BE49-F238E27FC236}">
                  <a16:creationId xmlns:a16="http://schemas.microsoft.com/office/drawing/2014/main" id="{F0E274B8-B783-D44C-D362-FE7A5B3095EE}"/>
                </a:ext>
              </a:extLst>
            </p:cNvPr>
            <p:cNvSpPr/>
            <p:nvPr/>
          </p:nvSpPr>
          <p:spPr>
            <a:xfrm>
              <a:off x="6429581" y="4083401"/>
              <a:ext cx="198695" cy="172657"/>
            </a:xfrm>
            <a:prstGeom prst="rect">
              <a:avLst/>
            </a:prstGeom>
            <a:grpFill/>
            <a:ln w="9525" cap="flat" cmpd="sng" algn="ctr">
              <a:solidFill>
                <a:schemeClr val="bg1"/>
              </a:solid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ea typeface="+mn-ea"/>
                <a:cs typeface="+mn-cs"/>
              </a:endParaRPr>
            </a:p>
          </p:txBody>
        </p:sp>
        <p:sp>
          <p:nvSpPr>
            <p:cNvPr id="198" name="Freeform 5">
              <a:extLst>
                <a:ext uri="{FF2B5EF4-FFF2-40B4-BE49-F238E27FC236}">
                  <a16:creationId xmlns:a16="http://schemas.microsoft.com/office/drawing/2014/main" id="{3CE05956-B80B-0441-4AC5-816B8914B438}"/>
                </a:ext>
              </a:extLst>
            </p:cNvPr>
            <p:cNvSpPr>
              <a:spLocks noEditPoints="1"/>
            </p:cNvSpPr>
            <p:nvPr/>
          </p:nvSpPr>
          <p:spPr bwMode="auto">
            <a:xfrm>
              <a:off x="6415001" y="3677950"/>
              <a:ext cx="320562" cy="656625"/>
            </a:xfrm>
            <a:custGeom>
              <a:avLst/>
              <a:gdLst>
                <a:gd name="T0" fmla="*/ 1849 w 1849"/>
                <a:gd name="T1" fmla="*/ 2961 h 3743"/>
                <a:gd name="T2" fmla="*/ 1844 w 1849"/>
                <a:gd name="T3" fmla="*/ 3654 h 3743"/>
                <a:gd name="T4" fmla="*/ 1831 w 1849"/>
                <a:gd name="T5" fmla="*/ 3669 h 3743"/>
                <a:gd name="T6" fmla="*/ 1777 w 1849"/>
                <a:gd name="T7" fmla="*/ 3692 h 3743"/>
                <a:gd name="T8" fmla="*/ 1691 w 1849"/>
                <a:gd name="T9" fmla="*/ 3711 h 3743"/>
                <a:gd name="T10" fmla="*/ 1512 w 1849"/>
                <a:gd name="T11" fmla="*/ 3730 h 3743"/>
                <a:gd name="T12" fmla="*/ 1200 w 1849"/>
                <a:gd name="T13" fmla="*/ 3742 h 3743"/>
                <a:gd name="T14" fmla="*/ 738 w 1849"/>
                <a:gd name="T15" fmla="*/ 3743 h 3743"/>
                <a:gd name="T16" fmla="*/ 408 w 1849"/>
                <a:gd name="T17" fmla="*/ 3734 h 3743"/>
                <a:gd name="T18" fmla="*/ 185 w 1849"/>
                <a:gd name="T19" fmla="*/ 3715 h 3743"/>
                <a:gd name="T20" fmla="*/ 92 w 1849"/>
                <a:gd name="T21" fmla="*/ 3698 h 3743"/>
                <a:gd name="T22" fmla="*/ 29 w 1849"/>
                <a:gd name="T23" fmla="*/ 3675 h 3743"/>
                <a:gd name="T24" fmla="*/ 4 w 1849"/>
                <a:gd name="T25" fmla="*/ 3654 h 3743"/>
                <a:gd name="T26" fmla="*/ 0 w 1849"/>
                <a:gd name="T27" fmla="*/ 3639 h 3743"/>
                <a:gd name="T28" fmla="*/ 0 w 1849"/>
                <a:gd name="T29" fmla="*/ 928 h 3743"/>
                <a:gd name="T30" fmla="*/ 9 w 1849"/>
                <a:gd name="T31" fmla="*/ 906 h 3743"/>
                <a:gd name="T32" fmla="*/ 35 w 1849"/>
                <a:gd name="T33" fmla="*/ 884 h 3743"/>
                <a:gd name="T34" fmla="*/ 102 w 1849"/>
                <a:gd name="T35" fmla="*/ 854 h 3743"/>
                <a:gd name="T36" fmla="*/ 240 w 1849"/>
                <a:gd name="T37" fmla="*/ 819 h 3743"/>
                <a:gd name="T38" fmla="*/ 423 w 1849"/>
                <a:gd name="T39" fmla="*/ 791 h 3743"/>
                <a:gd name="T40" fmla="*/ 475 w 1849"/>
                <a:gd name="T41" fmla="*/ 2891 h 3743"/>
                <a:gd name="T42" fmla="*/ 700 w 1849"/>
                <a:gd name="T43" fmla="*/ 3549 h 3743"/>
                <a:gd name="T44" fmla="*/ 732 w 1849"/>
                <a:gd name="T45" fmla="*/ 2181 h 3743"/>
                <a:gd name="T46" fmla="*/ 824 w 1849"/>
                <a:gd name="T47" fmla="*/ 742 h 3743"/>
                <a:gd name="T48" fmla="*/ 998 w 1849"/>
                <a:gd name="T49" fmla="*/ 739 h 3743"/>
                <a:gd name="T50" fmla="*/ 1008 w 1849"/>
                <a:gd name="T51" fmla="*/ 767 h 3743"/>
                <a:gd name="T52" fmla="*/ 1008 w 1849"/>
                <a:gd name="T53" fmla="*/ 443 h 3743"/>
                <a:gd name="T54" fmla="*/ 1026 w 1849"/>
                <a:gd name="T55" fmla="*/ 3 h 3743"/>
                <a:gd name="T56" fmla="*/ 1093 w 1849"/>
                <a:gd name="T57" fmla="*/ 0 h 3743"/>
                <a:gd name="T58" fmla="*/ 1129 w 1849"/>
                <a:gd name="T59" fmla="*/ 8 h 3743"/>
                <a:gd name="T60" fmla="*/ 1180 w 1849"/>
                <a:gd name="T61" fmla="*/ 501 h 3743"/>
                <a:gd name="T62" fmla="*/ 1280 w 1849"/>
                <a:gd name="T63" fmla="*/ 778 h 3743"/>
                <a:gd name="T64" fmla="*/ 1539 w 1849"/>
                <a:gd name="T65" fmla="*/ 806 h 3743"/>
                <a:gd name="T66" fmla="*/ 1690 w 1849"/>
                <a:gd name="T67" fmla="*/ 836 h 3743"/>
                <a:gd name="T68" fmla="*/ 1781 w 1849"/>
                <a:gd name="T69" fmla="*/ 867 h 3743"/>
                <a:gd name="T70" fmla="*/ 1828 w 1849"/>
                <a:gd name="T71" fmla="*/ 893 h 3743"/>
                <a:gd name="T72" fmla="*/ 1847 w 1849"/>
                <a:gd name="T73" fmla="*/ 917 h 3743"/>
                <a:gd name="T74" fmla="*/ 660 w 1849"/>
                <a:gd name="T75" fmla="*/ 772 h 3743"/>
                <a:gd name="T76" fmla="*/ 700 w 1849"/>
                <a:gd name="T77" fmla="*/ 3319 h 3743"/>
                <a:gd name="T78" fmla="*/ 700 w 1849"/>
                <a:gd name="T79" fmla="*/ 3319 h 3743"/>
                <a:gd name="T80" fmla="*/ 700 w 1849"/>
                <a:gd name="T81" fmla="*/ 3287 h 3743"/>
                <a:gd name="T82" fmla="*/ 700 w 1849"/>
                <a:gd name="T83" fmla="*/ 2862 h 3743"/>
                <a:gd name="T84" fmla="*/ 507 w 1849"/>
                <a:gd name="T85" fmla="*/ 2633 h 3743"/>
                <a:gd name="T86" fmla="*/ 700 w 1849"/>
                <a:gd name="T87" fmla="*/ 1948 h 3743"/>
                <a:gd name="T88" fmla="*/ 700 w 1849"/>
                <a:gd name="T89" fmla="*/ 1948 h 3743"/>
                <a:gd name="T90" fmla="*/ 700 w 1849"/>
                <a:gd name="T91" fmla="*/ 1916 h 3743"/>
                <a:gd name="T92" fmla="*/ 507 w 1849"/>
                <a:gd name="T93" fmla="*/ 2373 h 3743"/>
                <a:gd name="T94" fmla="*/ 700 w 1849"/>
                <a:gd name="T95" fmla="*/ 2601 h 3743"/>
                <a:gd name="T96" fmla="*/ 507 w 1849"/>
                <a:gd name="T97" fmla="*/ 1687 h 3743"/>
                <a:gd name="T98" fmla="*/ 507 w 1849"/>
                <a:gd name="T99" fmla="*/ 1687 h 3743"/>
                <a:gd name="T100" fmla="*/ 700 w 1849"/>
                <a:gd name="T101" fmla="*/ 1459 h 3743"/>
                <a:gd name="T102" fmla="*/ 700 w 1849"/>
                <a:gd name="T103" fmla="*/ 1032 h 3743"/>
                <a:gd name="T104" fmla="*/ 507 w 1849"/>
                <a:gd name="T105" fmla="*/ 804 h 3743"/>
                <a:gd name="T106" fmla="*/ 507 w 1849"/>
                <a:gd name="T107" fmla="*/ 772 h 3743"/>
                <a:gd name="T108" fmla="*/ 519 w 1849"/>
                <a:gd name="T109" fmla="*/ 781 h 3743"/>
                <a:gd name="T110" fmla="*/ 507 w 1849"/>
                <a:gd name="T111" fmla="*/ 772 h 3743"/>
                <a:gd name="T112" fmla="*/ 732 w 1849"/>
                <a:gd name="T113" fmla="*/ 769 h 3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49" h="3743">
                  <a:moveTo>
                    <a:pt x="1849" y="928"/>
                  </a:moveTo>
                  <a:lnTo>
                    <a:pt x="1849" y="1605"/>
                  </a:lnTo>
                  <a:lnTo>
                    <a:pt x="1849" y="2283"/>
                  </a:lnTo>
                  <a:lnTo>
                    <a:pt x="1849" y="2961"/>
                  </a:lnTo>
                  <a:lnTo>
                    <a:pt x="1849" y="3639"/>
                  </a:lnTo>
                  <a:lnTo>
                    <a:pt x="1848" y="3647"/>
                  </a:lnTo>
                  <a:lnTo>
                    <a:pt x="1847" y="3650"/>
                  </a:lnTo>
                  <a:lnTo>
                    <a:pt x="1844" y="3654"/>
                  </a:lnTo>
                  <a:lnTo>
                    <a:pt x="1841" y="3659"/>
                  </a:lnTo>
                  <a:lnTo>
                    <a:pt x="1838" y="3662"/>
                  </a:lnTo>
                  <a:lnTo>
                    <a:pt x="1835" y="3666"/>
                  </a:lnTo>
                  <a:lnTo>
                    <a:pt x="1831" y="3669"/>
                  </a:lnTo>
                  <a:lnTo>
                    <a:pt x="1820" y="3675"/>
                  </a:lnTo>
                  <a:lnTo>
                    <a:pt x="1807" y="3682"/>
                  </a:lnTo>
                  <a:lnTo>
                    <a:pt x="1793" y="3688"/>
                  </a:lnTo>
                  <a:lnTo>
                    <a:pt x="1777" y="3692"/>
                  </a:lnTo>
                  <a:lnTo>
                    <a:pt x="1758" y="3698"/>
                  </a:lnTo>
                  <a:lnTo>
                    <a:pt x="1738" y="3702"/>
                  </a:lnTo>
                  <a:lnTo>
                    <a:pt x="1714" y="3707"/>
                  </a:lnTo>
                  <a:lnTo>
                    <a:pt x="1691" y="3711"/>
                  </a:lnTo>
                  <a:lnTo>
                    <a:pt x="1665" y="3715"/>
                  </a:lnTo>
                  <a:lnTo>
                    <a:pt x="1637" y="3718"/>
                  </a:lnTo>
                  <a:lnTo>
                    <a:pt x="1578" y="3724"/>
                  </a:lnTo>
                  <a:lnTo>
                    <a:pt x="1512" y="3730"/>
                  </a:lnTo>
                  <a:lnTo>
                    <a:pt x="1441" y="3734"/>
                  </a:lnTo>
                  <a:lnTo>
                    <a:pt x="1366" y="3737"/>
                  </a:lnTo>
                  <a:lnTo>
                    <a:pt x="1284" y="3740"/>
                  </a:lnTo>
                  <a:lnTo>
                    <a:pt x="1200" y="3742"/>
                  </a:lnTo>
                  <a:lnTo>
                    <a:pt x="1111" y="3743"/>
                  </a:lnTo>
                  <a:lnTo>
                    <a:pt x="1018" y="3743"/>
                  </a:lnTo>
                  <a:lnTo>
                    <a:pt x="924" y="3743"/>
                  </a:lnTo>
                  <a:lnTo>
                    <a:pt x="738" y="3743"/>
                  </a:lnTo>
                  <a:lnTo>
                    <a:pt x="649" y="3742"/>
                  </a:lnTo>
                  <a:lnTo>
                    <a:pt x="565" y="3740"/>
                  </a:lnTo>
                  <a:lnTo>
                    <a:pt x="484" y="3737"/>
                  </a:lnTo>
                  <a:lnTo>
                    <a:pt x="408" y="3734"/>
                  </a:lnTo>
                  <a:lnTo>
                    <a:pt x="337" y="3730"/>
                  </a:lnTo>
                  <a:lnTo>
                    <a:pt x="270" y="3724"/>
                  </a:lnTo>
                  <a:lnTo>
                    <a:pt x="211" y="3718"/>
                  </a:lnTo>
                  <a:lnTo>
                    <a:pt x="185" y="3715"/>
                  </a:lnTo>
                  <a:lnTo>
                    <a:pt x="158" y="3711"/>
                  </a:lnTo>
                  <a:lnTo>
                    <a:pt x="134" y="3707"/>
                  </a:lnTo>
                  <a:lnTo>
                    <a:pt x="112" y="3702"/>
                  </a:lnTo>
                  <a:lnTo>
                    <a:pt x="92" y="3698"/>
                  </a:lnTo>
                  <a:lnTo>
                    <a:pt x="73" y="3692"/>
                  </a:lnTo>
                  <a:lnTo>
                    <a:pt x="57" y="3688"/>
                  </a:lnTo>
                  <a:lnTo>
                    <a:pt x="42" y="3682"/>
                  </a:lnTo>
                  <a:lnTo>
                    <a:pt x="29" y="3675"/>
                  </a:lnTo>
                  <a:lnTo>
                    <a:pt x="19" y="3669"/>
                  </a:lnTo>
                  <a:lnTo>
                    <a:pt x="10" y="3662"/>
                  </a:lnTo>
                  <a:lnTo>
                    <a:pt x="7" y="3659"/>
                  </a:lnTo>
                  <a:lnTo>
                    <a:pt x="4" y="3654"/>
                  </a:lnTo>
                  <a:lnTo>
                    <a:pt x="3" y="3650"/>
                  </a:lnTo>
                  <a:lnTo>
                    <a:pt x="1" y="3647"/>
                  </a:lnTo>
                  <a:lnTo>
                    <a:pt x="0" y="3643"/>
                  </a:lnTo>
                  <a:lnTo>
                    <a:pt x="0" y="3639"/>
                  </a:lnTo>
                  <a:lnTo>
                    <a:pt x="0" y="2961"/>
                  </a:lnTo>
                  <a:lnTo>
                    <a:pt x="0" y="2283"/>
                  </a:lnTo>
                  <a:lnTo>
                    <a:pt x="0" y="1605"/>
                  </a:lnTo>
                  <a:lnTo>
                    <a:pt x="0" y="928"/>
                  </a:lnTo>
                  <a:lnTo>
                    <a:pt x="1" y="922"/>
                  </a:lnTo>
                  <a:lnTo>
                    <a:pt x="3" y="916"/>
                  </a:lnTo>
                  <a:lnTo>
                    <a:pt x="6" y="910"/>
                  </a:lnTo>
                  <a:lnTo>
                    <a:pt x="9" y="906"/>
                  </a:lnTo>
                  <a:lnTo>
                    <a:pt x="15" y="900"/>
                  </a:lnTo>
                  <a:lnTo>
                    <a:pt x="20" y="894"/>
                  </a:lnTo>
                  <a:lnTo>
                    <a:pt x="26" y="888"/>
                  </a:lnTo>
                  <a:lnTo>
                    <a:pt x="35" y="884"/>
                  </a:lnTo>
                  <a:lnTo>
                    <a:pt x="44" y="878"/>
                  </a:lnTo>
                  <a:lnTo>
                    <a:pt x="54" y="874"/>
                  </a:lnTo>
                  <a:lnTo>
                    <a:pt x="76" y="864"/>
                  </a:lnTo>
                  <a:lnTo>
                    <a:pt x="102" y="854"/>
                  </a:lnTo>
                  <a:lnTo>
                    <a:pt x="131" y="845"/>
                  </a:lnTo>
                  <a:lnTo>
                    <a:pt x="164" y="835"/>
                  </a:lnTo>
                  <a:lnTo>
                    <a:pt x="200" y="827"/>
                  </a:lnTo>
                  <a:lnTo>
                    <a:pt x="240" y="819"/>
                  </a:lnTo>
                  <a:lnTo>
                    <a:pt x="282" y="811"/>
                  </a:lnTo>
                  <a:lnTo>
                    <a:pt x="325" y="804"/>
                  </a:lnTo>
                  <a:lnTo>
                    <a:pt x="373" y="797"/>
                  </a:lnTo>
                  <a:lnTo>
                    <a:pt x="423" y="791"/>
                  </a:lnTo>
                  <a:lnTo>
                    <a:pt x="475" y="785"/>
                  </a:lnTo>
                  <a:lnTo>
                    <a:pt x="475" y="1486"/>
                  </a:lnTo>
                  <a:lnTo>
                    <a:pt x="475" y="2189"/>
                  </a:lnTo>
                  <a:lnTo>
                    <a:pt x="475" y="2891"/>
                  </a:lnTo>
                  <a:lnTo>
                    <a:pt x="475" y="3594"/>
                  </a:lnTo>
                  <a:lnTo>
                    <a:pt x="507" y="3594"/>
                  </a:lnTo>
                  <a:lnTo>
                    <a:pt x="507" y="3549"/>
                  </a:lnTo>
                  <a:lnTo>
                    <a:pt x="700" y="3549"/>
                  </a:lnTo>
                  <a:lnTo>
                    <a:pt x="700" y="3594"/>
                  </a:lnTo>
                  <a:lnTo>
                    <a:pt x="732" y="3594"/>
                  </a:lnTo>
                  <a:lnTo>
                    <a:pt x="732" y="2887"/>
                  </a:lnTo>
                  <a:lnTo>
                    <a:pt x="732" y="2181"/>
                  </a:lnTo>
                  <a:lnTo>
                    <a:pt x="732" y="1475"/>
                  </a:lnTo>
                  <a:lnTo>
                    <a:pt x="732" y="769"/>
                  </a:lnTo>
                  <a:lnTo>
                    <a:pt x="824" y="767"/>
                  </a:lnTo>
                  <a:lnTo>
                    <a:pt x="824" y="742"/>
                  </a:lnTo>
                  <a:lnTo>
                    <a:pt x="806" y="740"/>
                  </a:lnTo>
                  <a:lnTo>
                    <a:pt x="801" y="740"/>
                  </a:lnTo>
                  <a:lnTo>
                    <a:pt x="899" y="677"/>
                  </a:lnTo>
                  <a:lnTo>
                    <a:pt x="998" y="739"/>
                  </a:lnTo>
                  <a:lnTo>
                    <a:pt x="992" y="740"/>
                  </a:lnTo>
                  <a:lnTo>
                    <a:pt x="975" y="742"/>
                  </a:lnTo>
                  <a:lnTo>
                    <a:pt x="975" y="765"/>
                  </a:lnTo>
                  <a:lnTo>
                    <a:pt x="1008" y="767"/>
                  </a:lnTo>
                  <a:lnTo>
                    <a:pt x="1008" y="501"/>
                  </a:lnTo>
                  <a:lnTo>
                    <a:pt x="959" y="501"/>
                  </a:lnTo>
                  <a:lnTo>
                    <a:pt x="959" y="443"/>
                  </a:lnTo>
                  <a:lnTo>
                    <a:pt x="1008" y="443"/>
                  </a:lnTo>
                  <a:lnTo>
                    <a:pt x="1008" y="10"/>
                  </a:lnTo>
                  <a:lnTo>
                    <a:pt x="1010" y="8"/>
                  </a:lnTo>
                  <a:lnTo>
                    <a:pt x="1013" y="6"/>
                  </a:lnTo>
                  <a:lnTo>
                    <a:pt x="1026" y="3"/>
                  </a:lnTo>
                  <a:lnTo>
                    <a:pt x="1034" y="2"/>
                  </a:lnTo>
                  <a:lnTo>
                    <a:pt x="1046" y="0"/>
                  </a:lnTo>
                  <a:lnTo>
                    <a:pt x="1069" y="0"/>
                  </a:lnTo>
                  <a:lnTo>
                    <a:pt x="1093" y="0"/>
                  </a:lnTo>
                  <a:lnTo>
                    <a:pt x="1104" y="2"/>
                  </a:lnTo>
                  <a:lnTo>
                    <a:pt x="1113" y="3"/>
                  </a:lnTo>
                  <a:lnTo>
                    <a:pt x="1126" y="6"/>
                  </a:lnTo>
                  <a:lnTo>
                    <a:pt x="1129" y="8"/>
                  </a:lnTo>
                  <a:lnTo>
                    <a:pt x="1130" y="10"/>
                  </a:lnTo>
                  <a:lnTo>
                    <a:pt x="1130" y="443"/>
                  </a:lnTo>
                  <a:lnTo>
                    <a:pt x="1180" y="443"/>
                  </a:lnTo>
                  <a:lnTo>
                    <a:pt x="1180" y="501"/>
                  </a:lnTo>
                  <a:lnTo>
                    <a:pt x="1130" y="501"/>
                  </a:lnTo>
                  <a:lnTo>
                    <a:pt x="1130" y="769"/>
                  </a:lnTo>
                  <a:lnTo>
                    <a:pt x="1206" y="772"/>
                  </a:lnTo>
                  <a:lnTo>
                    <a:pt x="1280" y="778"/>
                  </a:lnTo>
                  <a:lnTo>
                    <a:pt x="1350" y="784"/>
                  </a:lnTo>
                  <a:lnTo>
                    <a:pt x="1417" y="790"/>
                  </a:lnTo>
                  <a:lnTo>
                    <a:pt x="1479" y="798"/>
                  </a:lnTo>
                  <a:lnTo>
                    <a:pt x="1539" y="806"/>
                  </a:lnTo>
                  <a:lnTo>
                    <a:pt x="1594" y="816"/>
                  </a:lnTo>
                  <a:lnTo>
                    <a:pt x="1620" y="820"/>
                  </a:lnTo>
                  <a:lnTo>
                    <a:pt x="1645" y="826"/>
                  </a:lnTo>
                  <a:lnTo>
                    <a:pt x="1690" y="836"/>
                  </a:lnTo>
                  <a:lnTo>
                    <a:pt x="1710" y="842"/>
                  </a:lnTo>
                  <a:lnTo>
                    <a:pt x="1730" y="848"/>
                  </a:lnTo>
                  <a:lnTo>
                    <a:pt x="1765" y="859"/>
                  </a:lnTo>
                  <a:lnTo>
                    <a:pt x="1781" y="867"/>
                  </a:lnTo>
                  <a:lnTo>
                    <a:pt x="1794" y="872"/>
                  </a:lnTo>
                  <a:lnTo>
                    <a:pt x="1807" y="880"/>
                  </a:lnTo>
                  <a:lnTo>
                    <a:pt x="1817" y="886"/>
                  </a:lnTo>
                  <a:lnTo>
                    <a:pt x="1828" y="893"/>
                  </a:lnTo>
                  <a:lnTo>
                    <a:pt x="1835" y="900"/>
                  </a:lnTo>
                  <a:lnTo>
                    <a:pt x="1841" y="906"/>
                  </a:lnTo>
                  <a:lnTo>
                    <a:pt x="1845" y="913"/>
                  </a:lnTo>
                  <a:lnTo>
                    <a:pt x="1847" y="917"/>
                  </a:lnTo>
                  <a:lnTo>
                    <a:pt x="1848" y="920"/>
                  </a:lnTo>
                  <a:lnTo>
                    <a:pt x="1848" y="925"/>
                  </a:lnTo>
                  <a:lnTo>
                    <a:pt x="1849" y="928"/>
                  </a:lnTo>
                  <a:close/>
                  <a:moveTo>
                    <a:pt x="660" y="772"/>
                  </a:moveTo>
                  <a:lnTo>
                    <a:pt x="700" y="769"/>
                  </a:lnTo>
                  <a:lnTo>
                    <a:pt x="700" y="772"/>
                  </a:lnTo>
                  <a:lnTo>
                    <a:pt x="660" y="772"/>
                  </a:lnTo>
                  <a:close/>
                  <a:moveTo>
                    <a:pt x="700" y="3319"/>
                  </a:moveTo>
                  <a:lnTo>
                    <a:pt x="700" y="3517"/>
                  </a:lnTo>
                  <a:lnTo>
                    <a:pt x="507" y="3517"/>
                  </a:lnTo>
                  <a:lnTo>
                    <a:pt x="507" y="3319"/>
                  </a:lnTo>
                  <a:lnTo>
                    <a:pt x="700" y="3319"/>
                  </a:lnTo>
                  <a:close/>
                  <a:moveTo>
                    <a:pt x="507" y="3287"/>
                  </a:moveTo>
                  <a:lnTo>
                    <a:pt x="507" y="3090"/>
                  </a:lnTo>
                  <a:lnTo>
                    <a:pt x="700" y="3091"/>
                  </a:lnTo>
                  <a:lnTo>
                    <a:pt x="700" y="3287"/>
                  </a:lnTo>
                  <a:lnTo>
                    <a:pt x="507" y="3287"/>
                  </a:lnTo>
                  <a:close/>
                  <a:moveTo>
                    <a:pt x="507" y="3059"/>
                  </a:moveTo>
                  <a:lnTo>
                    <a:pt x="507" y="2862"/>
                  </a:lnTo>
                  <a:lnTo>
                    <a:pt x="700" y="2862"/>
                  </a:lnTo>
                  <a:lnTo>
                    <a:pt x="700" y="3059"/>
                  </a:lnTo>
                  <a:lnTo>
                    <a:pt x="507" y="3059"/>
                  </a:lnTo>
                  <a:close/>
                  <a:moveTo>
                    <a:pt x="507" y="2830"/>
                  </a:moveTo>
                  <a:lnTo>
                    <a:pt x="507" y="2633"/>
                  </a:lnTo>
                  <a:lnTo>
                    <a:pt x="700" y="2633"/>
                  </a:lnTo>
                  <a:lnTo>
                    <a:pt x="700" y="2830"/>
                  </a:lnTo>
                  <a:lnTo>
                    <a:pt x="507" y="2830"/>
                  </a:lnTo>
                  <a:close/>
                  <a:moveTo>
                    <a:pt x="700" y="1948"/>
                  </a:moveTo>
                  <a:lnTo>
                    <a:pt x="700" y="2144"/>
                  </a:lnTo>
                  <a:lnTo>
                    <a:pt x="507" y="2144"/>
                  </a:lnTo>
                  <a:lnTo>
                    <a:pt x="507" y="1948"/>
                  </a:lnTo>
                  <a:lnTo>
                    <a:pt x="700" y="1948"/>
                  </a:lnTo>
                  <a:close/>
                  <a:moveTo>
                    <a:pt x="507" y="1916"/>
                  </a:moveTo>
                  <a:lnTo>
                    <a:pt x="507" y="1719"/>
                  </a:lnTo>
                  <a:lnTo>
                    <a:pt x="700" y="1719"/>
                  </a:lnTo>
                  <a:lnTo>
                    <a:pt x="700" y="1916"/>
                  </a:lnTo>
                  <a:lnTo>
                    <a:pt x="507" y="1916"/>
                  </a:lnTo>
                  <a:close/>
                  <a:moveTo>
                    <a:pt x="700" y="2176"/>
                  </a:moveTo>
                  <a:lnTo>
                    <a:pt x="700" y="2373"/>
                  </a:lnTo>
                  <a:lnTo>
                    <a:pt x="507" y="2373"/>
                  </a:lnTo>
                  <a:lnTo>
                    <a:pt x="507" y="2176"/>
                  </a:lnTo>
                  <a:lnTo>
                    <a:pt x="700" y="2176"/>
                  </a:lnTo>
                  <a:close/>
                  <a:moveTo>
                    <a:pt x="700" y="2405"/>
                  </a:moveTo>
                  <a:lnTo>
                    <a:pt x="700" y="2601"/>
                  </a:lnTo>
                  <a:lnTo>
                    <a:pt x="507" y="2601"/>
                  </a:lnTo>
                  <a:lnTo>
                    <a:pt x="507" y="2405"/>
                  </a:lnTo>
                  <a:lnTo>
                    <a:pt x="700" y="2405"/>
                  </a:lnTo>
                  <a:close/>
                  <a:moveTo>
                    <a:pt x="507" y="1687"/>
                  </a:moveTo>
                  <a:lnTo>
                    <a:pt x="507" y="1489"/>
                  </a:lnTo>
                  <a:lnTo>
                    <a:pt x="700" y="1489"/>
                  </a:lnTo>
                  <a:lnTo>
                    <a:pt x="700" y="1687"/>
                  </a:lnTo>
                  <a:lnTo>
                    <a:pt x="507" y="1687"/>
                  </a:lnTo>
                  <a:close/>
                  <a:moveTo>
                    <a:pt x="507" y="1459"/>
                  </a:moveTo>
                  <a:lnTo>
                    <a:pt x="507" y="1261"/>
                  </a:lnTo>
                  <a:lnTo>
                    <a:pt x="700" y="1261"/>
                  </a:lnTo>
                  <a:lnTo>
                    <a:pt x="700" y="1459"/>
                  </a:lnTo>
                  <a:lnTo>
                    <a:pt x="507" y="1459"/>
                  </a:lnTo>
                  <a:close/>
                  <a:moveTo>
                    <a:pt x="507" y="1229"/>
                  </a:moveTo>
                  <a:lnTo>
                    <a:pt x="507" y="1032"/>
                  </a:lnTo>
                  <a:lnTo>
                    <a:pt x="700" y="1032"/>
                  </a:lnTo>
                  <a:lnTo>
                    <a:pt x="700" y="1229"/>
                  </a:lnTo>
                  <a:lnTo>
                    <a:pt x="507" y="1229"/>
                  </a:lnTo>
                  <a:close/>
                  <a:moveTo>
                    <a:pt x="507" y="1000"/>
                  </a:moveTo>
                  <a:lnTo>
                    <a:pt x="507" y="804"/>
                  </a:lnTo>
                  <a:lnTo>
                    <a:pt x="700" y="804"/>
                  </a:lnTo>
                  <a:lnTo>
                    <a:pt x="700" y="1000"/>
                  </a:lnTo>
                  <a:lnTo>
                    <a:pt x="507" y="1000"/>
                  </a:lnTo>
                  <a:close/>
                  <a:moveTo>
                    <a:pt x="507" y="772"/>
                  </a:moveTo>
                  <a:lnTo>
                    <a:pt x="660" y="772"/>
                  </a:lnTo>
                  <a:lnTo>
                    <a:pt x="612" y="775"/>
                  </a:lnTo>
                  <a:lnTo>
                    <a:pt x="565" y="778"/>
                  </a:lnTo>
                  <a:lnTo>
                    <a:pt x="519" y="781"/>
                  </a:lnTo>
                  <a:lnTo>
                    <a:pt x="475" y="785"/>
                  </a:lnTo>
                  <a:lnTo>
                    <a:pt x="475" y="524"/>
                  </a:lnTo>
                  <a:lnTo>
                    <a:pt x="507" y="524"/>
                  </a:lnTo>
                  <a:lnTo>
                    <a:pt x="507" y="772"/>
                  </a:lnTo>
                  <a:close/>
                  <a:moveTo>
                    <a:pt x="700" y="769"/>
                  </a:moveTo>
                  <a:lnTo>
                    <a:pt x="700" y="524"/>
                  </a:lnTo>
                  <a:lnTo>
                    <a:pt x="732" y="524"/>
                  </a:lnTo>
                  <a:lnTo>
                    <a:pt x="732" y="769"/>
                  </a:lnTo>
                  <a:lnTo>
                    <a:pt x="700" y="769"/>
                  </a:lnTo>
                  <a:close/>
                </a:path>
              </a:pathLst>
            </a:custGeom>
            <a:grpFill/>
            <a:ln>
              <a:solidFill>
                <a:schemeClr val="bg1"/>
              </a:solid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endParaRPr>
            </a:p>
          </p:txBody>
        </p:sp>
      </p:grpSp>
      <p:cxnSp>
        <p:nvCxnSpPr>
          <p:cNvPr id="177" name="Straight Connector 176">
            <a:extLst>
              <a:ext uri="{FF2B5EF4-FFF2-40B4-BE49-F238E27FC236}">
                <a16:creationId xmlns:a16="http://schemas.microsoft.com/office/drawing/2014/main" id="{C813FD3F-F1EB-D46C-94BE-BBEB3AED3CF6}"/>
              </a:ext>
            </a:extLst>
          </p:cNvPr>
          <p:cNvCxnSpPr/>
          <p:nvPr/>
        </p:nvCxnSpPr>
        <p:spPr>
          <a:xfrm>
            <a:off x="7727698" y="4601401"/>
            <a:ext cx="251154" cy="0"/>
          </a:xfrm>
          <a:prstGeom prst="line">
            <a:avLst/>
          </a:prstGeom>
          <a:noFill/>
          <a:ln w="12700" cap="flat" cmpd="sng" algn="ctr">
            <a:solidFill>
              <a:srgbClr val="FFE600"/>
            </a:solidFill>
            <a:prstDash val="solid"/>
            <a:round/>
            <a:headEnd type="none" w="med" len="med"/>
            <a:tailEnd type="none" w="med" len="med"/>
          </a:ln>
          <a:effectLst/>
        </p:spPr>
      </p:cxnSp>
      <p:cxnSp>
        <p:nvCxnSpPr>
          <p:cNvPr id="178" name="Straight Connector 177">
            <a:extLst>
              <a:ext uri="{FF2B5EF4-FFF2-40B4-BE49-F238E27FC236}">
                <a16:creationId xmlns:a16="http://schemas.microsoft.com/office/drawing/2014/main" id="{8506ECA3-02DB-40A1-19DE-EA602F5C2601}"/>
              </a:ext>
            </a:extLst>
          </p:cNvPr>
          <p:cNvCxnSpPr/>
          <p:nvPr/>
        </p:nvCxnSpPr>
        <p:spPr>
          <a:xfrm flipV="1">
            <a:off x="7978849" y="4596245"/>
            <a:ext cx="0" cy="311543"/>
          </a:xfrm>
          <a:prstGeom prst="line">
            <a:avLst/>
          </a:prstGeom>
          <a:noFill/>
          <a:ln w="12700" cap="flat" cmpd="sng" algn="ctr">
            <a:solidFill>
              <a:srgbClr val="FFE600"/>
            </a:solidFill>
            <a:prstDash val="solid"/>
            <a:round/>
            <a:headEnd type="none" w="med" len="med"/>
            <a:tailEnd type="none" w="med" len="med"/>
          </a:ln>
          <a:effectLst/>
        </p:spPr>
      </p:cxnSp>
      <p:sp>
        <p:nvSpPr>
          <p:cNvPr id="179" name="Freeform 9">
            <a:extLst>
              <a:ext uri="{FF2B5EF4-FFF2-40B4-BE49-F238E27FC236}">
                <a16:creationId xmlns:a16="http://schemas.microsoft.com/office/drawing/2014/main" id="{ECABF7C6-FCDC-CCE3-82F0-28A9E7396566}"/>
              </a:ext>
            </a:extLst>
          </p:cNvPr>
          <p:cNvSpPr>
            <a:spLocks noEditPoints="1"/>
          </p:cNvSpPr>
          <p:nvPr/>
        </p:nvSpPr>
        <p:spPr bwMode="auto">
          <a:xfrm>
            <a:off x="8595976" y="5967828"/>
            <a:ext cx="618003" cy="498265"/>
          </a:xfrm>
          <a:custGeom>
            <a:avLst/>
            <a:gdLst>
              <a:gd name="T0" fmla="*/ 1460 w 3204"/>
              <a:gd name="T1" fmla="*/ 1481 h 2555"/>
              <a:gd name="T2" fmla="*/ 1510 w 3204"/>
              <a:gd name="T3" fmla="*/ 1495 h 2555"/>
              <a:gd name="T4" fmla="*/ 1888 w 3204"/>
              <a:gd name="T5" fmla="*/ 2181 h 2555"/>
              <a:gd name="T6" fmla="*/ 1759 w 3204"/>
              <a:gd name="T7" fmla="*/ 2146 h 2555"/>
              <a:gd name="T8" fmla="*/ 1746 w 3204"/>
              <a:gd name="T9" fmla="*/ 1953 h 2555"/>
              <a:gd name="T10" fmla="*/ 1822 w 3204"/>
              <a:gd name="T11" fmla="*/ 1716 h 2555"/>
              <a:gd name="T12" fmla="*/ 1626 w 3204"/>
              <a:gd name="T13" fmla="*/ 2246 h 2555"/>
              <a:gd name="T14" fmla="*/ 1545 w 3204"/>
              <a:gd name="T15" fmla="*/ 2246 h 2555"/>
              <a:gd name="T16" fmla="*/ 2333 w 3204"/>
              <a:gd name="T17" fmla="*/ 2075 h 2555"/>
              <a:gd name="T18" fmla="*/ 2041 w 3204"/>
              <a:gd name="T19" fmla="*/ 1694 h 2555"/>
              <a:gd name="T20" fmla="*/ 2081 w 3204"/>
              <a:gd name="T21" fmla="*/ 1846 h 2555"/>
              <a:gd name="T22" fmla="*/ 2082 w 3204"/>
              <a:gd name="T23" fmla="*/ 2133 h 2555"/>
              <a:gd name="T24" fmla="*/ 2593 w 3204"/>
              <a:gd name="T25" fmla="*/ 2246 h 2555"/>
              <a:gd name="T26" fmla="*/ 2394 w 3204"/>
              <a:gd name="T27" fmla="*/ 2150 h 2555"/>
              <a:gd name="T28" fmla="*/ 2635 w 3204"/>
              <a:gd name="T29" fmla="*/ 2066 h 2555"/>
              <a:gd name="T30" fmla="*/ 1639 w 3204"/>
              <a:gd name="T31" fmla="*/ 1331 h 2555"/>
              <a:gd name="T32" fmla="*/ 1441 w 3204"/>
              <a:gd name="T33" fmla="*/ 1373 h 2555"/>
              <a:gd name="T34" fmla="*/ 791 w 3204"/>
              <a:gd name="T35" fmla="*/ 2209 h 2555"/>
              <a:gd name="T36" fmla="*/ 2116 w 3204"/>
              <a:gd name="T37" fmla="*/ 2288 h 2555"/>
              <a:gd name="T38" fmla="*/ 1545 w 3204"/>
              <a:gd name="T39" fmla="*/ 2288 h 2555"/>
              <a:gd name="T40" fmla="*/ 1478 w 3204"/>
              <a:gd name="T41" fmla="*/ 1789 h 2555"/>
              <a:gd name="T42" fmla="*/ 1348 w 3204"/>
              <a:gd name="T43" fmla="*/ 1567 h 2555"/>
              <a:gd name="T44" fmla="*/ 1295 w 3204"/>
              <a:gd name="T45" fmla="*/ 1032 h 2555"/>
              <a:gd name="T46" fmla="*/ 1309 w 3204"/>
              <a:gd name="T47" fmla="*/ 598 h 2555"/>
              <a:gd name="T48" fmla="*/ 780 w 3204"/>
              <a:gd name="T49" fmla="*/ 564 h 2555"/>
              <a:gd name="T50" fmla="*/ 746 w 3204"/>
              <a:gd name="T51" fmla="*/ 695 h 2555"/>
              <a:gd name="T52" fmla="*/ 813 w 3204"/>
              <a:gd name="T53" fmla="*/ 1812 h 2555"/>
              <a:gd name="T54" fmla="*/ 854 w 3204"/>
              <a:gd name="T55" fmla="*/ 2159 h 2555"/>
              <a:gd name="T56" fmla="*/ 471 w 3204"/>
              <a:gd name="T57" fmla="*/ 2235 h 2555"/>
              <a:gd name="T58" fmla="*/ 188 w 3204"/>
              <a:gd name="T59" fmla="*/ 2075 h 2555"/>
              <a:gd name="T60" fmla="*/ 563 w 3204"/>
              <a:gd name="T61" fmla="*/ 1804 h 2555"/>
              <a:gd name="T62" fmla="*/ 587 w 3204"/>
              <a:gd name="T63" fmla="*/ 1155 h 2555"/>
              <a:gd name="T64" fmla="*/ 587 w 3204"/>
              <a:gd name="T65" fmla="*/ 1061 h 2555"/>
              <a:gd name="T66" fmla="*/ 632 w 3204"/>
              <a:gd name="T67" fmla="*/ 520 h 2555"/>
              <a:gd name="T68" fmla="*/ 1054 w 3204"/>
              <a:gd name="T69" fmla="*/ 429 h 2555"/>
              <a:gd name="T70" fmla="*/ 1031 w 3204"/>
              <a:gd name="T71" fmla="*/ 175 h 2555"/>
              <a:gd name="T72" fmla="*/ 1116 w 3204"/>
              <a:gd name="T73" fmla="*/ 4 h 2555"/>
              <a:gd name="T74" fmla="*/ 1114 w 3204"/>
              <a:gd name="T75" fmla="*/ 223 h 2555"/>
              <a:gd name="T76" fmla="*/ 1172 w 3204"/>
              <a:gd name="T77" fmla="*/ 125 h 2555"/>
              <a:gd name="T78" fmla="*/ 1181 w 3204"/>
              <a:gd name="T79" fmla="*/ 24 h 2555"/>
              <a:gd name="T80" fmla="*/ 1270 w 3204"/>
              <a:gd name="T81" fmla="*/ 71 h 2555"/>
              <a:gd name="T82" fmla="*/ 1365 w 3204"/>
              <a:gd name="T83" fmla="*/ 269 h 2555"/>
              <a:gd name="T84" fmla="*/ 1389 w 3204"/>
              <a:gd name="T85" fmla="*/ 471 h 2555"/>
              <a:gd name="T86" fmla="*/ 1457 w 3204"/>
              <a:gd name="T87" fmla="*/ 695 h 2555"/>
              <a:gd name="T88" fmla="*/ 1646 w 3204"/>
              <a:gd name="T89" fmla="*/ 1157 h 2555"/>
              <a:gd name="T90" fmla="*/ 1822 w 3204"/>
              <a:gd name="T91" fmla="*/ 1191 h 2555"/>
              <a:gd name="T92" fmla="*/ 1819 w 3204"/>
              <a:gd name="T93" fmla="*/ 893 h 2555"/>
              <a:gd name="T94" fmla="*/ 2020 w 3204"/>
              <a:gd name="T95" fmla="*/ 1188 h 2555"/>
              <a:gd name="T96" fmla="*/ 2242 w 3204"/>
              <a:gd name="T97" fmla="*/ 1341 h 2555"/>
              <a:gd name="T98" fmla="*/ 2231 w 3204"/>
              <a:gd name="T99" fmla="*/ 1282 h 2555"/>
              <a:gd name="T100" fmla="*/ 2355 w 3204"/>
              <a:gd name="T101" fmla="*/ 1247 h 2555"/>
              <a:gd name="T102" fmla="*/ 2579 w 3204"/>
              <a:gd name="T103" fmla="*/ 1217 h 2555"/>
              <a:gd name="T104" fmla="*/ 2757 w 3204"/>
              <a:gd name="T105" fmla="*/ 1484 h 2555"/>
              <a:gd name="T106" fmla="*/ 2858 w 3204"/>
              <a:gd name="T107" fmla="*/ 1239 h 2555"/>
              <a:gd name="T108" fmla="*/ 2935 w 3204"/>
              <a:gd name="T109" fmla="*/ 1168 h 2555"/>
              <a:gd name="T110" fmla="*/ 2976 w 3204"/>
              <a:gd name="T111" fmla="*/ 1266 h 2555"/>
              <a:gd name="T112" fmla="*/ 3102 w 3204"/>
              <a:gd name="T113" fmla="*/ 1625 h 2555"/>
              <a:gd name="T114" fmla="*/ 3085 w 3204"/>
              <a:gd name="T115" fmla="*/ 2363 h 2555"/>
              <a:gd name="T116" fmla="*/ 3190 w 3204"/>
              <a:gd name="T117" fmla="*/ 2352 h 2555"/>
              <a:gd name="T118" fmla="*/ 3160 w 3204"/>
              <a:gd name="T119" fmla="*/ 2452 h 2555"/>
              <a:gd name="T120" fmla="*/ 57 w 3204"/>
              <a:gd name="T121" fmla="*/ 2455 h 2555"/>
              <a:gd name="T122" fmla="*/ 8 w 3204"/>
              <a:gd name="T123" fmla="*/ 2362 h 2555"/>
              <a:gd name="T124" fmla="*/ 114 w 3204"/>
              <a:gd name="T125" fmla="*/ 2355 h 2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04" h="2555">
                <a:moveTo>
                  <a:pt x="1422" y="2261"/>
                </a:moveTo>
                <a:lnTo>
                  <a:pt x="1468" y="2261"/>
                </a:lnTo>
                <a:lnTo>
                  <a:pt x="1468" y="2199"/>
                </a:lnTo>
                <a:lnTo>
                  <a:pt x="1422" y="2199"/>
                </a:lnTo>
                <a:lnTo>
                  <a:pt x="1422" y="2261"/>
                </a:lnTo>
                <a:close/>
                <a:moveTo>
                  <a:pt x="1422" y="2338"/>
                </a:moveTo>
                <a:lnTo>
                  <a:pt x="1468" y="2338"/>
                </a:lnTo>
                <a:lnTo>
                  <a:pt x="1468" y="2277"/>
                </a:lnTo>
                <a:lnTo>
                  <a:pt x="1422" y="2277"/>
                </a:lnTo>
                <a:lnTo>
                  <a:pt x="1422" y="2338"/>
                </a:lnTo>
                <a:close/>
                <a:moveTo>
                  <a:pt x="1478" y="1423"/>
                </a:moveTo>
                <a:lnTo>
                  <a:pt x="1441" y="1423"/>
                </a:lnTo>
                <a:lnTo>
                  <a:pt x="1441" y="1439"/>
                </a:lnTo>
                <a:lnTo>
                  <a:pt x="1442" y="1448"/>
                </a:lnTo>
                <a:lnTo>
                  <a:pt x="1444" y="1457"/>
                </a:lnTo>
                <a:lnTo>
                  <a:pt x="1447" y="1464"/>
                </a:lnTo>
                <a:lnTo>
                  <a:pt x="1449" y="1468"/>
                </a:lnTo>
                <a:lnTo>
                  <a:pt x="1452" y="1472"/>
                </a:lnTo>
                <a:lnTo>
                  <a:pt x="1457" y="1478"/>
                </a:lnTo>
                <a:lnTo>
                  <a:pt x="1460" y="1481"/>
                </a:lnTo>
                <a:lnTo>
                  <a:pt x="1463" y="1484"/>
                </a:lnTo>
                <a:lnTo>
                  <a:pt x="1467" y="1486"/>
                </a:lnTo>
                <a:lnTo>
                  <a:pt x="1470" y="1488"/>
                </a:lnTo>
                <a:lnTo>
                  <a:pt x="1478" y="1492"/>
                </a:lnTo>
                <a:lnTo>
                  <a:pt x="1478" y="1423"/>
                </a:lnTo>
                <a:close/>
                <a:moveTo>
                  <a:pt x="1678" y="1465"/>
                </a:moveTo>
                <a:lnTo>
                  <a:pt x="1729" y="1465"/>
                </a:lnTo>
                <a:lnTo>
                  <a:pt x="1729" y="1495"/>
                </a:lnTo>
                <a:lnTo>
                  <a:pt x="1752" y="1495"/>
                </a:lnTo>
                <a:lnTo>
                  <a:pt x="1757" y="1485"/>
                </a:lnTo>
                <a:lnTo>
                  <a:pt x="1762" y="1475"/>
                </a:lnTo>
                <a:lnTo>
                  <a:pt x="1768" y="1465"/>
                </a:lnTo>
                <a:lnTo>
                  <a:pt x="1775" y="1456"/>
                </a:lnTo>
                <a:lnTo>
                  <a:pt x="1782" y="1447"/>
                </a:lnTo>
                <a:lnTo>
                  <a:pt x="1786" y="1443"/>
                </a:lnTo>
                <a:lnTo>
                  <a:pt x="1790" y="1439"/>
                </a:lnTo>
                <a:lnTo>
                  <a:pt x="1798" y="1431"/>
                </a:lnTo>
                <a:lnTo>
                  <a:pt x="1807" y="1423"/>
                </a:lnTo>
                <a:lnTo>
                  <a:pt x="1510" y="1423"/>
                </a:lnTo>
                <a:lnTo>
                  <a:pt x="1510" y="1495"/>
                </a:lnTo>
                <a:lnTo>
                  <a:pt x="1522" y="1495"/>
                </a:lnTo>
                <a:lnTo>
                  <a:pt x="1678" y="1495"/>
                </a:lnTo>
                <a:lnTo>
                  <a:pt x="1678" y="1465"/>
                </a:lnTo>
                <a:close/>
                <a:moveTo>
                  <a:pt x="1806" y="2246"/>
                </a:moveTo>
                <a:lnTo>
                  <a:pt x="2027" y="2246"/>
                </a:lnTo>
                <a:lnTo>
                  <a:pt x="2027" y="2149"/>
                </a:lnTo>
                <a:lnTo>
                  <a:pt x="2023" y="2149"/>
                </a:lnTo>
                <a:lnTo>
                  <a:pt x="2012" y="2156"/>
                </a:lnTo>
                <a:lnTo>
                  <a:pt x="2000" y="2163"/>
                </a:lnTo>
                <a:lnTo>
                  <a:pt x="1993" y="2166"/>
                </a:lnTo>
                <a:lnTo>
                  <a:pt x="1987" y="2169"/>
                </a:lnTo>
                <a:lnTo>
                  <a:pt x="1974" y="2174"/>
                </a:lnTo>
                <a:lnTo>
                  <a:pt x="1960" y="2178"/>
                </a:lnTo>
                <a:lnTo>
                  <a:pt x="1953" y="2180"/>
                </a:lnTo>
                <a:lnTo>
                  <a:pt x="1946" y="2181"/>
                </a:lnTo>
                <a:lnTo>
                  <a:pt x="1932" y="2183"/>
                </a:lnTo>
                <a:lnTo>
                  <a:pt x="1924" y="2183"/>
                </a:lnTo>
                <a:lnTo>
                  <a:pt x="1917" y="2184"/>
                </a:lnTo>
                <a:lnTo>
                  <a:pt x="1902" y="2183"/>
                </a:lnTo>
                <a:lnTo>
                  <a:pt x="1888" y="2181"/>
                </a:lnTo>
                <a:lnTo>
                  <a:pt x="1881" y="2180"/>
                </a:lnTo>
                <a:lnTo>
                  <a:pt x="1874" y="2178"/>
                </a:lnTo>
                <a:lnTo>
                  <a:pt x="1860" y="2174"/>
                </a:lnTo>
                <a:lnTo>
                  <a:pt x="1847" y="2169"/>
                </a:lnTo>
                <a:lnTo>
                  <a:pt x="1834" y="2163"/>
                </a:lnTo>
                <a:lnTo>
                  <a:pt x="1822" y="2156"/>
                </a:lnTo>
                <a:lnTo>
                  <a:pt x="1811" y="2149"/>
                </a:lnTo>
                <a:lnTo>
                  <a:pt x="1806" y="2149"/>
                </a:lnTo>
                <a:lnTo>
                  <a:pt x="1806" y="2246"/>
                </a:lnTo>
                <a:close/>
                <a:moveTo>
                  <a:pt x="1626" y="2246"/>
                </a:moveTo>
                <a:lnTo>
                  <a:pt x="1656" y="2246"/>
                </a:lnTo>
                <a:lnTo>
                  <a:pt x="1656" y="2235"/>
                </a:lnTo>
                <a:lnTo>
                  <a:pt x="1688" y="2235"/>
                </a:lnTo>
                <a:lnTo>
                  <a:pt x="1688" y="2246"/>
                </a:lnTo>
                <a:lnTo>
                  <a:pt x="1774" y="2246"/>
                </a:lnTo>
                <a:lnTo>
                  <a:pt x="1774" y="2149"/>
                </a:lnTo>
                <a:lnTo>
                  <a:pt x="1768" y="2149"/>
                </a:lnTo>
                <a:lnTo>
                  <a:pt x="1764" y="2148"/>
                </a:lnTo>
                <a:lnTo>
                  <a:pt x="1761" y="2147"/>
                </a:lnTo>
                <a:lnTo>
                  <a:pt x="1759" y="2146"/>
                </a:lnTo>
                <a:lnTo>
                  <a:pt x="1756" y="2144"/>
                </a:lnTo>
                <a:lnTo>
                  <a:pt x="1754" y="2142"/>
                </a:lnTo>
                <a:lnTo>
                  <a:pt x="1753" y="2139"/>
                </a:lnTo>
                <a:lnTo>
                  <a:pt x="1752" y="2136"/>
                </a:lnTo>
                <a:lnTo>
                  <a:pt x="1752" y="2133"/>
                </a:lnTo>
                <a:lnTo>
                  <a:pt x="1752" y="2073"/>
                </a:lnTo>
                <a:lnTo>
                  <a:pt x="1749" y="2065"/>
                </a:lnTo>
                <a:lnTo>
                  <a:pt x="1746" y="2057"/>
                </a:lnTo>
                <a:lnTo>
                  <a:pt x="1744" y="2049"/>
                </a:lnTo>
                <a:lnTo>
                  <a:pt x="1742" y="2040"/>
                </a:lnTo>
                <a:lnTo>
                  <a:pt x="1740" y="2031"/>
                </a:lnTo>
                <a:lnTo>
                  <a:pt x="1739" y="2023"/>
                </a:lnTo>
                <a:lnTo>
                  <a:pt x="1738" y="2014"/>
                </a:lnTo>
                <a:lnTo>
                  <a:pt x="1738" y="2005"/>
                </a:lnTo>
                <a:lnTo>
                  <a:pt x="1738" y="1996"/>
                </a:lnTo>
                <a:lnTo>
                  <a:pt x="1739" y="1987"/>
                </a:lnTo>
                <a:lnTo>
                  <a:pt x="1740" y="1978"/>
                </a:lnTo>
                <a:lnTo>
                  <a:pt x="1742" y="1969"/>
                </a:lnTo>
                <a:lnTo>
                  <a:pt x="1744" y="1961"/>
                </a:lnTo>
                <a:lnTo>
                  <a:pt x="1746" y="1953"/>
                </a:lnTo>
                <a:lnTo>
                  <a:pt x="1749" y="1944"/>
                </a:lnTo>
                <a:lnTo>
                  <a:pt x="1752" y="1936"/>
                </a:lnTo>
                <a:lnTo>
                  <a:pt x="1752" y="1852"/>
                </a:lnTo>
                <a:lnTo>
                  <a:pt x="1752" y="1849"/>
                </a:lnTo>
                <a:lnTo>
                  <a:pt x="1753" y="1846"/>
                </a:lnTo>
                <a:lnTo>
                  <a:pt x="1754" y="1844"/>
                </a:lnTo>
                <a:lnTo>
                  <a:pt x="1756" y="1841"/>
                </a:lnTo>
                <a:lnTo>
                  <a:pt x="1759" y="1839"/>
                </a:lnTo>
                <a:lnTo>
                  <a:pt x="1761" y="1838"/>
                </a:lnTo>
                <a:lnTo>
                  <a:pt x="1764" y="1837"/>
                </a:lnTo>
                <a:lnTo>
                  <a:pt x="1768" y="1836"/>
                </a:lnTo>
                <a:lnTo>
                  <a:pt x="1846" y="1836"/>
                </a:lnTo>
                <a:lnTo>
                  <a:pt x="1846" y="1815"/>
                </a:lnTo>
                <a:lnTo>
                  <a:pt x="1825" y="1815"/>
                </a:lnTo>
                <a:lnTo>
                  <a:pt x="1825" y="1754"/>
                </a:lnTo>
                <a:lnTo>
                  <a:pt x="1846" y="1754"/>
                </a:lnTo>
                <a:lnTo>
                  <a:pt x="1846" y="1729"/>
                </a:lnTo>
                <a:lnTo>
                  <a:pt x="1838" y="1725"/>
                </a:lnTo>
                <a:lnTo>
                  <a:pt x="1830" y="1721"/>
                </a:lnTo>
                <a:lnTo>
                  <a:pt x="1822" y="1716"/>
                </a:lnTo>
                <a:lnTo>
                  <a:pt x="1814" y="1711"/>
                </a:lnTo>
                <a:lnTo>
                  <a:pt x="1807" y="1706"/>
                </a:lnTo>
                <a:lnTo>
                  <a:pt x="1800" y="1700"/>
                </a:lnTo>
                <a:lnTo>
                  <a:pt x="1787" y="1687"/>
                </a:lnTo>
                <a:lnTo>
                  <a:pt x="1781" y="1680"/>
                </a:lnTo>
                <a:lnTo>
                  <a:pt x="1775" y="1673"/>
                </a:lnTo>
                <a:lnTo>
                  <a:pt x="1770" y="1666"/>
                </a:lnTo>
                <a:lnTo>
                  <a:pt x="1765" y="1658"/>
                </a:lnTo>
                <a:lnTo>
                  <a:pt x="1760" y="1650"/>
                </a:lnTo>
                <a:lnTo>
                  <a:pt x="1756" y="1642"/>
                </a:lnTo>
                <a:lnTo>
                  <a:pt x="1752" y="1634"/>
                </a:lnTo>
                <a:lnTo>
                  <a:pt x="1749" y="1625"/>
                </a:lnTo>
                <a:lnTo>
                  <a:pt x="1729" y="1625"/>
                </a:lnTo>
                <a:lnTo>
                  <a:pt x="1729" y="1655"/>
                </a:lnTo>
                <a:lnTo>
                  <a:pt x="1678" y="1655"/>
                </a:lnTo>
                <a:lnTo>
                  <a:pt x="1678" y="1625"/>
                </a:lnTo>
                <a:lnTo>
                  <a:pt x="1651" y="1625"/>
                </a:lnTo>
                <a:lnTo>
                  <a:pt x="1651" y="1652"/>
                </a:lnTo>
                <a:lnTo>
                  <a:pt x="1626" y="1652"/>
                </a:lnTo>
                <a:lnTo>
                  <a:pt x="1626" y="2246"/>
                </a:lnTo>
                <a:close/>
                <a:moveTo>
                  <a:pt x="1545" y="2246"/>
                </a:moveTo>
                <a:lnTo>
                  <a:pt x="1559" y="2246"/>
                </a:lnTo>
                <a:lnTo>
                  <a:pt x="1559" y="1652"/>
                </a:lnTo>
                <a:lnTo>
                  <a:pt x="1534" y="1652"/>
                </a:lnTo>
                <a:lnTo>
                  <a:pt x="1534" y="1625"/>
                </a:lnTo>
                <a:lnTo>
                  <a:pt x="1522" y="1625"/>
                </a:lnTo>
                <a:lnTo>
                  <a:pt x="1510" y="1625"/>
                </a:lnTo>
                <a:lnTo>
                  <a:pt x="1510" y="1735"/>
                </a:lnTo>
                <a:lnTo>
                  <a:pt x="1524" y="1735"/>
                </a:lnTo>
                <a:lnTo>
                  <a:pt x="1524" y="1763"/>
                </a:lnTo>
                <a:lnTo>
                  <a:pt x="1510" y="1763"/>
                </a:lnTo>
                <a:lnTo>
                  <a:pt x="1510" y="1789"/>
                </a:lnTo>
                <a:lnTo>
                  <a:pt x="1524" y="1789"/>
                </a:lnTo>
                <a:lnTo>
                  <a:pt x="1524" y="1817"/>
                </a:lnTo>
                <a:lnTo>
                  <a:pt x="1510" y="1817"/>
                </a:lnTo>
                <a:lnTo>
                  <a:pt x="1510" y="2154"/>
                </a:lnTo>
                <a:lnTo>
                  <a:pt x="1523" y="2154"/>
                </a:lnTo>
                <a:lnTo>
                  <a:pt x="1523" y="2203"/>
                </a:lnTo>
                <a:lnTo>
                  <a:pt x="1545" y="2203"/>
                </a:lnTo>
                <a:lnTo>
                  <a:pt x="1545" y="2246"/>
                </a:lnTo>
                <a:close/>
                <a:moveTo>
                  <a:pt x="2323" y="1495"/>
                </a:moveTo>
                <a:lnTo>
                  <a:pt x="2323" y="1423"/>
                </a:lnTo>
                <a:lnTo>
                  <a:pt x="2027" y="1423"/>
                </a:lnTo>
                <a:lnTo>
                  <a:pt x="2035" y="1431"/>
                </a:lnTo>
                <a:lnTo>
                  <a:pt x="2044" y="1439"/>
                </a:lnTo>
                <a:lnTo>
                  <a:pt x="2051" y="1447"/>
                </a:lnTo>
                <a:lnTo>
                  <a:pt x="2059" y="1456"/>
                </a:lnTo>
                <a:lnTo>
                  <a:pt x="2065" y="1465"/>
                </a:lnTo>
                <a:lnTo>
                  <a:pt x="2071" y="1475"/>
                </a:lnTo>
                <a:lnTo>
                  <a:pt x="2077" y="1485"/>
                </a:lnTo>
                <a:lnTo>
                  <a:pt x="2082" y="1495"/>
                </a:lnTo>
                <a:lnTo>
                  <a:pt x="2113" y="1495"/>
                </a:lnTo>
                <a:lnTo>
                  <a:pt x="2113" y="1465"/>
                </a:lnTo>
                <a:lnTo>
                  <a:pt x="2163" y="1465"/>
                </a:lnTo>
                <a:lnTo>
                  <a:pt x="2163" y="1495"/>
                </a:lnTo>
                <a:lnTo>
                  <a:pt x="2323" y="1495"/>
                </a:lnTo>
                <a:close/>
                <a:moveTo>
                  <a:pt x="2340" y="2246"/>
                </a:moveTo>
                <a:lnTo>
                  <a:pt x="2340" y="2090"/>
                </a:lnTo>
                <a:lnTo>
                  <a:pt x="2336" y="2083"/>
                </a:lnTo>
                <a:lnTo>
                  <a:pt x="2333" y="2075"/>
                </a:lnTo>
                <a:lnTo>
                  <a:pt x="2330" y="2066"/>
                </a:lnTo>
                <a:lnTo>
                  <a:pt x="2328" y="2058"/>
                </a:lnTo>
                <a:lnTo>
                  <a:pt x="2326" y="2049"/>
                </a:lnTo>
                <a:lnTo>
                  <a:pt x="2325" y="2040"/>
                </a:lnTo>
                <a:lnTo>
                  <a:pt x="2324" y="2031"/>
                </a:lnTo>
                <a:lnTo>
                  <a:pt x="2323" y="2022"/>
                </a:lnTo>
                <a:lnTo>
                  <a:pt x="2323" y="1625"/>
                </a:lnTo>
                <a:lnTo>
                  <a:pt x="2163" y="1625"/>
                </a:lnTo>
                <a:lnTo>
                  <a:pt x="2163" y="1655"/>
                </a:lnTo>
                <a:lnTo>
                  <a:pt x="2113" y="1655"/>
                </a:lnTo>
                <a:lnTo>
                  <a:pt x="2113" y="1625"/>
                </a:lnTo>
                <a:lnTo>
                  <a:pt x="2085" y="1625"/>
                </a:lnTo>
                <a:lnTo>
                  <a:pt x="2082" y="1634"/>
                </a:lnTo>
                <a:lnTo>
                  <a:pt x="2078" y="1642"/>
                </a:lnTo>
                <a:lnTo>
                  <a:pt x="2074" y="1650"/>
                </a:lnTo>
                <a:lnTo>
                  <a:pt x="2069" y="1658"/>
                </a:lnTo>
                <a:lnTo>
                  <a:pt x="2064" y="1666"/>
                </a:lnTo>
                <a:lnTo>
                  <a:pt x="2059" y="1673"/>
                </a:lnTo>
                <a:lnTo>
                  <a:pt x="2047" y="1687"/>
                </a:lnTo>
                <a:lnTo>
                  <a:pt x="2041" y="1694"/>
                </a:lnTo>
                <a:lnTo>
                  <a:pt x="2034" y="1700"/>
                </a:lnTo>
                <a:lnTo>
                  <a:pt x="2027" y="1706"/>
                </a:lnTo>
                <a:lnTo>
                  <a:pt x="2020" y="1711"/>
                </a:lnTo>
                <a:lnTo>
                  <a:pt x="2012" y="1716"/>
                </a:lnTo>
                <a:lnTo>
                  <a:pt x="2004" y="1721"/>
                </a:lnTo>
                <a:lnTo>
                  <a:pt x="1996" y="1725"/>
                </a:lnTo>
                <a:lnTo>
                  <a:pt x="1992" y="1727"/>
                </a:lnTo>
                <a:lnTo>
                  <a:pt x="1987" y="1729"/>
                </a:lnTo>
                <a:lnTo>
                  <a:pt x="1987" y="1754"/>
                </a:lnTo>
                <a:lnTo>
                  <a:pt x="2009" y="1754"/>
                </a:lnTo>
                <a:lnTo>
                  <a:pt x="2009" y="1815"/>
                </a:lnTo>
                <a:lnTo>
                  <a:pt x="1987" y="1815"/>
                </a:lnTo>
                <a:lnTo>
                  <a:pt x="1987" y="1836"/>
                </a:lnTo>
                <a:lnTo>
                  <a:pt x="2066" y="1836"/>
                </a:lnTo>
                <a:lnTo>
                  <a:pt x="2069" y="1837"/>
                </a:lnTo>
                <a:lnTo>
                  <a:pt x="2072" y="1838"/>
                </a:lnTo>
                <a:lnTo>
                  <a:pt x="2075" y="1839"/>
                </a:lnTo>
                <a:lnTo>
                  <a:pt x="2077" y="1841"/>
                </a:lnTo>
                <a:lnTo>
                  <a:pt x="2079" y="1844"/>
                </a:lnTo>
                <a:lnTo>
                  <a:pt x="2081" y="1846"/>
                </a:lnTo>
                <a:lnTo>
                  <a:pt x="2082" y="1849"/>
                </a:lnTo>
                <a:lnTo>
                  <a:pt x="2082" y="1852"/>
                </a:lnTo>
                <a:lnTo>
                  <a:pt x="2082" y="1936"/>
                </a:lnTo>
                <a:lnTo>
                  <a:pt x="2085" y="1944"/>
                </a:lnTo>
                <a:lnTo>
                  <a:pt x="2088" y="1953"/>
                </a:lnTo>
                <a:lnTo>
                  <a:pt x="2090" y="1961"/>
                </a:lnTo>
                <a:lnTo>
                  <a:pt x="2092" y="1969"/>
                </a:lnTo>
                <a:lnTo>
                  <a:pt x="2094" y="1978"/>
                </a:lnTo>
                <a:lnTo>
                  <a:pt x="2095" y="1987"/>
                </a:lnTo>
                <a:lnTo>
                  <a:pt x="2095" y="1996"/>
                </a:lnTo>
                <a:lnTo>
                  <a:pt x="2096" y="2005"/>
                </a:lnTo>
                <a:lnTo>
                  <a:pt x="2095" y="2014"/>
                </a:lnTo>
                <a:lnTo>
                  <a:pt x="2095" y="2023"/>
                </a:lnTo>
                <a:lnTo>
                  <a:pt x="2094" y="2031"/>
                </a:lnTo>
                <a:lnTo>
                  <a:pt x="2092" y="2040"/>
                </a:lnTo>
                <a:lnTo>
                  <a:pt x="2090" y="2049"/>
                </a:lnTo>
                <a:lnTo>
                  <a:pt x="2088" y="2057"/>
                </a:lnTo>
                <a:lnTo>
                  <a:pt x="2085" y="2065"/>
                </a:lnTo>
                <a:lnTo>
                  <a:pt x="2082" y="2073"/>
                </a:lnTo>
                <a:lnTo>
                  <a:pt x="2082" y="2133"/>
                </a:lnTo>
                <a:lnTo>
                  <a:pt x="2082" y="2136"/>
                </a:lnTo>
                <a:lnTo>
                  <a:pt x="2081" y="2139"/>
                </a:lnTo>
                <a:lnTo>
                  <a:pt x="2079" y="2142"/>
                </a:lnTo>
                <a:lnTo>
                  <a:pt x="2077" y="2144"/>
                </a:lnTo>
                <a:lnTo>
                  <a:pt x="2075" y="2146"/>
                </a:lnTo>
                <a:lnTo>
                  <a:pt x="2072" y="2147"/>
                </a:lnTo>
                <a:lnTo>
                  <a:pt x="2069" y="2148"/>
                </a:lnTo>
                <a:lnTo>
                  <a:pt x="2066" y="2149"/>
                </a:lnTo>
                <a:lnTo>
                  <a:pt x="2060" y="2149"/>
                </a:lnTo>
                <a:lnTo>
                  <a:pt x="2060" y="2246"/>
                </a:lnTo>
                <a:lnTo>
                  <a:pt x="2116" y="2246"/>
                </a:lnTo>
                <a:lnTo>
                  <a:pt x="2116" y="2235"/>
                </a:lnTo>
                <a:lnTo>
                  <a:pt x="2148" y="2235"/>
                </a:lnTo>
                <a:lnTo>
                  <a:pt x="2148" y="2246"/>
                </a:lnTo>
                <a:lnTo>
                  <a:pt x="2222" y="2246"/>
                </a:lnTo>
                <a:lnTo>
                  <a:pt x="2222" y="2235"/>
                </a:lnTo>
                <a:lnTo>
                  <a:pt x="2254" y="2235"/>
                </a:lnTo>
                <a:lnTo>
                  <a:pt x="2254" y="2246"/>
                </a:lnTo>
                <a:lnTo>
                  <a:pt x="2340" y="2246"/>
                </a:lnTo>
                <a:close/>
                <a:moveTo>
                  <a:pt x="2593" y="2246"/>
                </a:moveTo>
                <a:lnTo>
                  <a:pt x="2593" y="2133"/>
                </a:lnTo>
                <a:lnTo>
                  <a:pt x="2582" y="2142"/>
                </a:lnTo>
                <a:lnTo>
                  <a:pt x="2571" y="2150"/>
                </a:lnTo>
                <a:lnTo>
                  <a:pt x="2559" y="2157"/>
                </a:lnTo>
                <a:lnTo>
                  <a:pt x="2553" y="2160"/>
                </a:lnTo>
                <a:lnTo>
                  <a:pt x="2546" y="2163"/>
                </a:lnTo>
                <a:lnTo>
                  <a:pt x="2533" y="2168"/>
                </a:lnTo>
                <a:lnTo>
                  <a:pt x="2519" y="2171"/>
                </a:lnTo>
                <a:lnTo>
                  <a:pt x="2512" y="2172"/>
                </a:lnTo>
                <a:lnTo>
                  <a:pt x="2504" y="2173"/>
                </a:lnTo>
                <a:lnTo>
                  <a:pt x="2490" y="2174"/>
                </a:lnTo>
                <a:lnTo>
                  <a:pt x="2475" y="2174"/>
                </a:lnTo>
                <a:lnTo>
                  <a:pt x="2461" y="2173"/>
                </a:lnTo>
                <a:lnTo>
                  <a:pt x="2446" y="2171"/>
                </a:lnTo>
                <a:lnTo>
                  <a:pt x="2439" y="2170"/>
                </a:lnTo>
                <a:lnTo>
                  <a:pt x="2432" y="2168"/>
                </a:lnTo>
                <a:lnTo>
                  <a:pt x="2426" y="2166"/>
                </a:lnTo>
                <a:lnTo>
                  <a:pt x="2419" y="2163"/>
                </a:lnTo>
                <a:lnTo>
                  <a:pt x="2406" y="2157"/>
                </a:lnTo>
                <a:lnTo>
                  <a:pt x="2394" y="2150"/>
                </a:lnTo>
                <a:lnTo>
                  <a:pt x="2383" y="2142"/>
                </a:lnTo>
                <a:lnTo>
                  <a:pt x="2377" y="2138"/>
                </a:lnTo>
                <a:lnTo>
                  <a:pt x="2372" y="2133"/>
                </a:lnTo>
                <a:lnTo>
                  <a:pt x="2372" y="2246"/>
                </a:lnTo>
                <a:lnTo>
                  <a:pt x="2593" y="2246"/>
                </a:lnTo>
                <a:close/>
                <a:moveTo>
                  <a:pt x="2593" y="2367"/>
                </a:moveTo>
                <a:lnTo>
                  <a:pt x="2593" y="2288"/>
                </a:lnTo>
                <a:lnTo>
                  <a:pt x="2372" y="2288"/>
                </a:lnTo>
                <a:lnTo>
                  <a:pt x="2372" y="2367"/>
                </a:lnTo>
                <a:lnTo>
                  <a:pt x="2593" y="2367"/>
                </a:lnTo>
                <a:close/>
                <a:moveTo>
                  <a:pt x="2678" y="2142"/>
                </a:moveTo>
                <a:lnTo>
                  <a:pt x="2690" y="2142"/>
                </a:lnTo>
                <a:lnTo>
                  <a:pt x="2690" y="1625"/>
                </a:lnTo>
                <a:lnTo>
                  <a:pt x="2642" y="1625"/>
                </a:lnTo>
                <a:lnTo>
                  <a:pt x="2642" y="2022"/>
                </a:lnTo>
                <a:lnTo>
                  <a:pt x="2641" y="2031"/>
                </a:lnTo>
                <a:lnTo>
                  <a:pt x="2641" y="2040"/>
                </a:lnTo>
                <a:lnTo>
                  <a:pt x="2639" y="2049"/>
                </a:lnTo>
                <a:lnTo>
                  <a:pt x="2637" y="2058"/>
                </a:lnTo>
                <a:lnTo>
                  <a:pt x="2635" y="2066"/>
                </a:lnTo>
                <a:lnTo>
                  <a:pt x="2632" y="2075"/>
                </a:lnTo>
                <a:lnTo>
                  <a:pt x="2629" y="2083"/>
                </a:lnTo>
                <a:lnTo>
                  <a:pt x="2625" y="2090"/>
                </a:lnTo>
                <a:lnTo>
                  <a:pt x="2625" y="2246"/>
                </a:lnTo>
                <a:lnTo>
                  <a:pt x="2646" y="2246"/>
                </a:lnTo>
                <a:lnTo>
                  <a:pt x="2646" y="2235"/>
                </a:lnTo>
                <a:lnTo>
                  <a:pt x="2678" y="2235"/>
                </a:lnTo>
                <a:lnTo>
                  <a:pt x="2678" y="2246"/>
                </a:lnTo>
                <a:lnTo>
                  <a:pt x="2690" y="2246"/>
                </a:lnTo>
                <a:lnTo>
                  <a:pt x="2690" y="2215"/>
                </a:lnTo>
                <a:lnTo>
                  <a:pt x="2678" y="2215"/>
                </a:lnTo>
                <a:lnTo>
                  <a:pt x="2678" y="2142"/>
                </a:lnTo>
                <a:close/>
                <a:moveTo>
                  <a:pt x="2690" y="1484"/>
                </a:moveTo>
                <a:lnTo>
                  <a:pt x="2678" y="1484"/>
                </a:lnTo>
                <a:lnTo>
                  <a:pt x="2678" y="1423"/>
                </a:lnTo>
                <a:lnTo>
                  <a:pt x="2642" y="1423"/>
                </a:lnTo>
                <a:lnTo>
                  <a:pt x="2642" y="1495"/>
                </a:lnTo>
                <a:lnTo>
                  <a:pt x="2690" y="1495"/>
                </a:lnTo>
                <a:lnTo>
                  <a:pt x="2690" y="1484"/>
                </a:lnTo>
                <a:close/>
                <a:moveTo>
                  <a:pt x="1639" y="1331"/>
                </a:moveTo>
                <a:lnTo>
                  <a:pt x="1639" y="1220"/>
                </a:lnTo>
                <a:lnTo>
                  <a:pt x="1639" y="1215"/>
                </a:lnTo>
                <a:lnTo>
                  <a:pt x="1637" y="1211"/>
                </a:lnTo>
                <a:lnTo>
                  <a:pt x="1636" y="1209"/>
                </a:lnTo>
                <a:lnTo>
                  <a:pt x="1635" y="1207"/>
                </a:lnTo>
                <a:lnTo>
                  <a:pt x="1634" y="1205"/>
                </a:lnTo>
                <a:lnTo>
                  <a:pt x="1632" y="1203"/>
                </a:lnTo>
                <a:lnTo>
                  <a:pt x="1629" y="1200"/>
                </a:lnTo>
                <a:lnTo>
                  <a:pt x="1625" y="1198"/>
                </a:lnTo>
                <a:lnTo>
                  <a:pt x="1620" y="1196"/>
                </a:lnTo>
                <a:lnTo>
                  <a:pt x="1615" y="1196"/>
                </a:lnTo>
                <a:lnTo>
                  <a:pt x="1558" y="1196"/>
                </a:lnTo>
                <a:lnTo>
                  <a:pt x="1558" y="1210"/>
                </a:lnTo>
                <a:lnTo>
                  <a:pt x="1516" y="1210"/>
                </a:lnTo>
                <a:lnTo>
                  <a:pt x="1516" y="1331"/>
                </a:lnTo>
                <a:lnTo>
                  <a:pt x="1479" y="1331"/>
                </a:lnTo>
                <a:lnTo>
                  <a:pt x="1479" y="1210"/>
                </a:lnTo>
                <a:lnTo>
                  <a:pt x="1441" y="1210"/>
                </a:lnTo>
                <a:lnTo>
                  <a:pt x="1441" y="1363"/>
                </a:lnTo>
                <a:lnTo>
                  <a:pt x="1441" y="1373"/>
                </a:lnTo>
                <a:lnTo>
                  <a:pt x="1626" y="1373"/>
                </a:lnTo>
                <a:lnTo>
                  <a:pt x="1626" y="1331"/>
                </a:lnTo>
                <a:lnTo>
                  <a:pt x="1639" y="1331"/>
                </a:lnTo>
                <a:close/>
                <a:moveTo>
                  <a:pt x="540" y="2188"/>
                </a:moveTo>
                <a:lnTo>
                  <a:pt x="493" y="2235"/>
                </a:lnTo>
                <a:lnTo>
                  <a:pt x="660" y="2235"/>
                </a:lnTo>
                <a:lnTo>
                  <a:pt x="643" y="2233"/>
                </a:lnTo>
                <a:lnTo>
                  <a:pt x="627" y="2230"/>
                </a:lnTo>
                <a:lnTo>
                  <a:pt x="611" y="2225"/>
                </a:lnTo>
                <a:lnTo>
                  <a:pt x="596" y="2220"/>
                </a:lnTo>
                <a:lnTo>
                  <a:pt x="581" y="2213"/>
                </a:lnTo>
                <a:lnTo>
                  <a:pt x="567" y="2206"/>
                </a:lnTo>
                <a:lnTo>
                  <a:pt x="553" y="2198"/>
                </a:lnTo>
                <a:lnTo>
                  <a:pt x="540" y="2188"/>
                </a:lnTo>
                <a:close/>
                <a:moveTo>
                  <a:pt x="859" y="2235"/>
                </a:moveTo>
                <a:lnTo>
                  <a:pt x="816" y="2193"/>
                </a:lnTo>
                <a:lnTo>
                  <a:pt x="810" y="2197"/>
                </a:lnTo>
                <a:lnTo>
                  <a:pt x="804" y="2201"/>
                </a:lnTo>
                <a:lnTo>
                  <a:pt x="798" y="2205"/>
                </a:lnTo>
                <a:lnTo>
                  <a:pt x="791" y="2209"/>
                </a:lnTo>
                <a:lnTo>
                  <a:pt x="777" y="2215"/>
                </a:lnTo>
                <a:lnTo>
                  <a:pt x="763" y="2221"/>
                </a:lnTo>
                <a:lnTo>
                  <a:pt x="749" y="2226"/>
                </a:lnTo>
                <a:lnTo>
                  <a:pt x="734" y="2230"/>
                </a:lnTo>
                <a:lnTo>
                  <a:pt x="726" y="2232"/>
                </a:lnTo>
                <a:lnTo>
                  <a:pt x="719" y="2233"/>
                </a:lnTo>
                <a:lnTo>
                  <a:pt x="703" y="2235"/>
                </a:lnTo>
                <a:lnTo>
                  <a:pt x="859" y="2235"/>
                </a:lnTo>
                <a:close/>
                <a:moveTo>
                  <a:pt x="2060" y="2367"/>
                </a:moveTo>
                <a:lnTo>
                  <a:pt x="2334" y="2367"/>
                </a:lnTo>
                <a:lnTo>
                  <a:pt x="2340" y="2367"/>
                </a:lnTo>
                <a:lnTo>
                  <a:pt x="2340" y="2288"/>
                </a:lnTo>
                <a:lnTo>
                  <a:pt x="2254" y="2288"/>
                </a:lnTo>
                <a:lnTo>
                  <a:pt x="2254" y="2299"/>
                </a:lnTo>
                <a:lnTo>
                  <a:pt x="2222" y="2299"/>
                </a:lnTo>
                <a:lnTo>
                  <a:pt x="2222" y="2288"/>
                </a:lnTo>
                <a:lnTo>
                  <a:pt x="2148" y="2288"/>
                </a:lnTo>
                <a:lnTo>
                  <a:pt x="2148" y="2299"/>
                </a:lnTo>
                <a:lnTo>
                  <a:pt x="2116" y="2299"/>
                </a:lnTo>
                <a:lnTo>
                  <a:pt x="2116" y="2288"/>
                </a:lnTo>
                <a:lnTo>
                  <a:pt x="2060" y="2288"/>
                </a:lnTo>
                <a:lnTo>
                  <a:pt x="2060" y="2367"/>
                </a:lnTo>
                <a:close/>
                <a:moveTo>
                  <a:pt x="1806" y="2367"/>
                </a:moveTo>
                <a:lnTo>
                  <a:pt x="2027" y="2367"/>
                </a:lnTo>
                <a:lnTo>
                  <a:pt x="2027" y="2288"/>
                </a:lnTo>
                <a:lnTo>
                  <a:pt x="1806" y="2288"/>
                </a:lnTo>
                <a:lnTo>
                  <a:pt x="1806" y="2367"/>
                </a:lnTo>
                <a:close/>
                <a:moveTo>
                  <a:pt x="1626" y="2367"/>
                </a:moveTo>
                <a:lnTo>
                  <a:pt x="1774" y="2367"/>
                </a:lnTo>
                <a:lnTo>
                  <a:pt x="1774" y="2288"/>
                </a:lnTo>
                <a:lnTo>
                  <a:pt x="1688" y="2288"/>
                </a:lnTo>
                <a:lnTo>
                  <a:pt x="1688" y="2299"/>
                </a:lnTo>
                <a:lnTo>
                  <a:pt x="1656" y="2299"/>
                </a:lnTo>
                <a:lnTo>
                  <a:pt x="1656" y="2288"/>
                </a:lnTo>
                <a:lnTo>
                  <a:pt x="1626" y="2288"/>
                </a:lnTo>
                <a:lnTo>
                  <a:pt x="1626" y="2367"/>
                </a:lnTo>
                <a:close/>
                <a:moveTo>
                  <a:pt x="1523" y="2367"/>
                </a:moveTo>
                <a:lnTo>
                  <a:pt x="1559" y="2367"/>
                </a:lnTo>
                <a:lnTo>
                  <a:pt x="1559" y="2288"/>
                </a:lnTo>
                <a:lnTo>
                  <a:pt x="1545" y="2288"/>
                </a:lnTo>
                <a:lnTo>
                  <a:pt x="1545" y="2331"/>
                </a:lnTo>
                <a:lnTo>
                  <a:pt x="1523" y="2331"/>
                </a:lnTo>
                <a:lnTo>
                  <a:pt x="1523" y="2367"/>
                </a:lnTo>
                <a:close/>
                <a:moveTo>
                  <a:pt x="1422" y="2367"/>
                </a:moveTo>
                <a:lnTo>
                  <a:pt x="1468" y="2367"/>
                </a:lnTo>
                <a:lnTo>
                  <a:pt x="1468" y="2354"/>
                </a:lnTo>
                <a:lnTo>
                  <a:pt x="1422" y="2354"/>
                </a:lnTo>
                <a:lnTo>
                  <a:pt x="1422" y="2367"/>
                </a:lnTo>
                <a:close/>
                <a:moveTo>
                  <a:pt x="950" y="2367"/>
                </a:moveTo>
                <a:lnTo>
                  <a:pt x="1126" y="2367"/>
                </a:lnTo>
                <a:lnTo>
                  <a:pt x="1126" y="2168"/>
                </a:lnTo>
                <a:lnTo>
                  <a:pt x="1422" y="2168"/>
                </a:lnTo>
                <a:lnTo>
                  <a:pt x="1422" y="2183"/>
                </a:lnTo>
                <a:lnTo>
                  <a:pt x="1468" y="2183"/>
                </a:lnTo>
                <a:lnTo>
                  <a:pt x="1468" y="2154"/>
                </a:lnTo>
                <a:lnTo>
                  <a:pt x="1478" y="2154"/>
                </a:lnTo>
                <a:lnTo>
                  <a:pt x="1478" y="1817"/>
                </a:lnTo>
                <a:lnTo>
                  <a:pt x="1465" y="1817"/>
                </a:lnTo>
                <a:lnTo>
                  <a:pt x="1465" y="1789"/>
                </a:lnTo>
                <a:lnTo>
                  <a:pt x="1478" y="1789"/>
                </a:lnTo>
                <a:lnTo>
                  <a:pt x="1478" y="1763"/>
                </a:lnTo>
                <a:lnTo>
                  <a:pt x="1465" y="1763"/>
                </a:lnTo>
                <a:lnTo>
                  <a:pt x="1465" y="1735"/>
                </a:lnTo>
                <a:lnTo>
                  <a:pt x="1478" y="1735"/>
                </a:lnTo>
                <a:lnTo>
                  <a:pt x="1478" y="1625"/>
                </a:lnTo>
                <a:lnTo>
                  <a:pt x="1472" y="1625"/>
                </a:lnTo>
                <a:lnTo>
                  <a:pt x="1455" y="1624"/>
                </a:lnTo>
                <a:lnTo>
                  <a:pt x="1447" y="1623"/>
                </a:lnTo>
                <a:lnTo>
                  <a:pt x="1439" y="1622"/>
                </a:lnTo>
                <a:lnTo>
                  <a:pt x="1432" y="1620"/>
                </a:lnTo>
                <a:lnTo>
                  <a:pt x="1424" y="1618"/>
                </a:lnTo>
                <a:lnTo>
                  <a:pt x="1417" y="1615"/>
                </a:lnTo>
                <a:lnTo>
                  <a:pt x="1409" y="1613"/>
                </a:lnTo>
                <a:lnTo>
                  <a:pt x="1402" y="1609"/>
                </a:lnTo>
                <a:lnTo>
                  <a:pt x="1395" y="1606"/>
                </a:lnTo>
                <a:lnTo>
                  <a:pt x="1382" y="1598"/>
                </a:lnTo>
                <a:lnTo>
                  <a:pt x="1370" y="1589"/>
                </a:lnTo>
                <a:lnTo>
                  <a:pt x="1364" y="1584"/>
                </a:lnTo>
                <a:lnTo>
                  <a:pt x="1358" y="1578"/>
                </a:lnTo>
                <a:lnTo>
                  <a:pt x="1348" y="1567"/>
                </a:lnTo>
                <a:lnTo>
                  <a:pt x="1339" y="1555"/>
                </a:lnTo>
                <a:lnTo>
                  <a:pt x="1335" y="1548"/>
                </a:lnTo>
                <a:lnTo>
                  <a:pt x="1331" y="1541"/>
                </a:lnTo>
                <a:lnTo>
                  <a:pt x="1327" y="1534"/>
                </a:lnTo>
                <a:lnTo>
                  <a:pt x="1324" y="1527"/>
                </a:lnTo>
                <a:lnTo>
                  <a:pt x="1319" y="1513"/>
                </a:lnTo>
                <a:lnTo>
                  <a:pt x="1317" y="1505"/>
                </a:lnTo>
                <a:lnTo>
                  <a:pt x="1315" y="1497"/>
                </a:lnTo>
                <a:lnTo>
                  <a:pt x="1313" y="1489"/>
                </a:lnTo>
                <a:lnTo>
                  <a:pt x="1312" y="1481"/>
                </a:lnTo>
                <a:lnTo>
                  <a:pt x="1312" y="1465"/>
                </a:lnTo>
                <a:lnTo>
                  <a:pt x="1312" y="1363"/>
                </a:lnTo>
                <a:lnTo>
                  <a:pt x="1312" y="1261"/>
                </a:lnTo>
                <a:lnTo>
                  <a:pt x="1312" y="1237"/>
                </a:lnTo>
                <a:lnTo>
                  <a:pt x="1312" y="1203"/>
                </a:lnTo>
                <a:lnTo>
                  <a:pt x="1222" y="1203"/>
                </a:lnTo>
                <a:lnTo>
                  <a:pt x="1222" y="1180"/>
                </a:lnTo>
                <a:lnTo>
                  <a:pt x="1312" y="1180"/>
                </a:lnTo>
                <a:lnTo>
                  <a:pt x="1312" y="1032"/>
                </a:lnTo>
                <a:lnTo>
                  <a:pt x="1295" y="1032"/>
                </a:lnTo>
                <a:lnTo>
                  <a:pt x="1295" y="1018"/>
                </a:lnTo>
                <a:lnTo>
                  <a:pt x="1255" y="1018"/>
                </a:lnTo>
                <a:lnTo>
                  <a:pt x="1255" y="978"/>
                </a:lnTo>
                <a:lnTo>
                  <a:pt x="1295" y="978"/>
                </a:lnTo>
                <a:lnTo>
                  <a:pt x="1295" y="965"/>
                </a:lnTo>
                <a:lnTo>
                  <a:pt x="1312" y="965"/>
                </a:lnTo>
                <a:lnTo>
                  <a:pt x="1312" y="953"/>
                </a:lnTo>
                <a:lnTo>
                  <a:pt x="1312" y="755"/>
                </a:lnTo>
                <a:lnTo>
                  <a:pt x="1312" y="695"/>
                </a:lnTo>
                <a:lnTo>
                  <a:pt x="1295" y="695"/>
                </a:lnTo>
                <a:lnTo>
                  <a:pt x="1295" y="682"/>
                </a:lnTo>
                <a:lnTo>
                  <a:pt x="1255" y="682"/>
                </a:lnTo>
                <a:lnTo>
                  <a:pt x="1255" y="641"/>
                </a:lnTo>
                <a:lnTo>
                  <a:pt x="1295" y="641"/>
                </a:lnTo>
                <a:lnTo>
                  <a:pt x="1295" y="628"/>
                </a:lnTo>
                <a:lnTo>
                  <a:pt x="1312" y="628"/>
                </a:lnTo>
                <a:lnTo>
                  <a:pt x="1312" y="615"/>
                </a:lnTo>
                <a:lnTo>
                  <a:pt x="1311" y="609"/>
                </a:lnTo>
                <a:lnTo>
                  <a:pt x="1310" y="604"/>
                </a:lnTo>
                <a:lnTo>
                  <a:pt x="1309" y="598"/>
                </a:lnTo>
                <a:lnTo>
                  <a:pt x="1307" y="593"/>
                </a:lnTo>
                <a:lnTo>
                  <a:pt x="1305" y="588"/>
                </a:lnTo>
                <a:lnTo>
                  <a:pt x="1302" y="584"/>
                </a:lnTo>
                <a:lnTo>
                  <a:pt x="1299" y="580"/>
                </a:lnTo>
                <a:lnTo>
                  <a:pt x="1295" y="576"/>
                </a:lnTo>
                <a:lnTo>
                  <a:pt x="1291" y="572"/>
                </a:lnTo>
                <a:lnTo>
                  <a:pt x="1287" y="569"/>
                </a:lnTo>
                <a:lnTo>
                  <a:pt x="1282" y="566"/>
                </a:lnTo>
                <a:lnTo>
                  <a:pt x="1277" y="564"/>
                </a:lnTo>
                <a:lnTo>
                  <a:pt x="1272" y="562"/>
                </a:lnTo>
                <a:lnTo>
                  <a:pt x="1267" y="560"/>
                </a:lnTo>
                <a:lnTo>
                  <a:pt x="1261" y="559"/>
                </a:lnTo>
                <a:lnTo>
                  <a:pt x="1256" y="559"/>
                </a:lnTo>
                <a:lnTo>
                  <a:pt x="1044" y="559"/>
                </a:lnTo>
                <a:lnTo>
                  <a:pt x="1014" y="559"/>
                </a:lnTo>
                <a:lnTo>
                  <a:pt x="802" y="559"/>
                </a:lnTo>
                <a:lnTo>
                  <a:pt x="796" y="559"/>
                </a:lnTo>
                <a:lnTo>
                  <a:pt x="791" y="560"/>
                </a:lnTo>
                <a:lnTo>
                  <a:pt x="785" y="562"/>
                </a:lnTo>
                <a:lnTo>
                  <a:pt x="780" y="564"/>
                </a:lnTo>
                <a:lnTo>
                  <a:pt x="775" y="566"/>
                </a:lnTo>
                <a:lnTo>
                  <a:pt x="771" y="569"/>
                </a:lnTo>
                <a:lnTo>
                  <a:pt x="766" y="572"/>
                </a:lnTo>
                <a:lnTo>
                  <a:pt x="762" y="576"/>
                </a:lnTo>
                <a:lnTo>
                  <a:pt x="759" y="580"/>
                </a:lnTo>
                <a:lnTo>
                  <a:pt x="756" y="584"/>
                </a:lnTo>
                <a:lnTo>
                  <a:pt x="753" y="588"/>
                </a:lnTo>
                <a:lnTo>
                  <a:pt x="750" y="593"/>
                </a:lnTo>
                <a:lnTo>
                  <a:pt x="749" y="598"/>
                </a:lnTo>
                <a:lnTo>
                  <a:pt x="747" y="604"/>
                </a:lnTo>
                <a:lnTo>
                  <a:pt x="746" y="609"/>
                </a:lnTo>
                <a:lnTo>
                  <a:pt x="746" y="615"/>
                </a:lnTo>
                <a:lnTo>
                  <a:pt x="746" y="628"/>
                </a:lnTo>
                <a:lnTo>
                  <a:pt x="762" y="628"/>
                </a:lnTo>
                <a:lnTo>
                  <a:pt x="762" y="641"/>
                </a:lnTo>
                <a:lnTo>
                  <a:pt x="802" y="641"/>
                </a:lnTo>
                <a:lnTo>
                  <a:pt x="802" y="682"/>
                </a:lnTo>
                <a:lnTo>
                  <a:pt x="762" y="682"/>
                </a:lnTo>
                <a:lnTo>
                  <a:pt x="762" y="695"/>
                </a:lnTo>
                <a:lnTo>
                  <a:pt x="746" y="695"/>
                </a:lnTo>
                <a:lnTo>
                  <a:pt x="746" y="953"/>
                </a:lnTo>
                <a:lnTo>
                  <a:pt x="746" y="1520"/>
                </a:lnTo>
                <a:lnTo>
                  <a:pt x="763" y="1520"/>
                </a:lnTo>
                <a:lnTo>
                  <a:pt x="763" y="1534"/>
                </a:lnTo>
                <a:lnTo>
                  <a:pt x="803" y="1534"/>
                </a:lnTo>
                <a:lnTo>
                  <a:pt x="803" y="1583"/>
                </a:lnTo>
                <a:lnTo>
                  <a:pt x="763" y="1583"/>
                </a:lnTo>
                <a:lnTo>
                  <a:pt x="763" y="1596"/>
                </a:lnTo>
                <a:lnTo>
                  <a:pt x="746" y="1596"/>
                </a:lnTo>
                <a:lnTo>
                  <a:pt x="746" y="1675"/>
                </a:lnTo>
                <a:lnTo>
                  <a:pt x="735" y="1675"/>
                </a:lnTo>
                <a:lnTo>
                  <a:pt x="735" y="1744"/>
                </a:lnTo>
                <a:lnTo>
                  <a:pt x="746" y="1744"/>
                </a:lnTo>
                <a:lnTo>
                  <a:pt x="746" y="1781"/>
                </a:lnTo>
                <a:lnTo>
                  <a:pt x="756" y="1784"/>
                </a:lnTo>
                <a:lnTo>
                  <a:pt x="766" y="1787"/>
                </a:lnTo>
                <a:lnTo>
                  <a:pt x="776" y="1792"/>
                </a:lnTo>
                <a:lnTo>
                  <a:pt x="786" y="1796"/>
                </a:lnTo>
                <a:lnTo>
                  <a:pt x="804" y="1806"/>
                </a:lnTo>
                <a:lnTo>
                  <a:pt x="813" y="1812"/>
                </a:lnTo>
                <a:lnTo>
                  <a:pt x="821" y="1818"/>
                </a:lnTo>
                <a:lnTo>
                  <a:pt x="830" y="1825"/>
                </a:lnTo>
                <a:lnTo>
                  <a:pt x="838" y="1832"/>
                </a:lnTo>
                <a:lnTo>
                  <a:pt x="845" y="1839"/>
                </a:lnTo>
                <a:lnTo>
                  <a:pt x="852" y="1847"/>
                </a:lnTo>
                <a:lnTo>
                  <a:pt x="859" y="1855"/>
                </a:lnTo>
                <a:lnTo>
                  <a:pt x="866" y="1863"/>
                </a:lnTo>
                <a:lnTo>
                  <a:pt x="872" y="1871"/>
                </a:lnTo>
                <a:lnTo>
                  <a:pt x="878" y="1880"/>
                </a:lnTo>
                <a:lnTo>
                  <a:pt x="970" y="1880"/>
                </a:lnTo>
                <a:lnTo>
                  <a:pt x="1023" y="2067"/>
                </a:lnTo>
                <a:lnTo>
                  <a:pt x="905" y="2067"/>
                </a:lnTo>
                <a:lnTo>
                  <a:pt x="899" y="2084"/>
                </a:lnTo>
                <a:lnTo>
                  <a:pt x="896" y="2093"/>
                </a:lnTo>
                <a:lnTo>
                  <a:pt x="893" y="2101"/>
                </a:lnTo>
                <a:lnTo>
                  <a:pt x="889" y="2109"/>
                </a:lnTo>
                <a:lnTo>
                  <a:pt x="885" y="2116"/>
                </a:lnTo>
                <a:lnTo>
                  <a:pt x="876" y="2131"/>
                </a:lnTo>
                <a:lnTo>
                  <a:pt x="865" y="2145"/>
                </a:lnTo>
                <a:lnTo>
                  <a:pt x="854" y="2159"/>
                </a:lnTo>
                <a:lnTo>
                  <a:pt x="842" y="2171"/>
                </a:lnTo>
                <a:lnTo>
                  <a:pt x="836" y="2177"/>
                </a:lnTo>
                <a:lnTo>
                  <a:pt x="829" y="2183"/>
                </a:lnTo>
                <a:lnTo>
                  <a:pt x="881" y="2235"/>
                </a:lnTo>
                <a:lnTo>
                  <a:pt x="884" y="2235"/>
                </a:lnTo>
                <a:lnTo>
                  <a:pt x="923" y="2196"/>
                </a:lnTo>
                <a:lnTo>
                  <a:pt x="950" y="2232"/>
                </a:lnTo>
                <a:lnTo>
                  <a:pt x="950" y="2367"/>
                </a:lnTo>
                <a:close/>
                <a:moveTo>
                  <a:pt x="412" y="2367"/>
                </a:moveTo>
                <a:lnTo>
                  <a:pt x="870" y="2367"/>
                </a:lnTo>
                <a:lnTo>
                  <a:pt x="939" y="2367"/>
                </a:lnTo>
                <a:lnTo>
                  <a:pt x="893" y="2263"/>
                </a:lnTo>
                <a:lnTo>
                  <a:pt x="459" y="2263"/>
                </a:lnTo>
                <a:lnTo>
                  <a:pt x="412" y="2367"/>
                </a:lnTo>
                <a:close/>
                <a:moveTo>
                  <a:pt x="288" y="2367"/>
                </a:moveTo>
                <a:lnTo>
                  <a:pt x="401" y="2367"/>
                </a:lnTo>
                <a:lnTo>
                  <a:pt x="401" y="2232"/>
                </a:lnTo>
                <a:lnTo>
                  <a:pt x="428" y="2196"/>
                </a:lnTo>
                <a:lnTo>
                  <a:pt x="467" y="2235"/>
                </a:lnTo>
                <a:lnTo>
                  <a:pt x="471" y="2235"/>
                </a:lnTo>
                <a:lnTo>
                  <a:pt x="528" y="2178"/>
                </a:lnTo>
                <a:lnTo>
                  <a:pt x="517" y="2168"/>
                </a:lnTo>
                <a:lnTo>
                  <a:pt x="506" y="2156"/>
                </a:lnTo>
                <a:lnTo>
                  <a:pt x="496" y="2144"/>
                </a:lnTo>
                <a:lnTo>
                  <a:pt x="492" y="2138"/>
                </a:lnTo>
                <a:lnTo>
                  <a:pt x="487" y="2132"/>
                </a:lnTo>
                <a:lnTo>
                  <a:pt x="479" y="2118"/>
                </a:lnTo>
                <a:lnTo>
                  <a:pt x="472" y="2104"/>
                </a:lnTo>
                <a:lnTo>
                  <a:pt x="466" y="2090"/>
                </a:lnTo>
                <a:lnTo>
                  <a:pt x="463" y="2083"/>
                </a:lnTo>
                <a:lnTo>
                  <a:pt x="460" y="2075"/>
                </a:lnTo>
                <a:lnTo>
                  <a:pt x="324" y="2075"/>
                </a:lnTo>
                <a:lnTo>
                  <a:pt x="324" y="2088"/>
                </a:lnTo>
                <a:lnTo>
                  <a:pt x="288" y="2088"/>
                </a:lnTo>
                <a:lnTo>
                  <a:pt x="288" y="2367"/>
                </a:lnTo>
                <a:close/>
                <a:moveTo>
                  <a:pt x="121" y="2367"/>
                </a:moveTo>
                <a:lnTo>
                  <a:pt x="224" y="2367"/>
                </a:lnTo>
                <a:lnTo>
                  <a:pt x="224" y="2088"/>
                </a:lnTo>
                <a:lnTo>
                  <a:pt x="188" y="2088"/>
                </a:lnTo>
                <a:lnTo>
                  <a:pt x="188" y="2075"/>
                </a:lnTo>
                <a:lnTo>
                  <a:pt x="136" y="2075"/>
                </a:lnTo>
                <a:lnTo>
                  <a:pt x="136" y="2103"/>
                </a:lnTo>
                <a:lnTo>
                  <a:pt x="110" y="2103"/>
                </a:lnTo>
                <a:lnTo>
                  <a:pt x="110" y="1912"/>
                </a:lnTo>
                <a:lnTo>
                  <a:pt x="136" y="1912"/>
                </a:lnTo>
                <a:lnTo>
                  <a:pt x="136" y="1940"/>
                </a:lnTo>
                <a:lnTo>
                  <a:pt x="458" y="1940"/>
                </a:lnTo>
                <a:lnTo>
                  <a:pt x="462" y="1926"/>
                </a:lnTo>
                <a:lnTo>
                  <a:pt x="468" y="1912"/>
                </a:lnTo>
                <a:lnTo>
                  <a:pt x="474" y="1899"/>
                </a:lnTo>
                <a:lnTo>
                  <a:pt x="481" y="1886"/>
                </a:lnTo>
                <a:lnTo>
                  <a:pt x="489" y="1873"/>
                </a:lnTo>
                <a:lnTo>
                  <a:pt x="498" y="1862"/>
                </a:lnTo>
                <a:lnTo>
                  <a:pt x="507" y="1850"/>
                </a:lnTo>
                <a:lnTo>
                  <a:pt x="512" y="1845"/>
                </a:lnTo>
                <a:lnTo>
                  <a:pt x="517" y="1840"/>
                </a:lnTo>
                <a:lnTo>
                  <a:pt x="527" y="1830"/>
                </a:lnTo>
                <a:lnTo>
                  <a:pt x="539" y="1820"/>
                </a:lnTo>
                <a:lnTo>
                  <a:pt x="550" y="1812"/>
                </a:lnTo>
                <a:lnTo>
                  <a:pt x="563" y="1804"/>
                </a:lnTo>
                <a:lnTo>
                  <a:pt x="575" y="1797"/>
                </a:lnTo>
                <a:lnTo>
                  <a:pt x="589" y="1791"/>
                </a:lnTo>
                <a:lnTo>
                  <a:pt x="602" y="1785"/>
                </a:lnTo>
                <a:lnTo>
                  <a:pt x="609" y="1783"/>
                </a:lnTo>
                <a:lnTo>
                  <a:pt x="617" y="1781"/>
                </a:lnTo>
                <a:lnTo>
                  <a:pt x="617" y="1744"/>
                </a:lnTo>
                <a:lnTo>
                  <a:pt x="628" y="1744"/>
                </a:lnTo>
                <a:lnTo>
                  <a:pt x="628" y="1675"/>
                </a:lnTo>
                <a:lnTo>
                  <a:pt x="617" y="1675"/>
                </a:lnTo>
                <a:lnTo>
                  <a:pt x="617" y="1596"/>
                </a:lnTo>
                <a:lnTo>
                  <a:pt x="600" y="1596"/>
                </a:lnTo>
                <a:lnTo>
                  <a:pt x="600" y="1583"/>
                </a:lnTo>
                <a:lnTo>
                  <a:pt x="560" y="1583"/>
                </a:lnTo>
                <a:lnTo>
                  <a:pt x="560" y="1534"/>
                </a:lnTo>
                <a:lnTo>
                  <a:pt x="600" y="1534"/>
                </a:lnTo>
                <a:lnTo>
                  <a:pt x="600" y="1520"/>
                </a:lnTo>
                <a:lnTo>
                  <a:pt x="617" y="1520"/>
                </a:lnTo>
                <a:lnTo>
                  <a:pt x="617" y="1169"/>
                </a:lnTo>
                <a:lnTo>
                  <a:pt x="587" y="1169"/>
                </a:lnTo>
                <a:lnTo>
                  <a:pt x="587" y="1155"/>
                </a:lnTo>
                <a:lnTo>
                  <a:pt x="556" y="1155"/>
                </a:lnTo>
                <a:lnTo>
                  <a:pt x="556" y="1195"/>
                </a:lnTo>
                <a:lnTo>
                  <a:pt x="465" y="1195"/>
                </a:lnTo>
                <a:lnTo>
                  <a:pt x="465" y="1185"/>
                </a:lnTo>
                <a:lnTo>
                  <a:pt x="450" y="1185"/>
                </a:lnTo>
                <a:lnTo>
                  <a:pt x="450" y="1158"/>
                </a:lnTo>
                <a:lnTo>
                  <a:pt x="465" y="1158"/>
                </a:lnTo>
                <a:lnTo>
                  <a:pt x="465" y="1128"/>
                </a:lnTo>
                <a:lnTo>
                  <a:pt x="450" y="1128"/>
                </a:lnTo>
                <a:lnTo>
                  <a:pt x="450" y="1102"/>
                </a:lnTo>
                <a:lnTo>
                  <a:pt x="465" y="1102"/>
                </a:lnTo>
                <a:lnTo>
                  <a:pt x="465" y="1072"/>
                </a:lnTo>
                <a:lnTo>
                  <a:pt x="450" y="1072"/>
                </a:lnTo>
                <a:lnTo>
                  <a:pt x="450" y="1046"/>
                </a:lnTo>
                <a:lnTo>
                  <a:pt x="465" y="1046"/>
                </a:lnTo>
                <a:lnTo>
                  <a:pt x="465" y="1035"/>
                </a:lnTo>
                <a:lnTo>
                  <a:pt x="556" y="1035"/>
                </a:lnTo>
                <a:lnTo>
                  <a:pt x="556" y="1075"/>
                </a:lnTo>
                <a:lnTo>
                  <a:pt x="587" y="1075"/>
                </a:lnTo>
                <a:lnTo>
                  <a:pt x="587" y="1061"/>
                </a:lnTo>
                <a:lnTo>
                  <a:pt x="617" y="1061"/>
                </a:lnTo>
                <a:lnTo>
                  <a:pt x="617" y="817"/>
                </a:lnTo>
                <a:lnTo>
                  <a:pt x="617" y="695"/>
                </a:lnTo>
                <a:lnTo>
                  <a:pt x="600" y="695"/>
                </a:lnTo>
                <a:lnTo>
                  <a:pt x="600" y="682"/>
                </a:lnTo>
                <a:lnTo>
                  <a:pt x="559" y="682"/>
                </a:lnTo>
                <a:lnTo>
                  <a:pt x="559" y="641"/>
                </a:lnTo>
                <a:lnTo>
                  <a:pt x="600" y="641"/>
                </a:lnTo>
                <a:lnTo>
                  <a:pt x="600" y="628"/>
                </a:lnTo>
                <a:lnTo>
                  <a:pt x="617" y="628"/>
                </a:lnTo>
                <a:lnTo>
                  <a:pt x="617" y="589"/>
                </a:lnTo>
                <a:lnTo>
                  <a:pt x="617" y="581"/>
                </a:lnTo>
                <a:lnTo>
                  <a:pt x="617" y="573"/>
                </a:lnTo>
                <a:lnTo>
                  <a:pt x="618" y="565"/>
                </a:lnTo>
                <a:lnTo>
                  <a:pt x="620" y="557"/>
                </a:lnTo>
                <a:lnTo>
                  <a:pt x="622" y="549"/>
                </a:lnTo>
                <a:lnTo>
                  <a:pt x="624" y="542"/>
                </a:lnTo>
                <a:lnTo>
                  <a:pt x="626" y="534"/>
                </a:lnTo>
                <a:lnTo>
                  <a:pt x="629" y="527"/>
                </a:lnTo>
                <a:lnTo>
                  <a:pt x="632" y="520"/>
                </a:lnTo>
                <a:lnTo>
                  <a:pt x="636" y="513"/>
                </a:lnTo>
                <a:lnTo>
                  <a:pt x="644" y="500"/>
                </a:lnTo>
                <a:lnTo>
                  <a:pt x="653" y="487"/>
                </a:lnTo>
                <a:lnTo>
                  <a:pt x="658" y="482"/>
                </a:lnTo>
                <a:lnTo>
                  <a:pt x="663" y="476"/>
                </a:lnTo>
                <a:lnTo>
                  <a:pt x="675" y="466"/>
                </a:lnTo>
                <a:lnTo>
                  <a:pt x="687" y="456"/>
                </a:lnTo>
                <a:lnTo>
                  <a:pt x="694" y="452"/>
                </a:lnTo>
                <a:lnTo>
                  <a:pt x="700" y="448"/>
                </a:lnTo>
                <a:lnTo>
                  <a:pt x="707" y="445"/>
                </a:lnTo>
                <a:lnTo>
                  <a:pt x="714" y="442"/>
                </a:lnTo>
                <a:lnTo>
                  <a:pt x="729" y="436"/>
                </a:lnTo>
                <a:lnTo>
                  <a:pt x="737" y="434"/>
                </a:lnTo>
                <a:lnTo>
                  <a:pt x="744" y="432"/>
                </a:lnTo>
                <a:lnTo>
                  <a:pt x="752" y="431"/>
                </a:lnTo>
                <a:lnTo>
                  <a:pt x="760" y="430"/>
                </a:lnTo>
                <a:lnTo>
                  <a:pt x="777" y="429"/>
                </a:lnTo>
                <a:lnTo>
                  <a:pt x="816" y="429"/>
                </a:lnTo>
                <a:lnTo>
                  <a:pt x="887" y="429"/>
                </a:lnTo>
                <a:lnTo>
                  <a:pt x="1054" y="429"/>
                </a:lnTo>
                <a:lnTo>
                  <a:pt x="1054" y="357"/>
                </a:lnTo>
                <a:lnTo>
                  <a:pt x="1039" y="357"/>
                </a:lnTo>
                <a:lnTo>
                  <a:pt x="1039" y="332"/>
                </a:lnTo>
                <a:lnTo>
                  <a:pt x="1054" y="332"/>
                </a:lnTo>
                <a:lnTo>
                  <a:pt x="1054" y="312"/>
                </a:lnTo>
                <a:lnTo>
                  <a:pt x="913" y="312"/>
                </a:lnTo>
                <a:lnTo>
                  <a:pt x="913" y="269"/>
                </a:lnTo>
                <a:lnTo>
                  <a:pt x="1054" y="269"/>
                </a:lnTo>
                <a:lnTo>
                  <a:pt x="1054" y="249"/>
                </a:lnTo>
                <a:lnTo>
                  <a:pt x="1039" y="249"/>
                </a:lnTo>
                <a:lnTo>
                  <a:pt x="1039" y="223"/>
                </a:lnTo>
                <a:lnTo>
                  <a:pt x="1054" y="223"/>
                </a:lnTo>
                <a:lnTo>
                  <a:pt x="1054" y="182"/>
                </a:lnTo>
                <a:lnTo>
                  <a:pt x="1048" y="182"/>
                </a:lnTo>
                <a:lnTo>
                  <a:pt x="1043" y="182"/>
                </a:lnTo>
                <a:lnTo>
                  <a:pt x="1039" y="181"/>
                </a:lnTo>
                <a:lnTo>
                  <a:pt x="1036" y="180"/>
                </a:lnTo>
                <a:lnTo>
                  <a:pt x="1034" y="178"/>
                </a:lnTo>
                <a:lnTo>
                  <a:pt x="1033" y="177"/>
                </a:lnTo>
                <a:lnTo>
                  <a:pt x="1031" y="175"/>
                </a:lnTo>
                <a:lnTo>
                  <a:pt x="1028" y="172"/>
                </a:lnTo>
                <a:lnTo>
                  <a:pt x="1026" y="168"/>
                </a:lnTo>
                <a:lnTo>
                  <a:pt x="1024" y="163"/>
                </a:lnTo>
                <a:lnTo>
                  <a:pt x="1024" y="158"/>
                </a:lnTo>
                <a:lnTo>
                  <a:pt x="1024" y="24"/>
                </a:lnTo>
                <a:lnTo>
                  <a:pt x="1024" y="19"/>
                </a:lnTo>
                <a:lnTo>
                  <a:pt x="1026" y="15"/>
                </a:lnTo>
                <a:lnTo>
                  <a:pt x="1027" y="13"/>
                </a:lnTo>
                <a:lnTo>
                  <a:pt x="1028" y="11"/>
                </a:lnTo>
                <a:lnTo>
                  <a:pt x="1029" y="9"/>
                </a:lnTo>
                <a:lnTo>
                  <a:pt x="1031" y="7"/>
                </a:lnTo>
                <a:lnTo>
                  <a:pt x="1034" y="4"/>
                </a:lnTo>
                <a:lnTo>
                  <a:pt x="1039" y="2"/>
                </a:lnTo>
                <a:lnTo>
                  <a:pt x="1043" y="1"/>
                </a:lnTo>
                <a:lnTo>
                  <a:pt x="1048" y="0"/>
                </a:lnTo>
                <a:lnTo>
                  <a:pt x="1102" y="0"/>
                </a:lnTo>
                <a:lnTo>
                  <a:pt x="1107" y="1"/>
                </a:lnTo>
                <a:lnTo>
                  <a:pt x="1111" y="2"/>
                </a:lnTo>
                <a:lnTo>
                  <a:pt x="1114" y="3"/>
                </a:lnTo>
                <a:lnTo>
                  <a:pt x="1116" y="4"/>
                </a:lnTo>
                <a:lnTo>
                  <a:pt x="1117" y="6"/>
                </a:lnTo>
                <a:lnTo>
                  <a:pt x="1119" y="7"/>
                </a:lnTo>
                <a:lnTo>
                  <a:pt x="1122" y="11"/>
                </a:lnTo>
                <a:lnTo>
                  <a:pt x="1124" y="15"/>
                </a:lnTo>
                <a:lnTo>
                  <a:pt x="1126" y="19"/>
                </a:lnTo>
                <a:lnTo>
                  <a:pt x="1126" y="24"/>
                </a:lnTo>
                <a:lnTo>
                  <a:pt x="1126" y="158"/>
                </a:lnTo>
                <a:lnTo>
                  <a:pt x="1126" y="163"/>
                </a:lnTo>
                <a:lnTo>
                  <a:pt x="1124" y="168"/>
                </a:lnTo>
                <a:lnTo>
                  <a:pt x="1123" y="170"/>
                </a:lnTo>
                <a:lnTo>
                  <a:pt x="1122" y="172"/>
                </a:lnTo>
                <a:lnTo>
                  <a:pt x="1121" y="174"/>
                </a:lnTo>
                <a:lnTo>
                  <a:pt x="1119" y="175"/>
                </a:lnTo>
                <a:lnTo>
                  <a:pt x="1116" y="178"/>
                </a:lnTo>
                <a:lnTo>
                  <a:pt x="1111" y="181"/>
                </a:lnTo>
                <a:lnTo>
                  <a:pt x="1107" y="182"/>
                </a:lnTo>
                <a:lnTo>
                  <a:pt x="1102" y="182"/>
                </a:lnTo>
                <a:lnTo>
                  <a:pt x="1099" y="182"/>
                </a:lnTo>
                <a:lnTo>
                  <a:pt x="1099" y="223"/>
                </a:lnTo>
                <a:lnTo>
                  <a:pt x="1114" y="223"/>
                </a:lnTo>
                <a:lnTo>
                  <a:pt x="1114" y="249"/>
                </a:lnTo>
                <a:lnTo>
                  <a:pt x="1099" y="249"/>
                </a:lnTo>
                <a:lnTo>
                  <a:pt x="1099" y="332"/>
                </a:lnTo>
                <a:lnTo>
                  <a:pt x="1114" y="332"/>
                </a:lnTo>
                <a:lnTo>
                  <a:pt x="1114" y="357"/>
                </a:lnTo>
                <a:lnTo>
                  <a:pt x="1099" y="357"/>
                </a:lnTo>
                <a:lnTo>
                  <a:pt x="1099" y="429"/>
                </a:lnTo>
                <a:lnTo>
                  <a:pt x="1187" y="429"/>
                </a:lnTo>
                <a:lnTo>
                  <a:pt x="1187" y="357"/>
                </a:lnTo>
                <a:lnTo>
                  <a:pt x="1172" y="357"/>
                </a:lnTo>
                <a:lnTo>
                  <a:pt x="1172" y="332"/>
                </a:lnTo>
                <a:lnTo>
                  <a:pt x="1187" y="332"/>
                </a:lnTo>
                <a:lnTo>
                  <a:pt x="1187" y="249"/>
                </a:lnTo>
                <a:lnTo>
                  <a:pt x="1172" y="249"/>
                </a:lnTo>
                <a:lnTo>
                  <a:pt x="1172" y="223"/>
                </a:lnTo>
                <a:lnTo>
                  <a:pt x="1187" y="223"/>
                </a:lnTo>
                <a:lnTo>
                  <a:pt x="1187" y="134"/>
                </a:lnTo>
                <a:lnTo>
                  <a:pt x="1183" y="132"/>
                </a:lnTo>
                <a:lnTo>
                  <a:pt x="1179" y="130"/>
                </a:lnTo>
                <a:lnTo>
                  <a:pt x="1172" y="125"/>
                </a:lnTo>
                <a:lnTo>
                  <a:pt x="1165" y="119"/>
                </a:lnTo>
                <a:lnTo>
                  <a:pt x="1160" y="112"/>
                </a:lnTo>
                <a:lnTo>
                  <a:pt x="1157" y="108"/>
                </a:lnTo>
                <a:lnTo>
                  <a:pt x="1155" y="104"/>
                </a:lnTo>
                <a:lnTo>
                  <a:pt x="1152" y="96"/>
                </a:lnTo>
                <a:lnTo>
                  <a:pt x="1150" y="91"/>
                </a:lnTo>
                <a:lnTo>
                  <a:pt x="1150" y="87"/>
                </a:lnTo>
                <a:lnTo>
                  <a:pt x="1149" y="82"/>
                </a:lnTo>
                <a:lnTo>
                  <a:pt x="1149" y="77"/>
                </a:lnTo>
                <a:lnTo>
                  <a:pt x="1149" y="71"/>
                </a:lnTo>
                <a:lnTo>
                  <a:pt x="1150" y="65"/>
                </a:lnTo>
                <a:lnTo>
                  <a:pt x="1152" y="59"/>
                </a:lnTo>
                <a:lnTo>
                  <a:pt x="1154" y="54"/>
                </a:lnTo>
                <a:lnTo>
                  <a:pt x="1156" y="48"/>
                </a:lnTo>
                <a:lnTo>
                  <a:pt x="1159" y="43"/>
                </a:lnTo>
                <a:lnTo>
                  <a:pt x="1163" y="39"/>
                </a:lnTo>
                <a:lnTo>
                  <a:pt x="1167" y="34"/>
                </a:lnTo>
                <a:lnTo>
                  <a:pt x="1171" y="30"/>
                </a:lnTo>
                <a:lnTo>
                  <a:pt x="1176" y="27"/>
                </a:lnTo>
                <a:lnTo>
                  <a:pt x="1181" y="24"/>
                </a:lnTo>
                <a:lnTo>
                  <a:pt x="1186" y="21"/>
                </a:lnTo>
                <a:lnTo>
                  <a:pt x="1191" y="19"/>
                </a:lnTo>
                <a:lnTo>
                  <a:pt x="1197" y="18"/>
                </a:lnTo>
                <a:lnTo>
                  <a:pt x="1203" y="17"/>
                </a:lnTo>
                <a:lnTo>
                  <a:pt x="1210" y="16"/>
                </a:lnTo>
                <a:lnTo>
                  <a:pt x="1216" y="17"/>
                </a:lnTo>
                <a:lnTo>
                  <a:pt x="1222" y="18"/>
                </a:lnTo>
                <a:lnTo>
                  <a:pt x="1228" y="19"/>
                </a:lnTo>
                <a:lnTo>
                  <a:pt x="1233" y="21"/>
                </a:lnTo>
                <a:lnTo>
                  <a:pt x="1239" y="24"/>
                </a:lnTo>
                <a:lnTo>
                  <a:pt x="1244" y="27"/>
                </a:lnTo>
                <a:lnTo>
                  <a:pt x="1248" y="30"/>
                </a:lnTo>
                <a:lnTo>
                  <a:pt x="1253" y="34"/>
                </a:lnTo>
                <a:lnTo>
                  <a:pt x="1257" y="39"/>
                </a:lnTo>
                <a:lnTo>
                  <a:pt x="1260" y="43"/>
                </a:lnTo>
                <a:lnTo>
                  <a:pt x="1263" y="48"/>
                </a:lnTo>
                <a:lnTo>
                  <a:pt x="1266" y="54"/>
                </a:lnTo>
                <a:lnTo>
                  <a:pt x="1268" y="59"/>
                </a:lnTo>
                <a:lnTo>
                  <a:pt x="1269" y="65"/>
                </a:lnTo>
                <a:lnTo>
                  <a:pt x="1270" y="71"/>
                </a:lnTo>
                <a:lnTo>
                  <a:pt x="1270" y="77"/>
                </a:lnTo>
                <a:lnTo>
                  <a:pt x="1270" y="82"/>
                </a:lnTo>
                <a:lnTo>
                  <a:pt x="1270" y="87"/>
                </a:lnTo>
                <a:lnTo>
                  <a:pt x="1268" y="96"/>
                </a:lnTo>
                <a:lnTo>
                  <a:pt x="1266" y="100"/>
                </a:lnTo>
                <a:lnTo>
                  <a:pt x="1264" y="104"/>
                </a:lnTo>
                <a:lnTo>
                  <a:pt x="1262" y="108"/>
                </a:lnTo>
                <a:lnTo>
                  <a:pt x="1260" y="112"/>
                </a:lnTo>
                <a:lnTo>
                  <a:pt x="1257" y="116"/>
                </a:lnTo>
                <a:lnTo>
                  <a:pt x="1254" y="119"/>
                </a:lnTo>
                <a:lnTo>
                  <a:pt x="1251" y="122"/>
                </a:lnTo>
                <a:lnTo>
                  <a:pt x="1247" y="125"/>
                </a:lnTo>
                <a:lnTo>
                  <a:pt x="1240" y="130"/>
                </a:lnTo>
                <a:lnTo>
                  <a:pt x="1232" y="134"/>
                </a:lnTo>
                <a:lnTo>
                  <a:pt x="1232" y="223"/>
                </a:lnTo>
                <a:lnTo>
                  <a:pt x="1247" y="223"/>
                </a:lnTo>
                <a:lnTo>
                  <a:pt x="1247" y="249"/>
                </a:lnTo>
                <a:lnTo>
                  <a:pt x="1232" y="249"/>
                </a:lnTo>
                <a:lnTo>
                  <a:pt x="1232" y="269"/>
                </a:lnTo>
                <a:lnTo>
                  <a:pt x="1365" y="269"/>
                </a:lnTo>
                <a:lnTo>
                  <a:pt x="1365" y="312"/>
                </a:lnTo>
                <a:lnTo>
                  <a:pt x="1232" y="312"/>
                </a:lnTo>
                <a:lnTo>
                  <a:pt x="1232" y="332"/>
                </a:lnTo>
                <a:lnTo>
                  <a:pt x="1247" y="332"/>
                </a:lnTo>
                <a:lnTo>
                  <a:pt x="1247" y="357"/>
                </a:lnTo>
                <a:lnTo>
                  <a:pt x="1232" y="357"/>
                </a:lnTo>
                <a:lnTo>
                  <a:pt x="1232" y="429"/>
                </a:lnTo>
                <a:lnTo>
                  <a:pt x="1281" y="429"/>
                </a:lnTo>
                <a:lnTo>
                  <a:pt x="1297" y="430"/>
                </a:lnTo>
                <a:lnTo>
                  <a:pt x="1305" y="431"/>
                </a:lnTo>
                <a:lnTo>
                  <a:pt x="1313" y="432"/>
                </a:lnTo>
                <a:lnTo>
                  <a:pt x="1321" y="434"/>
                </a:lnTo>
                <a:lnTo>
                  <a:pt x="1329" y="436"/>
                </a:lnTo>
                <a:lnTo>
                  <a:pt x="1336" y="439"/>
                </a:lnTo>
                <a:lnTo>
                  <a:pt x="1343" y="442"/>
                </a:lnTo>
                <a:lnTo>
                  <a:pt x="1350" y="445"/>
                </a:lnTo>
                <a:lnTo>
                  <a:pt x="1357" y="448"/>
                </a:lnTo>
                <a:lnTo>
                  <a:pt x="1371" y="456"/>
                </a:lnTo>
                <a:lnTo>
                  <a:pt x="1383" y="466"/>
                </a:lnTo>
                <a:lnTo>
                  <a:pt x="1389" y="471"/>
                </a:lnTo>
                <a:lnTo>
                  <a:pt x="1394" y="476"/>
                </a:lnTo>
                <a:lnTo>
                  <a:pt x="1405" y="487"/>
                </a:lnTo>
                <a:lnTo>
                  <a:pt x="1414" y="500"/>
                </a:lnTo>
                <a:lnTo>
                  <a:pt x="1418" y="506"/>
                </a:lnTo>
                <a:lnTo>
                  <a:pt x="1422" y="513"/>
                </a:lnTo>
                <a:lnTo>
                  <a:pt x="1425" y="520"/>
                </a:lnTo>
                <a:lnTo>
                  <a:pt x="1429" y="527"/>
                </a:lnTo>
                <a:lnTo>
                  <a:pt x="1434" y="542"/>
                </a:lnTo>
                <a:lnTo>
                  <a:pt x="1436" y="549"/>
                </a:lnTo>
                <a:lnTo>
                  <a:pt x="1438" y="557"/>
                </a:lnTo>
                <a:lnTo>
                  <a:pt x="1439" y="565"/>
                </a:lnTo>
                <a:lnTo>
                  <a:pt x="1440" y="573"/>
                </a:lnTo>
                <a:lnTo>
                  <a:pt x="1441" y="589"/>
                </a:lnTo>
                <a:lnTo>
                  <a:pt x="1441" y="628"/>
                </a:lnTo>
                <a:lnTo>
                  <a:pt x="1457" y="628"/>
                </a:lnTo>
                <a:lnTo>
                  <a:pt x="1457" y="641"/>
                </a:lnTo>
                <a:lnTo>
                  <a:pt x="1498" y="641"/>
                </a:lnTo>
                <a:lnTo>
                  <a:pt x="1498" y="682"/>
                </a:lnTo>
                <a:lnTo>
                  <a:pt x="1457" y="682"/>
                </a:lnTo>
                <a:lnTo>
                  <a:pt x="1457" y="695"/>
                </a:lnTo>
                <a:lnTo>
                  <a:pt x="1441" y="695"/>
                </a:lnTo>
                <a:lnTo>
                  <a:pt x="1441" y="755"/>
                </a:lnTo>
                <a:lnTo>
                  <a:pt x="1441" y="817"/>
                </a:lnTo>
                <a:lnTo>
                  <a:pt x="1441" y="965"/>
                </a:lnTo>
                <a:lnTo>
                  <a:pt x="1457" y="965"/>
                </a:lnTo>
                <a:lnTo>
                  <a:pt x="1457" y="978"/>
                </a:lnTo>
                <a:lnTo>
                  <a:pt x="1498" y="978"/>
                </a:lnTo>
                <a:lnTo>
                  <a:pt x="1498" y="1018"/>
                </a:lnTo>
                <a:lnTo>
                  <a:pt x="1457" y="1018"/>
                </a:lnTo>
                <a:lnTo>
                  <a:pt x="1457" y="1032"/>
                </a:lnTo>
                <a:lnTo>
                  <a:pt x="1441" y="1032"/>
                </a:lnTo>
                <a:lnTo>
                  <a:pt x="1441" y="1101"/>
                </a:lnTo>
                <a:lnTo>
                  <a:pt x="1441" y="1139"/>
                </a:lnTo>
                <a:lnTo>
                  <a:pt x="1558" y="1139"/>
                </a:lnTo>
                <a:lnTo>
                  <a:pt x="1558" y="1153"/>
                </a:lnTo>
                <a:lnTo>
                  <a:pt x="1624" y="1153"/>
                </a:lnTo>
                <a:lnTo>
                  <a:pt x="1630" y="1153"/>
                </a:lnTo>
                <a:lnTo>
                  <a:pt x="1635" y="1154"/>
                </a:lnTo>
                <a:lnTo>
                  <a:pt x="1641" y="1155"/>
                </a:lnTo>
                <a:lnTo>
                  <a:pt x="1646" y="1157"/>
                </a:lnTo>
                <a:lnTo>
                  <a:pt x="1651" y="1160"/>
                </a:lnTo>
                <a:lnTo>
                  <a:pt x="1655" y="1162"/>
                </a:lnTo>
                <a:lnTo>
                  <a:pt x="1660" y="1166"/>
                </a:lnTo>
                <a:lnTo>
                  <a:pt x="1664" y="1169"/>
                </a:lnTo>
                <a:lnTo>
                  <a:pt x="1667" y="1173"/>
                </a:lnTo>
                <a:lnTo>
                  <a:pt x="1671" y="1178"/>
                </a:lnTo>
                <a:lnTo>
                  <a:pt x="1673" y="1182"/>
                </a:lnTo>
                <a:lnTo>
                  <a:pt x="1676" y="1187"/>
                </a:lnTo>
                <a:lnTo>
                  <a:pt x="1678" y="1192"/>
                </a:lnTo>
                <a:lnTo>
                  <a:pt x="1679" y="1198"/>
                </a:lnTo>
                <a:lnTo>
                  <a:pt x="1680" y="1203"/>
                </a:lnTo>
                <a:lnTo>
                  <a:pt x="1680" y="1209"/>
                </a:lnTo>
                <a:lnTo>
                  <a:pt x="1680" y="1331"/>
                </a:lnTo>
                <a:lnTo>
                  <a:pt x="1693" y="1331"/>
                </a:lnTo>
                <a:lnTo>
                  <a:pt x="1693" y="1373"/>
                </a:lnTo>
                <a:lnTo>
                  <a:pt x="1825" y="1373"/>
                </a:lnTo>
                <a:lnTo>
                  <a:pt x="1825" y="1317"/>
                </a:lnTo>
                <a:lnTo>
                  <a:pt x="1846" y="1317"/>
                </a:lnTo>
                <a:lnTo>
                  <a:pt x="1846" y="1191"/>
                </a:lnTo>
                <a:lnTo>
                  <a:pt x="1822" y="1191"/>
                </a:lnTo>
                <a:lnTo>
                  <a:pt x="1819" y="1191"/>
                </a:lnTo>
                <a:lnTo>
                  <a:pt x="1816" y="1190"/>
                </a:lnTo>
                <a:lnTo>
                  <a:pt x="1813" y="1188"/>
                </a:lnTo>
                <a:lnTo>
                  <a:pt x="1811" y="1187"/>
                </a:lnTo>
                <a:lnTo>
                  <a:pt x="1809" y="1184"/>
                </a:lnTo>
                <a:lnTo>
                  <a:pt x="1808" y="1181"/>
                </a:lnTo>
                <a:lnTo>
                  <a:pt x="1807" y="1178"/>
                </a:lnTo>
                <a:lnTo>
                  <a:pt x="1806" y="1175"/>
                </a:lnTo>
                <a:lnTo>
                  <a:pt x="1806" y="1127"/>
                </a:lnTo>
                <a:lnTo>
                  <a:pt x="1771" y="1127"/>
                </a:lnTo>
                <a:lnTo>
                  <a:pt x="1771" y="1074"/>
                </a:lnTo>
                <a:lnTo>
                  <a:pt x="1806" y="1074"/>
                </a:lnTo>
                <a:lnTo>
                  <a:pt x="1806" y="908"/>
                </a:lnTo>
                <a:lnTo>
                  <a:pt x="1807" y="905"/>
                </a:lnTo>
                <a:lnTo>
                  <a:pt x="1808" y="902"/>
                </a:lnTo>
                <a:lnTo>
                  <a:pt x="1809" y="899"/>
                </a:lnTo>
                <a:lnTo>
                  <a:pt x="1811" y="897"/>
                </a:lnTo>
                <a:lnTo>
                  <a:pt x="1813" y="895"/>
                </a:lnTo>
                <a:lnTo>
                  <a:pt x="1816" y="894"/>
                </a:lnTo>
                <a:lnTo>
                  <a:pt x="1819" y="893"/>
                </a:lnTo>
                <a:lnTo>
                  <a:pt x="1822" y="892"/>
                </a:lnTo>
                <a:lnTo>
                  <a:pt x="2011" y="892"/>
                </a:lnTo>
                <a:lnTo>
                  <a:pt x="2015" y="893"/>
                </a:lnTo>
                <a:lnTo>
                  <a:pt x="2018" y="894"/>
                </a:lnTo>
                <a:lnTo>
                  <a:pt x="2020" y="895"/>
                </a:lnTo>
                <a:lnTo>
                  <a:pt x="2023" y="897"/>
                </a:lnTo>
                <a:lnTo>
                  <a:pt x="2025" y="899"/>
                </a:lnTo>
                <a:lnTo>
                  <a:pt x="2026" y="902"/>
                </a:lnTo>
                <a:lnTo>
                  <a:pt x="2027" y="905"/>
                </a:lnTo>
                <a:lnTo>
                  <a:pt x="2027" y="908"/>
                </a:lnTo>
                <a:lnTo>
                  <a:pt x="2027" y="1074"/>
                </a:lnTo>
                <a:lnTo>
                  <a:pt x="2062" y="1074"/>
                </a:lnTo>
                <a:lnTo>
                  <a:pt x="2062" y="1127"/>
                </a:lnTo>
                <a:lnTo>
                  <a:pt x="2027" y="1127"/>
                </a:lnTo>
                <a:lnTo>
                  <a:pt x="2027" y="1175"/>
                </a:lnTo>
                <a:lnTo>
                  <a:pt x="2027" y="1178"/>
                </a:lnTo>
                <a:lnTo>
                  <a:pt x="2026" y="1181"/>
                </a:lnTo>
                <a:lnTo>
                  <a:pt x="2025" y="1184"/>
                </a:lnTo>
                <a:lnTo>
                  <a:pt x="2023" y="1187"/>
                </a:lnTo>
                <a:lnTo>
                  <a:pt x="2020" y="1188"/>
                </a:lnTo>
                <a:lnTo>
                  <a:pt x="2018" y="1190"/>
                </a:lnTo>
                <a:lnTo>
                  <a:pt x="2015" y="1191"/>
                </a:lnTo>
                <a:lnTo>
                  <a:pt x="2011" y="1191"/>
                </a:lnTo>
                <a:lnTo>
                  <a:pt x="1987" y="1191"/>
                </a:lnTo>
                <a:lnTo>
                  <a:pt x="1987" y="1317"/>
                </a:lnTo>
                <a:lnTo>
                  <a:pt x="2009" y="1317"/>
                </a:lnTo>
                <a:lnTo>
                  <a:pt x="2009" y="1373"/>
                </a:lnTo>
                <a:lnTo>
                  <a:pt x="2323" y="1373"/>
                </a:lnTo>
                <a:lnTo>
                  <a:pt x="2323" y="1340"/>
                </a:lnTo>
                <a:lnTo>
                  <a:pt x="2324" y="1327"/>
                </a:lnTo>
                <a:lnTo>
                  <a:pt x="2277" y="1327"/>
                </a:lnTo>
                <a:lnTo>
                  <a:pt x="2274" y="1330"/>
                </a:lnTo>
                <a:lnTo>
                  <a:pt x="2271" y="1333"/>
                </a:lnTo>
                <a:lnTo>
                  <a:pt x="2268" y="1336"/>
                </a:lnTo>
                <a:lnTo>
                  <a:pt x="2265" y="1338"/>
                </a:lnTo>
                <a:lnTo>
                  <a:pt x="2261" y="1340"/>
                </a:lnTo>
                <a:lnTo>
                  <a:pt x="2257" y="1341"/>
                </a:lnTo>
                <a:lnTo>
                  <a:pt x="2253" y="1342"/>
                </a:lnTo>
                <a:lnTo>
                  <a:pt x="2249" y="1342"/>
                </a:lnTo>
                <a:lnTo>
                  <a:pt x="2242" y="1341"/>
                </a:lnTo>
                <a:lnTo>
                  <a:pt x="2239" y="1341"/>
                </a:lnTo>
                <a:lnTo>
                  <a:pt x="2236" y="1339"/>
                </a:lnTo>
                <a:lnTo>
                  <a:pt x="2233" y="1338"/>
                </a:lnTo>
                <a:lnTo>
                  <a:pt x="2231" y="1336"/>
                </a:lnTo>
                <a:lnTo>
                  <a:pt x="2228" y="1335"/>
                </a:lnTo>
                <a:lnTo>
                  <a:pt x="2226" y="1332"/>
                </a:lnTo>
                <a:lnTo>
                  <a:pt x="2222" y="1328"/>
                </a:lnTo>
                <a:lnTo>
                  <a:pt x="2220" y="1325"/>
                </a:lnTo>
                <a:lnTo>
                  <a:pt x="2219" y="1322"/>
                </a:lnTo>
                <a:lnTo>
                  <a:pt x="2217" y="1316"/>
                </a:lnTo>
                <a:lnTo>
                  <a:pt x="2216" y="1312"/>
                </a:lnTo>
                <a:lnTo>
                  <a:pt x="2216" y="1309"/>
                </a:lnTo>
                <a:lnTo>
                  <a:pt x="2217" y="1302"/>
                </a:lnTo>
                <a:lnTo>
                  <a:pt x="2217" y="1299"/>
                </a:lnTo>
                <a:lnTo>
                  <a:pt x="2219" y="1296"/>
                </a:lnTo>
                <a:lnTo>
                  <a:pt x="2220" y="1293"/>
                </a:lnTo>
                <a:lnTo>
                  <a:pt x="2222" y="1291"/>
                </a:lnTo>
                <a:lnTo>
                  <a:pt x="2224" y="1288"/>
                </a:lnTo>
                <a:lnTo>
                  <a:pt x="2226" y="1286"/>
                </a:lnTo>
                <a:lnTo>
                  <a:pt x="2231" y="1282"/>
                </a:lnTo>
                <a:lnTo>
                  <a:pt x="2233" y="1280"/>
                </a:lnTo>
                <a:lnTo>
                  <a:pt x="2236" y="1279"/>
                </a:lnTo>
                <a:lnTo>
                  <a:pt x="2242" y="1277"/>
                </a:lnTo>
                <a:lnTo>
                  <a:pt x="2246" y="1276"/>
                </a:lnTo>
                <a:lnTo>
                  <a:pt x="2249" y="1276"/>
                </a:lnTo>
                <a:lnTo>
                  <a:pt x="2253" y="1276"/>
                </a:lnTo>
                <a:lnTo>
                  <a:pt x="2257" y="1277"/>
                </a:lnTo>
                <a:lnTo>
                  <a:pt x="2261" y="1279"/>
                </a:lnTo>
                <a:lnTo>
                  <a:pt x="2265" y="1280"/>
                </a:lnTo>
                <a:lnTo>
                  <a:pt x="2268" y="1282"/>
                </a:lnTo>
                <a:lnTo>
                  <a:pt x="2271" y="1285"/>
                </a:lnTo>
                <a:lnTo>
                  <a:pt x="2274" y="1288"/>
                </a:lnTo>
                <a:lnTo>
                  <a:pt x="2277" y="1291"/>
                </a:lnTo>
                <a:lnTo>
                  <a:pt x="2331" y="1291"/>
                </a:lnTo>
                <a:lnTo>
                  <a:pt x="2337" y="1278"/>
                </a:lnTo>
                <a:lnTo>
                  <a:pt x="2340" y="1271"/>
                </a:lnTo>
                <a:lnTo>
                  <a:pt x="2343" y="1265"/>
                </a:lnTo>
                <a:lnTo>
                  <a:pt x="2347" y="1259"/>
                </a:lnTo>
                <a:lnTo>
                  <a:pt x="2351" y="1253"/>
                </a:lnTo>
                <a:lnTo>
                  <a:pt x="2355" y="1247"/>
                </a:lnTo>
                <a:lnTo>
                  <a:pt x="2359" y="1242"/>
                </a:lnTo>
                <a:lnTo>
                  <a:pt x="2364" y="1236"/>
                </a:lnTo>
                <a:lnTo>
                  <a:pt x="2369" y="1231"/>
                </a:lnTo>
                <a:lnTo>
                  <a:pt x="2380" y="1222"/>
                </a:lnTo>
                <a:lnTo>
                  <a:pt x="2391" y="1213"/>
                </a:lnTo>
                <a:lnTo>
                  <a:pt x="2397" y="1210"/>
                </a:lnTo>
                <a:lnTo>
                  <a:pt x="2403" y="1206"/>
                </a:lnTo>
                <a:lnTo>
                  <a:pt x="2403" y="1180"/>
                </a:lnTo>
                <a:lnTo>
                  <a:pt x="2351" y="1180"/>
                </a:lnTo>
                <a:lnTo>
                  <a:pt x="2351" y="1144"/>
                </a:lnTo>
                <a:lnTo>
                  <a:pt x="2403" y="1144"/>
                </a:lnTo>
                <a:lnTo>
                  <a:pt x="2403" y="1107"/>
                </a:lnTo>
                <a:lnTo>
                  <a:pt x="2562" y="1107"/>
                </a:lnTo>
                <a:lnTo>
                  <a:pt x="2562" y="1144"/>
                </a:lnTo>
                <a:lnTo>
                  <a:pt x="2614" y="1144"/>
                </a:lnTo>
                <a:lnTo>
                  <a:pt x="2614" y="1180"/>
                </a:lnTo>
                <a:lnTo>
                  <a:pt x="2562" y="1180"/>
                </a:lnTo>
                <a:lnTo>
                  <a:pt x="2562" y="1206"/>
                </a:lnTo>
                <a:lnTo>
                  <a:pt x="2570" y="1211"/>
                </a:lnTo>
                <a:lnTo>
                  <a:pt x="2579" y="1217"/>
                </a:lnTo>
                <a:lnTo>
                  <a:pt x="2587" y="1223"/>
                </a:lnTo>
                <a:lnTo>
                  <a:pt x="2594" y="1230"/>
                </a:lnTo>
                <a:lnTo>
                  <a:pt x="2601" y="1237"/>
                </a:lnTo>
                <a:lnTo>
                  <a:pt x="2608" y="1244"/>
                </a:lnTo>
                <a:lnTo>
                  <a:pt x="2614" y="1253"/>
                </a:lnTo>
                <a:lnTo>
                  <a:pt x="2619" y="1261"/>
                </a:lnTo>
                <a:lnTo>
                  <a:pt x="2624" y="1270"/>
                </a:lnTo>
                <a:lnTo>
                  <a:pt x="2629" y="1279"/>
                </a:lnTo>
                <a:lnTo>
                  <a:pt x="2633" y="1288"/>
                </a:lnTo>
                <a:lnTo>
                  <a:pt x="2636" y="1298"/>
                </a:lnTo>
                <a:lnTo>
                  <a:pt x="2638" y="1308"/>
                </a:lnTo>
                <a:lnTo>
                  <a:pt x="2640" y="1319"/>
                </a:lnTo>
                <a:lnTo>
                  <a:pt x="2641" y="1329"/>
                </a:lnTo>
                <a:lnTo>
                  <a:pt x="2642" y="1340"/>
                </a:lnTo>
                <a:lnTo>
                  <a:pt x="2642" y="1373"/>
                </a:lnTo>
                <a:lnTo>
                  <a:pt x="2806" y="1373"/>
                </a:lnTo>
                <a:lnTo>
                  <a:pt x="2806" y="1423"/>
                </a:lnTo>
                <a:lnTo>
                  <a:pt x="2770" y="1423"/>
                </a:lnTo>
                <a:lnTo>
                  <a:pt x="2770" y="1484"/>
                </a:lnTo>
                <a:lnTo>
                  <a:pt x="2757" y="1484"/>
                </a:lnTo>
                <a:lnTo>
                  <a:pt x="2757" y="1495"/>
                </a:lnTo>
                <a:lnTo>
                  <a:pt x="2895" y="1495"/>
                </a:lnTo>
                <a:lnTo>
                  <a:pt x="2895" y="1473"/>
                </a:lnTo>
                <a:lnTo>
                  <a:pt x="2882" y="1473"/>
                </a:lnTo>
                <a:lnTo>
                  <a:pt x="2882" y="1443"/>
                </a:lnTo>
                <a:lnTo>
                  <a:pt x="2895" y="1443"/>
                </a:lnTo>
                <a:lnTo>
                  <a:pt x="2895" y="1366"/>
                </a:lnTo>
                <a:lnTo>
                  <a:pt x="2882" y="1366"/>
                </a:lnTo>
                <a:lnTo>
                  <a:pt x="2882" y="1336"/>
                </a:lnTo>
                <a:lnTo>
                  <a:pt x="2895" y="1336"/>
                </a:lnTo>
                <a:lnTo>
                  <a:pt x="2895" y="1302"/>
                </a:lnTo>
                <a:lnTo>
                  <a:pt x="2882" y="1302"/>
                </a:lnTo>
                <a:lnTo>
                  <a:pt x="2882" y="1281"/>
                </a:lnTo>
                <a:lnTo>
                  <a:pt x="2877" y="1277"/>
                </a:lnTo>
                <a:lnTo>
                  <a:pt x="2872" y="1271"/>
                </a:lnTo>
                <a:lnTo>
                  <a:pt x="2868" y="1266"/>
                </a:lnTo>
                <a:lnTo>
                  <a:pt x="2864" y="1259"/>
                </a:lnTo>
                <a:lnTo>
                  <a:pt x="2861" y="1253"/>
                </a:lnTo>
                <a:lnTo>
                  <a:pt x="2859" y="1246"/>
                </a:lnTo>
                <a:lnTo>
                  <a:pt x="2858" y="1239"/>
                </a:lnTo>
                <a:lnTo>
                  <a:pt x="2858" y="1231"/>
                </a:lnTo>
                <a:lnTo>
                  <a:pt x="2858" y="1225"/>
                </a:lnTo>
                <a:lnTo>
                  <a:pt x="2859" y="1218"/>
                </a:lnTo>
                <a:lnTo>
                  <a:pt x="2861" y="1212"/>
                </a:lnTo>
                <a:lnTo>
                  <a:pt x="2863" y="1206"/>
                </a:lnTo>
                <a:lnTo>
                  <a:pt x="2865" y="1201"/>
                </a:lnTo>
                <a:lnTo>
                  <a:pt x="2869" y="1195"/>
                </a:lnTo>
                <a:lnTo>
                  <a:pt x="2872" y="1190"/>
                </a:lnTo>
                <a:lnTo>
                  <a:pt x="2876" y="1186"/>
                </a:lnTo>
                <a:lnTo>
                  <a:pt x="2881" y="1182"/>
                </a:lnTo>
                <a:lnTo>
                  <a:pt x="2886" y="1178"/>
                </a:lnTo>
                <a:lnTo>
                  <a:pt x="2891" y="1175"/>
                </a:lnTo>
                <a:lnTo>
                  <a:pt x="2897" y="1172"/>
                </a:lnTo>
                <a:lnTo>
                  <a:pt x="2903" y="1170"/>
                </a:lnTo>
                <a:lnTo>
                  <a:pt x="2906" y="1169"/>
                </a:lnTo>
                <a:lnTo>
                  <a:pt x="2909" y="1168"/>
                </a:lnTo>
                <a:lnTo>
                  <a:pt x="2915" y="1167"/>
                </a:lnTo>
                <a:lnTo>
                  <a:pt x="2922" y="1167"/>
                </a:lnTo>
                <a:lnTo>
                  <a:pt x="2928" y="1167"/>
                </a:lnTo>
                <a:lnTo>
                  <a:pt x="2935" y="1168"/>
                </a:lnTo>
                <a:lnTo>
                  <a:pt x="2941" y="1170"/>
                </a:lnTo>
                <a:lnTo>
                  <a:pt x="2947" y="1172"/>
                </a:lnTo>
                <a:lnTo>
                  <a:pt x="2952" y="1175"/>
                </a:lnTo>
                <a:lnTo>
                  <a:pt x="2958" y="1178"/>
                </a:lnTo>
                <a:lnTo>
                  <a:pt x="2963" y="1182"/>
                </a:lnTo>
                <a:lnTo>
                  <a:pt x="2967" y="1186"/>
                </a:lnTo>
                <a:lnTo>
                  <a:pt x="2971" y="1190"/>
                </a:lnTo>
                <a:lnTo>
                  <a:pt x="2975" y="1195"/>
                </a:lnTo>
                <a:lnTo>
                  <a:pt x="2978" y="1201"/>
                </a:lnTo>
                <a:lnTo>
                  <a:pt x="2981" y="1206"/>
                </a:lnTo>
                <a:lnTo>
                  <a:pt x="2983" y="1212"/>
                </a:lnTo>
                <a:lnTo>
                  <a:pt x="2984" y="1215"/>
                </a:lnTo>
                <a:lnTo>
                  <a:pt x="2985" y="1218"/>
                </a:lnTo>
                <a:lnTo>
                  <a:pt x="2986" y="1225"/>
                </a:lnTo>
                <a:lnTo>
                  <a:pt x="2986" y="1231"/>
                </a:lnTo>
                <a:lnTo>
                  <a:pt x="2986" y="1239"/>
                </a:lnTo>
                <a:lnTo>
                  <a:pt x="2984" y="1246"/>
                </a:lnTo>
                <a:lnTo>
                  <a:pt x="2982" y="1253"/>
                </a:lnTo>
                <a:lnTo>
                  <a:pt x="2979" y="1259"/>
                </a:lnTo>
                <a:lnTo>
                  <a:pt x="2976" y="1266"/>
                </a:lnTo>
                <a:lnTo>
                  <a:pt x="2972" y="1271"/>
                </a:lnTo>
                <a:lnTo>
                  <a:pt x="2967" y="1277"/>
                </a:lnTo>
                <a:lnTo>
                  <a:pt x="2962" y="1281"/>
                </a:lnTo>
                <a:lnTo>
                  <a:pt x="2962" y="1302"/>
                </a:lnTo>
                <a:lnTo>
                  <a:pt x="2948" y="1302"/>
                </a:lnTo>
                <a:lnTo>
                  <a:pt x="2948" y="1336"/>
                </a:lnTo>
                <a:lnTo>
                  <a:pt x="2962" y="1336"/>
                </a:lnTo>
                <a:lnTo>
                  <a:pt x="2962" y="1366"/>
                </a:lnTo>
                <a:lnTo>
                  <a:pt x="2948" y="1366"/>
                </a:lnTo>
                <a:lnTo>
                  <a:pt x="2948" y="1386"/>
                </a:lnTo>
                <a:lnTo>
                  <a:pt x="3082" y="1386"/>
                </a:lnTo>
                <a:lnTo>
                  <a:pt x="3082" y="1423"/>
                </a:lnTo>
                <a:lnTo>
                  <a:pt x="2948" y="1423"/>
                </a:lnTo>
                <a:lnTo>
                  <a:pt x="2948" y="1443"/>
                </a:lnTo>
                <a:lnTo>
                  <a:pt x="2962" y="1443"/>
                </a:lnTo>
                <a:lnTo>
                  <a:pt x="2962" y="1473"/>
                </a:lnTo>
                <a:lnTo>
                  <a:pt x="2948" y="1473"/>
                </a:lnTo>
                <a:lnTo>
                  <a:pt x="2948" y="1495"/>
                </a:lnTo>
                <a:lnTo>
                  <a:pt x="3102" y="1495"/>
                </a:lnTo>
                <a:lnTo>
                  <a:pt x="3102" y="1625"/>
                </a:lnTo>
                <a:lnTo>
                  <a:pt x="2757" y="1625"/>
                </a:lnTo>
                <a:lnTo>
                  <a:pt x="2757" y="2142"/>
                </a:lnTo>
                <a:lnTo>
                  <a:pt x="2770" y="2142"/>
                </a:lnTo>
                <a:lnTo>
                  <a:pt x="2770" y="2215"/>
                </a:lnTo>
                <a:lnTo>
                  <a:pt x="2757" y="2215"/>
                </a:lnTo>
                <a:lnTo>
                  <a:pt x="2757" y="2246"/>
                </a:lnTo>
                <a:lnTo>
                  <a:pt x="2780" y="2246"/>
                </a:lnTo>
                <a:lnTo>
                  <a:pt x="2780" y="2235"/>
                </a:lnTo>
                <a:lnTo>
                  <a:pt x="2812" y="2235"/>
                </a:lnTo>
                <a:lnTo>
                  <a:pt x="2812" y="2299"/>
                </a:lnTo>
                <a:lnTo>
                  <a:pt x="2780" y="2299"/>
                </a:lnTo>
                <a:lnTo>
                  <a:pt x="2780" y="2288"/>
                </a:lnTo>
                <a:lnTo>
                  <a:pt x="2678" y="2288"/>
                </a:lnTo>
                <a:lnTo>
                  <a:pt x="2678" y="2299"/>
                </a:lnTo>
                <a:lnTo>
                  <a:pt x="2646" y="2299"/>
                </a:lnTo>
                <a:lnTo>
                  <a:pt x="2646" y="2288"/>
                </a:lnTo>
                <a:lnTo>
                  <a:pt x="2625" y="2288"/>
                </a:lnTo>
                <a:lnTo>
                  <a:pt x="2625" y="2367"/>
                </a:lnTo>
                <a:lnTo>
                  <a:pt x="3083" y="2367"/>
                </a:lnTo>
                <a:lnTo>
                  <a:pt x="3085" y="2363"/>
                </a:lnTo>
                <a:lnTo>
                  <a:pt x="3087" y="2359"/>
                </a:lnTo>
                <a:lnTo>
                  <a:pt x="3090" y="2355"/>
                </a:lnTo>
                <a:lnTo>
                  <a:pt x="3093" y="2352"/>
                </a:lnTo>
                <a:lnTo>
                  <a:pt x="3099" y="2345"/>
                </a:lnTo>
                <a:lnTo>
                  <a:pt x="3106" y="2340"/>
                </a:lnTo>
                <a:lnTo>
                  <a:pt x="3114" y="2335"/>
                </a:lnTo>
                <a:lnTo>
                  <a:pt x="3118" y="2333"/>
                </a:lnTo>
                <a:lnTo>
                  <a:pt x="3123" y="2332"/>
                </a:lnTo>
                <a:lnTo>
                  <a:pt x="3127" y="2331"/>
                </a:lnTo>
                <a:lnTo>
                  <a:pt x="3132" y="2330"/>
                </a:lnTo>
                <a:lnTo>
                  <a:pt x="3141" y="2329"/>
                </a:lnTo>
                <a:lnTo>
                  <a:pt x="3148" y="2329"/>
                </a:lnTo>
                <a:lnTo>
                  <a:pt x="3154" y="2330"/>
                </a:lnTo>
                <a:lnTo>
                  <a:pt x="3160" y="2332"/>
                </a:lnTo>
                <a:lnTo>
                  <a:pt x="3166" y="2334"/>
                </a:lnTo>
                <a:lnTo>
                  <a:pt x="3171" y="2337"/>
                </a:lnTo>
                <a:lnTo>
                  <a:pt x="3176" y="2340"/>
                </a:lnTo>
                <a:lnTo>
                  <a:pt x="3181" y="2344"/>
                </a:lnTo>
                <a:lnTo>
                  <a:pt x="3186" y="2348"/>
                </a:lnTo>
                <a:lnTo>
                  <a:pt x="3190" y="2352"/>
                </a:lnTo>
                <a:lnTo>
                  <a:pt x="3193" y="2357"/>
                </a:lnTo>
                <a:lnTo>
                  <a:pt x="3197" y="2362"/>
                </a:lnTo>
                <a:lnTo>
                  <a:pt x="3199" y="2368"/>
                </a:lnTo>
                <a:lnTo>
                  <a:pt x="3201" y="2373"/>
                </a:lnTo>
                <a:lnTo>
                  <a:pt x="3203" y="2379"/>
                </a:lnTo>
                <a:lnTo>
                  <a:pt x="3204" y="2386"/>
                </a:lnTo>
                <a:lnTo>
                  <a:pt x="3204" y="2392"/>
                </a:lnTo>
                <a:lnTo>
                  <a:pt x="3204" y="2399"/>
                </a:lnTo>
                <a:lnTo>
                  <a:pt x="3203" y="2405"/>
                </a:lnTo>
                <a:lnTo>
                  <a:pt x="3201" y="2411"/>
                </a:lnTo>
                <a:lnTo>
                  <a:pt x="3199" y="2417"/>
                </a:lnTo>
                <a:lnTo>
                  <a:pt x="3197" y="2422"/>
                </a:lnTo>
                <a:lnTo>
                  <a:pt x="3193" y="2427"/>
                </a:lnTo>
                <a:lnTo>
                  <a:pt x="3190" y="2432"/>
                </a:lnTo>
                <a:lnTo>
                  <a:pt x="3186" y="2437"/>
                </a:lnTo>
                <a:lnTo>
                  <a:pt x="3181" y="2441"/>
                </a:lnTo>
                <a:lnTo>
                  <a:pt x="3176" y="2444"/>
                </a:lnTo>
                <a:lnTo>
                  <a:pt x="3171" y="2448"/>
                </a:lnTo>
                <a:lnTo>
                  <a:pt x="3166" y="2450"/>
                </a:lnTo>
                <a:lnTo>
                  <a:pt x="3160" y="2452"/>
                </a:lnTo>
                <a:lnTo>
                  <a:pt x="3154" y="2454"/>
                </a:lnTo>
                <a:lnTo>
                  <a:pt x="3148" y="2455"/>
                </a:lnTo>
                <a:lnTo>
                  <a:pt x="3141" y="2455"/>
                </a:lnTo>
                <a:lnTo>
                  <a:pt x="3133" y="2455"/>
                </a:lnTo>
                <a:lnTo>
                  <a:pt x="3125" y="2453"/>
                </a:lnTo>
                <a:lnTo>
                  <a:pt x="3117" y="2450"/>
                </a:lnTo>
                <a:lnTo>
                  <a:pt x="3110" y="2447"/>
                </a:lnTo>
                <a:lnTo>
                  <a:pt x="2958" y="2555"/>
                </a:lnTo>
                <a:lnTo>
                  <a:pt x="2334" y="2555"/>
                </a:lnTo>
                <a:lnTo>
                  <a:pt x="1602" y="2555"/>
                </a:lnTo>
                <a:lnTo>
                  <a:pt x="870" y="2555"/>
                </a:lnTo>
                <a:lnTo>
                  <a:pt x="246" y="2555"/>
                </a:lnTo>
                <a:lnTo>
                  <a:pt x="94" y="2447"/>
                </a:lnTo>
                <a:lnTo>
                  <a:pt x="87" y="2450"/>
                </a:lnTo>
                <a:lnTo>
                  <a:pt x="83" y="2452"/>
                </a:lnTo>
                <a:lnTo>
                  <a:pt x="80" y="2453"/>
                </a:lnTo>
                <a:lnTo>
                  <a:pt x="76" y="2454"/>
                </a:lnTo>
                <a:lnTo>
                  <a:pt x="72" y="2455"/>
                </a:lnTo>
                <a:lnTo>
                  <a:pt x="63" y="2455"/>
                </a:lnTo>
                <a:lnTo>
                  <a:pt x="57" y="2455"/>
                </a:lnTo>
                <a:lnTo>
                  <a:pt x="50" y="2454"/>
                </a:lnTo>
                <a:lnTo>
                  <a:pt x="44" y="2452"/>
                </a:lnTo>
                <a:lnTo>
                  <a:pt x="39" y="2450"/>
                </a:lnTo>
                <a:lnTo>
                  <a:pt x="33" y="2448"/>
                </a:lnTo>
                <a:lnTo>
                  <a:pt x="28" y="2444"/>
                </a:lnTo>
                <a:lnTo>
                  <a:pt x="23" y="2441"/>
                </a:lnTo>
                <a:lnTo>
                  <a:pt x="19" y="2437"/>
                </a:lnTo>
                <a:lnTo>
                  <a:pt x="15" y="2432"/>
                </a:lnTo>
                <a:lnTo>
                  <a:pt x="11" y="2427"/>
                </a:lnTo>
                <a:lnTo>
                  <a:pt x="8" y="2422"/>
                </a:lnTo>
                <a:lnTo>
                  <a:pt x="5" y="2417"/>
                </a:lnTo>
                <a:lnTo>
                  <a:pt x="3" y="2411"/>
                </a:lnTo>
                <a:lnTo>
                  <a:pt x="1" y="2405"/>
                </a:lnTo>
                <a:lnTo>
                  <a:pt x="0" y="2399"/>
                </a:lnTo>
                <a:lnTo>
                  <a:pt x="0" y="2392"/>
                </a:lnTo>
                <a:lnTo>
                  <a:pt x="0" y="2386"/>
                </a:lnTo>
                <a:lnTo>
                  <a:pt x="1" y="2379"/>
                </a:lnTo>
                <a:lnTo>
                  <a:pt x="3" y="2373"/>
                </a:lnTo>
                <a:lnTo>
                  <a:pt x="5" y="2368"/>
                </a:lnTo>
                <a:lnTo>
                  <a:pt x="8" y="2362"/>
                </a:lnTo>
                <a:lnTo>
                  <a:pt x="11" y="2357"/>
                </a:lnTo>
                <a:lnTo>
                  <a:pt x="15" y="2352"/>
                </a:lnTo>
                <a:lnTo>
                  <a:pt x="19" y="2348"/>
                </a:lnTo>
                <a:lnTo>
                  <a:pt x="23" y="2344"/>
                </a:lnTo>
                <a:lnTo>
                  <a:pt x="28" y="2340"/>
                </a:lnTo>
                <a:lnTo>
                  <a:pt x="33" y="2337"/>
                </a:lnTo>
                <a:lnTo>
                  <a:pt x="39" y="2334"/>
                </a:lnTo>
                <a:lnTo>
                  <a:pt x="44" y="2332"/>
                </a:lnTo>
                <a:lnTo>
                  <a:pt x="50" y="2330"/>
                </a:lnTo>
                <a:lnTo>
                  <a:pt x="57" y="2329"/>
                </a:lnTo>
                <a:lnTo>
                  <a:pt x="63" y="2329"/>
                </a:lnTo>
                <a:lnTo>
                  <a:pt x="73" y="2330"/>
                </a:lnTo>
                <a:lnTo>
                  <a:pt x="82" y="2332"/>
                </a:lnTo>
                <a:lnTo>
                  <a:pt x="90" y="2335"/>
                </a:lnTo>
                <a:lnTo>
                  <a:pt x="94" y="2337"/>
                </a:lnTo>
                <a:lnTo>
                  <a:pt x="98" y="2340"/>
                </a:lnTo>
                <a:lnTo>
                  <a:pt x="102" y="2342"/>
                </a:lnTo>
                <a:lnTo>
                  <a:pt x="105" y="2345"/>
                </a:lnTo>
                <a:lnTo>
                  <a:pt x="111" y="2352"/>
                </a:lnTo>
                <a:lnTo>
                  <a:pt x="114" y="2355"/>
                </a:lnTo>
                <a:lnTo>
                  <a:pt x="117" y="2359"/>
                </a:lnTo>
                <a:lnTo>
                  <a:pt x="121" y="2367"/>
                </a:lnTo>
                <a:close/>
              </a:path>
            </a:pathLst>
          </a:custGeom>
          <a:solidFill>
            <a:schemeClr val="tx1"/>
          </a:solidFill>
          <a:ln w="6350">
            <a:solidFill>
              <a:schemeClr val="bg1"/>
            </a:solid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endParaRPr>
          </a:p>
        </p:txBody>
      </p:sp>
      <p:cxnSp>
        <p:nvCxnSpPr>
          <p:cNvPr id="180" name="Straight Connector 179">
            <a:extLst>
              <a:ext uri="{FF2B5EF4-FFF2-40B4-BE49-F238E27FC236}">
                <a16:creationId xmlns:a16="http://schemas.microsoft.com/office/drawing/2014/main" id="{91A93257-769D-5A34-A47A-768916BC0DCC}"/>
              </a:ext>
            </a:extLst>
          </p:cNvPr>
          <p:cNvCxnSpPr/>
          <p:nvPr/>
        </p:nvCxnSpPr>
        <p:spPr>
          <a:xfrm>
            <a:off x="8011880" y="6360585"/>
            <a:ext cx="439604" cy="0"/>
          </a:xfrm>
          <a:prstGeom prst="line">
            <a:avLst/>
          </a:prstGeom>
          <a:noFill/>
          <a:ln w="12700" cap="flat" cmpd="sng" algn="ctr">
            <a:solidFill>
              <a:srgbClr val="747480"/>
            </a:solidFill>
            <a:prstDash val="solid"/>
            <a:round/>
            <a:headEnd type="none" w="med" len="med"/>
            <a:tailEnd type="none" w="med" len="med"/>
          </a:ln>
          <a:effectLst/>
        </p:spPr>
      </p:cxnSp>
      <p:sp>
        <p:nvSpPr>
          <p:cNvPr id="322" name="Freeform: Shape 321">
            <a:extLst>
              <a:ext uri="{FF2B5EF4-FFF2-40B4-BE49-F238E27FC236}">
                <a16:creationId xmlns:a16="http://schemas.microsoft.com/office/drawing/2014/main" id="{0E84F574-7F4E-D4F8-FD8E-5B9029FFBBCC}"/>
              </a:ext>
            </a:extLst>
          </p:cNvPr>
          <p:cNvSpPr>
            <a:spLocks noChangeArrowheads="1"/>
          </p:cNvSpPr>
          <p:nvPr/>
        </p:nvSpPr>
        <p:spPr bwMode="auto">
          <a:xfrm>
            <a:off x="8140027" y="6306146"/>
            <a:ext cx="168885" cy="107910"/>
          </a:xfrm>
          <a:custGeom>
            <a:avLst/>
            <a:gdLst>
              <a:gd name="connsiteX0" fmla="*/ 66098 w 168885"/>
              <a:gd name="connsiteY0" fmla="*/ 0 h 107910"/>
              <a:gd name="connsiteX1" fmla="*/ 102787 w 168885"/>
              <a:gd name="connsiteY1" fmla="*/ 0 h 107910"/>
              <a:gd name="connsiteX2" fmla="*/ 108346 w 168885"/>
              <a:gd name="connsiteY2" fmla="*/ 562 h 107910"/>
              <a:gd name="connsiteX3" fmla="*/ 113349 w 168885"/>
              <a:gd name="connsiteY3" fmla="*/ 1124 h 107910"/>
              <a:gd name="connsiteX4" fmla="*/ 118908 w 168885"/>
              <a:gd name="connsiteY4" fmla="*/ 2810 h 107910"/>
              <a:gd name="connsiteX5" fmla="*/ 123355 w 168885"/>
              <a:gd name="connsiteY5" fmla="*/ 4496 h 107910"/>
              <a:gd name="connsiteX6" fmla="*/ 128358 w 168885"/>
              <a:gd name="connsiteY6" fmla="*/ 6744 h 107910"/>
              <a:gd name="connsiteX7" fmla="*/ 132805 w 168885"/>
              <a:gd name="connsiteY7" fmla="*/ 9554 h 107910"/>
              <a:gd name="connsiteX8" fmla="*/ 136696 w 168885"/>
              <a:gd name="connsiteY8" fmla="*/ 12364 h 107910"/>
              <a:gd name="connsiteX9" fmla="*/ 140587 w 168885"/>
              <a:gd name="connsiteY9" fmla="*/ 15737 h 107910"/>
              <a:gd name="connsiteX10" fmla="*/ 144479 w 168885"/>
              <a:gd name="connsiteY10" fmla="*/ 19671 h 107910"/>
              <a:gd name="connsiteX11" fmla="*/ 146146 w 168885"/>
              <a:gd name="connsiteY11" fmla="*/ 21919 h 107910"/>
              <a:gd name="connsiteX12" fmla="*/ 147258 w 168885"/>
              <a:gd name="connsiteY12" fmla="*/ 24167 h 107910"/>
              <a:gd name="connsiteX13" fmla="*/ 147618 w 168885"/>
              <a:gd name="connsiteY13" fmla="*/ 24653 h 107910"/>
              <a:gd name="connsiteX14" fmla="*/ 168885 w 168885"/>
              <a:gd name="connsiteY14" fmla="*/ 24653 h 107910"/>
              <a:gd name="connsiteX15" fmla="*/ 168885 w 168885"/>
              <a:gd name="connsiteY15" fmla="*/ 83225 h 107910"/>
              <a:gd name="connsiteX16" fmla="*/ 147926 w 168885"/>
              <a:gd name="connsiteY16" fmla="*/ 83225 h 107910"/>
              <a:gd name="connsiteX17" fmla="*/ 147258 w 168885"/>
              <a:gd name="connsiteY17" fmla="*/ 84305 h 107910"/>
              <a:gd name="connsiteX18" fmla="*/ 144479 w 168885"/>
              <a:gd name="connsiteY18" fmla="*/ 88239 h 107910"/>
              <a:gd name="connsiteX19" fmla="*/ 142811 w 168885"/>
              <a:gd name="connsiteY19" fmla="*/ 90487 h 107910"/>
              <a:gd name="connsiteX20" fmla="*/ 140587 w 168885"/>
              <a:gd name="connsiteY20" fmla="*/ 92173 h 107910"/>
              <a:gd name="connsiteX21" fmla="*/ 136696 w 168885"/>
              <a:gd name="connsiteY21" fmla="*/ 95546 h 107910"/>
              <a:gd name="connsiteX22" fmla="*/ 132805 w 168885"/>
              <a:gd name="connsiteY22" fmla="*/ 98918 h 107910"/>
              <a:gd name="connsiteX23" fmla="*/ 128358 w 168885"/>
              <a:gd name="connsiteY23" fmla="*/ 101728 h 107910"/>
              <a:gd name="connsiteX24" fmla="*/ 123355 w 168885"/>
              <a:gd name="connsiteY24" fmla="*/ 103976 h 107910"/>
              <a:gd name="connsiteX25" fmla="*/ 118908 w 168885"/>
              <a:gd name="connsiteY25" fmla="*/ 105662 h 107910"/>
              <a:gd name="connsiteX26" fmla="*/ 113349 w 168885"/>
              <a:gd name="connsiteY26" fmla="*/ 106786 h 107910"/>
              <a:gd name="connsiteX27" fmla="*/ 108346 w 168885"/>
              <a:gd name="connsiteY27" fmla="*/ 107910 h 107910"/>
              <a:gd name="connsiteX28" fmla="*/ 102787 w 168885"/>
              <a:gd name="connsiteY28" fmla="*/ 107910 h 107910"/>
              <a:gd name="connsiteX29" fmla="*/ 66098 w 168885"/>
              <a:gd name="connsiteY29" fmla="*/ 107910 h 107910"/>
              <a:gd name="connsiteX30" fmla="*/ 60539 w 168885"/>
              <a:gd name="connsiteY30" fmla="*/ 107910 h 107910"/>
              <a:gd name="connsiteX31" fmla="*/ 55536 w 168885"/>
              <a:gd name="connsiteY31" fmla="*/ 106786 h 107910"/>
              <a:gd name="connsiteX32" fmla="*/ 49977 w 168885"/>
              <a:gd name="connsiteY32" fmla="*/ 105662 h 107910"/>
              <a:gd name="connsiteX33" fmla="*/ 45530 w 168885"/>
              <a:gd name="connsiteY33" fmla="*/ 103976 h 107910"/>
              <a:gd name="connsiteX34" fmla="*/ 40527 w 168885"/>
              <a:gd name="connsiteY34" fmla="*/ 101728 h 107910"/>
              <a:gd name="connsiteX35" fmla="*/ 36080 w 168885"/>
              <a:gd name="connsiteY35" fmla="*/ 98918 h 107910"/>
              <a:gd name="connsiteX36" fmla="*/ 32188 w 168885"/>
              <a:gd name="connsiteY36" fmla="*/ 95546 h 107910"/>
              <a:gd name="connsiteX37" fmla="*/ 28297 w 168885"/>
              <a:gd name="connsiteY37" fmla="*/ 92173 h 107910"/>
              <a:gd name="connsiteX38" fmla="*/ 24406 w 168885"/>
              <a:gd name="connsiteY38" fmla="*/ 88239 h 107910"/>
              <a:gd name="connsiteX39" fmla="*/ 22738 w 168885"/>
              <a:gd name="connsiteY39" fmla="*/ 86553 h 107910"/>
              <a:gd name="connsiteX40" fmla="*/ 21626 w 168885"/>
              <a:gd name="connsiteY40" fmla="*/ 84305 h 107910"/>
              <a:gd name="connsiteX41" fmla="*/ 20826 w 168885"/>
              <a:gd name="connsiteY41" fmla="*/ 83225 h 107910"/>
              <a:gd name="connsiteX42" fmla="*/ 0 w 168885"/>
              <a:gd name="connsiteY42" fmla="*/ 83225 h 107910"/>
              <a:gd name="connsiteX43" fmla="*/ 0 w 168885"/>
              <a:gd name="connsiteY43" fmla="*/ 24653 h 107910"/>
              <a:gd name="connsiteX44" fmla="*/ 21326 w 168885"/>
              <a:gd name="connsiteY44" fmla="*/ 24653 h 107910"/>
              <a:gd name="connsiteX45" fmla="*/ 21626 w 168885"/>
              <a:gd name="connsiteY45" fmla="*/ 24167 h 107910"/>
              <a:gd name="connsiteX46" fmla="*/ 24406 w 168885"/>
              <a:gd name="connsiteY46" fmla="*/ 19671 h 107910"/>
              <a:gd name="connsiteX47" fmla="*/ 26074 w 168885"/>
              <a:gd name="connsiteY47" fmla="*/ 17985 h 107910"/>
              <a:gd name="connsiteX48" fmla="*/ 28297 w 168885"/>
              <a:gd name="connsiteY48" fmla="*/ 15737 h 107910"/>
              <a:gd name="connsiteX49" fmla="*/ 32188 w 168885"/>
              <a:gd name="connsiteY49" fmla="*/ 12364 h 107910"/>
              <a:gd name="connsiteX50" fmla="*/ 36080 w 168885"/>
              <a:gd name="connsiteY50" fmla="*/ 9554 h 107910"/>
              <a:gd name="connsiteX51" fmla="*/ 40527 w 168885"/>
              <a:gd name="connsiteY51" fmla="*/ 6744 h 107910"/>
              <a:gd name="connsiteX52" fmla="*/ 45530 w 168885"/>
              <a:gd name="connsiteY52" fmla="*/ 4496 h 107910"/>
              <a:gd name="connsiteX53" fmla="*/ 49977 w 168885"/>
              <a:gd name="connsiteY53" fmla="*/ 2810 h 107910"/>
              <a:gd name="connsiteX54" fmla="*/ 55536 w 168885"/>
              <a:gd name="connsiteY54" fmla="*/ 1124 h 107910"/>
              <a:gd name="connsiteX55" fmla="*/ 60539 w 168885"/>
              <a:gd name="connsiteY55" fmla="*/ 562 h 107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68885" h="107910">
                <a:moveTo>
                  <a:pt x="66098" y="0"/>
                </a:moveTo>
                <a:lnTo>
                  <a:pt x="102787" y="0"/>
                </a:lnTo>
                <a:lnTo>
                  <a:pt x="108346" y="562"/>
                </a:lnTo>
                <a:lnTo>
                  <a:pt x="113349" y="1124"/>
                </a:lnTo>
                <a:lnTo>
                  <a:pt x="118908" y="2810"/>
                </a:lnTo>
                <a:lnTo>
                  <a:pt x="123355" y="4496"/>
                </a:lnTo>
                <a:lnTo>
                  <a:pt x="128358" y="6744"/>
                </a:lnTo>
                <a:lnTo>
                  <a:pt x="132805" y="9554"/>
                </a:lnTo>
                <a:lnTo>
                  <a:pt x="136696" y="12364"/>
                </a:lnTo>
                <a:lnTo>
                  <a:pt x="140587" y="15737"/>
                </a:lnTo>
                <a:lnTo>
                  <a:pt x="144479" y="19671"/>
                </a:lnTo>
                <a:lnTo>
                  <a:pt x="146146" y="21919"/>
                </a:lnTo>
                <a:lnTo>
                  <a:pt x="147258" y="24167"/>
                </a:lnTo>
                <a:lnTo>
                  <a:pt x="147618" y="24653"/>
                </a:lnTo>
                <a:lnTo>
                  <a:pt x="168885" y="24653"/>
                </a:lnTo>
                <a:lnTo>
                  <a:pt x="168885" y="83225"/>
                </a:lnTo>
                <a:lnTo>
                  <a:pt x="147926" y="83225"/>
                </a:lnTo>
                <a:lnTo>
                  <a:pt x="147258" y="84305"/>
                </a:lnTo>
                <a:lnTo>
                  <a:pt x="144479" y="88239"/>
                </a:lnTo>
                <a:lnTo>
                  <a:pt x="142811" y="90487"/>
                </a:lnTo>
                <a:lnTo>
                  <a:pt x="140587" y="92173"/>
                </a:lnTo>
                <a:lnTo>
                  <a:pt x="136696" y="95546"/>
                </a:lnTo>
                <a:lnTo>
                  <a:pt x="132805" y="98918"/>
                </a:lnTo>
                <a:lnTo>
                  <a:pt x="128358" y="101728"/>
                </a:lnTo>
                <a:lnTo>
                  <a:pt x="123355" y="103976"/>
                </a:lnTo>
                <a:lnTo>
                  <a:pt x="118908" y="105662"/>
                </a:lnTo>
                <a:lnTo>
                  <a:pt x="113349" y="106786"/>
                </a:lnTo>
                <a:lnTo>
                  <a:pt x="108346" y="107910"/>
                </a:lnTo>
                <a:lnTo>
                  <a:pt x="102787" y="107910"/>
                </a:lnTo>
                <a:lnTo>
                  <a:pt x="66098" y="107910"/>
                </a:lnTo>
                <a:lnTo>
                  <a:pt x="60539" y="107910"/>
                </a:lnTo>
                <a:lnTo>
                  <a:pt x="55536" y="106786"/>
                </a:lnTo>
                <a:lnTo>
                  <a:pt x="49977" y="105662"/>
                </a:lnTo>
                <a:lnTo>
                  <a:pt x="45530" y="103976"/>
                </a:lnTo>
                <a:lnTo>
                  <a:pt x="40527" y="101728"/>
                </a:lnTo>
                <a:lnTo>
                  <a:pt x="36080" y="98918"/>
                </a:lnTo>
                <a:lnTo>
                  <a:pt x="32188" y="95546"/>
                </a:lnTo>
                <a:lnTo>
                  <a:pt x="28297" y="92173"/>
                </a:lnTo>
                <a:lnTo>
                  <a:pt x="24406" y="88239"/>
                </a:lnTo>
                <a:lnTo>
                  <a:pt x="22738" y="86553"/>
                </a:lnTo>
                <a:lnTo>
                  <a:pt x="21626" y="84305"/>
                </a:lnTo>
                <a:lnTo>
                  <a:pt x="20826" y="83225"/>
                </a:lnTo>
                <a:lnTo>
                  <a:pt x="0" y="83225"/>
                </a:lnTo>
                <a:lnTo>
                  <a:pt x="0" y="24653"/>
                </a:lnTo>
                <a:lnTo>
                  <a:pt x="21326" y="24653"/>
                </a:lnTo>
                <a:lnTo>
                  <a:pt x="21626" y="24167"/>
                </a:lnTo>
                <a:lnTo>
                  <a:pt x="24406" y="19671"/>
                </a:lnTo>
                <a:lnTo>
                  <a:pt x="26074" y="17985"/>
                </a:lnTo>
                <a:lnTo>
                  <a:pt x="28297" y="15737"/>
                </a:lnTo>
                <a:lnTo>
                  <a:pt x="32188" y="12364"/>
                </a:lnTo>
                <a:lnTo>
                  <a:pt x="36080" y="9554"/>
                </a:lnTo>
                <a:lnTo>
                  <a:pt x="40527" y="6744"/>
                </a:lnTo>
                <a:lnTo>
                  <a:pt x="45530" y="4496"/>
                </a:lnTo>
                <a:lnTo>
                  <a:pt x="49977" y="2810"/>
                </a:lnTo>
                <a:lnTo>
                  <a:pt x="55536" y="1124"/>
                </a:lnTo>
                <a:lnTo>
                  <a:pt x="60539" y="562"/>
                </a:lnTo>
                <a:close/>
              </a:path>
            </a:pathLst>
          </a:custGeom>
          <a:solidFill>
            <a:schemeClr val="tx1"/>
          </a:solidFill>
          <a:ln w="9525">
            <a:solidFill>
              <a:schemeClr val="bg1"/>
            </a:solidFill>
            <a:miter lim="800000"/>
            <a:headEnd/>
            <a:tailEnd/>
          </a:ln>
        </p:spPr>
        <p:txBody>
          <a:bodyPr vert="horz" wrap="square" lIns="68580" tIns="34290" rIns="68580" bIns="3429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endParaRPr>
          </a:p>
        </p:txBody>
      </p:sp>
      <p:cxnSp>
        <p:nvCxnSpPr>
          <p:cNvPr id="182" name="Straight Connector 181">
            <a:extLst>
              <a:ext uri="{FF2B5EF4-FFF2-40B4-BE49-F238E27FC236}">
                <a16:creationId xmlns:a16="http://schemas.microsoft.com/office/drawing/2014/main" id="{09E2EC75-502F-54D0-847C-2D1BC3E95B31}"/>
              </a:ext>
            </a:extLst>
          </p:cNvPr>
          <p:cNvCxnSpPr/>
          <p:nvPr/>
        </p:nvCxnSpPr>
        <p:spPr>
          <a:xfrm flipV="1">
            <a:off x="8574673" y="5785271"/>
            <a:ext cx="0" cy="563112"/>
          </a:xfrm>
          <a:prstGeom prst="line">
            <a:avLst/>
          </a:prstGeom>
          <a:noFill/>
          <a:ln w="12700" cap="flat" cmpd="sng" algn="ctr">
            <a:solidFill>
              <a:srgbClr val="747480"/>
            </a:solidFill>
            <a:prstDash val="solid"/>
            <a:round/>
            <a:headEnd type="none" w="med" len="med"/>
            <a:tailEnd type="none" w="med" len="med"/>
          </a:ln>
          <a:effectLst/>
        </p:spPr>
      </p:cxnSp>
      <p:sp>
        <p:nvSpPr>
          <p:cNvPr id="183" name="TextBox 182">
            <a:extLst>
              <a:ext uri="{FF2B5EF4-FFF2-40B4-BE49-F238E27FC236}">
                <a16:creationId xmlns:a16="http://schemas.microsoft.com/office/drawing/2014/main" id="{933465B1-8834-36F4-EB15-E28FF756AD1F}"/>
              </a:ext>
            </a:extLst>
          </p:cNvPr>
          <p:cNvSpPr txBox="1"/>
          <p:nvPr/>
        </p:nvSpPr>
        <p:spPr>
          <a:xfrm>
            <a:off x="6226190" y="5466380"/>
            <a:ext cx="1002926" cy="157323"/>
          </a:xfrm>
          <a:prstGeom prst="rect">
            <a:avLst/>
          </a:prstGeom>
          <a:noFill/>
        </p:spPr>
        <p:txBody>
          <a:bodyPr wrap="square" lIns="0" tIns="27432" rIns="0" bIns="0" rtlCol="0">
            <a:spAutoFit/>
          </a:bodyPr>
          <a:lstStyle/>
          <a:p>
            <a:pPr marL="0" marR="0" lvl="0" indent="0" algn="ctr" defTabSz="914400" eaLnBrk="1" fontAlgn="auto" latinLnBrk="0" hangingPunct="1">
              <a:lnSpc>
                <a:spcPct val="85000"/>
              </a:lnSpc>
              <a:spcBef>
                <a:spcPts val="0"/>
              </a:spcBef>
              <a:spcAft>
                <a:spcPts val="450"/>
              </a:spcAft>
              <a:buClr>
                <a:srgbClr val="FFD200"/>
              </a:buClr>
              <a:buSzPct val="70000"/>
              <a:buFontTx/>
              <a:buNone/>
              <a:tabLst/>
              <a:defRPr/>
            </a:pPr>
            <a:r>
              <a:rPr kumimoji="0" lang="en-US" sz="800" b="0" i="0" u="none" strike="noStrike" kern="0" cap="none" spc="0" normalizeH="0" baseline="0" noProof="0" dirty="0">
                <a:ln>
                  <a:noFill/>
                </a:ln>
                <a:solidFill>
                  <a:srgbClr val="FFFFFF"/>
                </a:solidFill>
                <a:effectLst/>
                <a:uLnTx/>
                <a:uFillTx/>
              </a:rPr>
              <a:t>Heater treater</a:t>
            </a:r>
          </a:p>
        </p:txBody>
      </p:sp>
      <p:sp>
        <p:nvSpPr>
          <p:cNvPr id="184" name="TextBox 183">
            <a:extLst>
              <a:ext uri="{FF2B5EF4-FFF2-40B4-BE49-F238E27FC236}">
                <a16:creationId xmlns:a16="http://schemas.microsoft.com/office/drawing/2014/main" id="{276EF3EE-6BE0-A98B-51A0-177361EF1762}"/>
              </a:ext>
            </a:extLst>
          </p:cNvPr>
          <p:cNvSpPr txBox="1"/>
          <p:nvPr/>
        </p:nvSpPr>
        <p:spPr>
          <a:xfrm>
            <a:off x="7194777" y="5466380"/>
            <a:ext cx="1002926" cy="157323"/>
          </a:xfrm>
          <a:prstGeom prst="rect">
            <a:avLst/>
          </a:prstGeom>
          <a:noFill/>
        </p:spPr>
        <p:txBody>
          <a:bodyPr wrap="square" lIns="0" tIns="27432" rIns="0" bIns="0" rtlCol="0">
            <a:spAutoFit/>
          </a:bodyPr>
          <a:lstStyle/>
          <a:p>
            <a:pPr marL="0" marR="0" lvl="0" indent="0" algn="ctr" defTabSz="914400" eaLnBrk="1" fontAlgn="auto" latinLnBrk="0" hangingPunct="1">
              <a:lnSpc>
                <a:spcPct val="85000"/>
              </a:lnSpc>
              <a:spcBef>
                <a:spcPts val="0"/>
              </a:spcBef>
              <a:spcAft>
                <a:spcPts val="450"/>
              </a:spcAft>
              <a:buClr>
                <a:srgbClr val="FFD200"/>
              </a:buClr>
              <a:buSzPct val="70000"/>
              <a:buFontTx/>
              <a:buNone/>
              <a:tabLst/>
              <a:defRPr/>
            </a:pPr>
            <a:r>
              <a:rPr kumimoji="0" lang="en-US" sz="800" b="0" i="0" u="none" strike="noStrike" kern="0" cap="none" spc="0" normalizeH="0" baseline="0" noProof="0" dirty="0">
                <a:ln>
                  <a:noFill/>
                </a:ln>
                <a:solidFill>
                  <a:srgbClr val="FFFFFF"/>
                </a:solidFill>
                <a:effectLst/>
                <a:uLnTx/>
                <a:uFillTx/>
              </a:rPr>
              <a:t>Gun barrel</a:t>
            </a:r>
          </a:p>
        </p:txBody>
      </p:sp>
      <p:sp>
        <p:nvSpPr>
          <p:cNvPr id="185" name="Isosceles Triangle 184">
            <a:extLst>
              <a:ext uri="{FF2B5EF4-FFF2-40B4-BE49-F238E27FC236}">
                <a16:creationId xmlns:a16="http://schemas.microsoft.com/office/drawing/2014/main" id="{DC86F5D5-F444-8546-0065-0173457ED806}"/>
              </a:ext>
            </a:extLst>
          </p:cNvPr>
          <p:cNvSpPr>
            <a:spLocks/>
          </p:cNvSpPr>
          <p:nvPr/>
        </p:nvSpPr>
        <p:spPr>
          <a:xfrm rot="10800000">
            <a:off x="710736" y="2918404"/>
            <a:ext cx="104265" cy="90876"/>
          </a:xfrm>
          <a:prstGeom prst="triangle">
            <a:avLst/>
          </a:prstGeom>
          <a:solidFill>
            <a:srgbClr val="FFE600"/>
          </a:solidFill>
          <a:ln w="6350" cap="flat" cmpd="sng" algn="ctr">
            <a:noFill/>
            <a:prstDash val="solid"/>
            <a:round/>
            <a:headEnd type="none" w="med" len="med"/>
            <a:tailEnd type="none" w="med" len="me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ea typeface="+mn-ea"/>
              <a:cs typeface="+mn-cs"/>
            </a:endParaRPr>
          </a:p>
        </p:txBody>
      </p:sp>
      <p:sp>
        <p:nvSpPr>
          <p:cNvPr id="186" name="Isosceles Triangle 185">
            <a:extLst>
              <a:ext uri="{FF2B5EF4-FFF2-40B4-BE49-F238E27FC236}">
                <a16:creationId xmlns:a16="http://schemas.microsoft.com/office/drawing/2014/main" id="{CB0A8BCD-AE68-1117-032E-E66E928D5DA5}"/>
              </a:ext>
            </a:extLst>
          </p:cNvPr>
          <p:cNvSpPr>
            <a:spLocks/>
          </p:cNvSpPr>
          <p:nvPr/>
        </p:nvSpPr>
        <p:spPr>
          <a:xfrm rot="5400000" flipH="1">
            <a:off x="980129" y="3827733"/>
            <a:ext cx="105416" cy="89883"/>
          </a:xfrm>
          <a:prstGeom prst="triangle">
            <a:avLst/>
          </a:prstGeom>
          <a:solidFill>
            <a:srgbClr val="FFE600"/>
          </a:solidFill>
          <a:ln w="6350" cap="flat" cmpd="sng" algn="ctr">
            <a:noFill/>
            <a:prstDash val="solid"/>
            <a:round/>
            <a:headEnd type="none" w="med" len="med"/>
            <a:tailEnd type="none" w="med" len="me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ea typeface="+mn-ea"/>
              <a:cs typeface="+mn-cs"/>
            </a:endParaRPr>
          </a:p>
        </p:txBody>
      </p:sp>
      <p:sp>
        <p:nvSpPr>
          <p:cNvPr id="187" name="Isosceles Triangle 186">
            <a:extLst>
              <a:ext uri="{FF2B5EF4-FFF2-40B4-BE49-F238E27FC236}">
                <a16:creationId xmlns:a16="http://schemas.microsoft.com/office/drawing/2014/main" id="{755B40A7-D8CF-D826-3F72-87079A083DE0}"/>
              </a:ext>
            </a:extLst>
          </p:cNvPr>
          <p:cNvSpPr/>
          <p:nvPr/>
        </p:nvSpPr>
        <p:spPr>
          <a:xfrm rot="10800000">
            <a:off x="9414619" y="5462714"/>
            <a:ext cx="104265" cy="90876"/>
          </a:xfrm>
          <a:prstGeom prst="triangle">
            <a:avLst/>
          </a:prstGeom>
          <a:solidFill>
            <a:srgbClr val="747480"/>
          </a:solidFill>
          <a:ln w="6350" cap="flat" cmpd="sng" algn="ctr">
            <a:noFill/>
            <a:prstDash val="solid"/>
            <a:round/>
            <a:headEnd type="none" w="med" len="med"/>
            <a:tailEnd type="none" w="med" len="me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ea typeface="+mn-ea"/>
              <a:cs typeface="+mn-cs"/>
            </a:endParaRPr>
          </a:p>
        </p:txBody>
      </p:sp>
      <p:sp>
        <p:nvSpPr>
          <p:cNvPr id="188" name="Isosceles Triangle 187">
            <a:extLst>
              <a:ext uri="{FF2B5EF4-FFF2-40B4-BE49-F238E27FC236}">
                <a16:creationId xmlns:a16="http://schemas.microsoft.com/office/drawing/2014/main" id="{A4703002-3D11-0A32-0636-AB1B48F9D16B}"/>
              </a:ext>
            </a:extLst>
          </p:cNvPr>
          <p:cNvSpPr/>
          <p:nvPr/>
        </p:nvSpPr>
        <p:spPr>
          <a:xfrm rot="16200000">
            <a:off x="7982880" y="6315645"/>
            <a:ext cx="105416" cy="89883"/>
          </a:xfrm>
          <a:prstGeom prst="triangle">
            <a:avLst/>
          </a:prstGeom>
          <a:solidFill>
            <a:srgbClr val="747480"/>
          </a:solidFill>
          <a:ln w="6350" cap="flat" cmpd="sng" algn="ctr">
            <a:noFill/>
            <a:prstDash val="solid"/>
            <a:round/>
            <a:headEnd type="none" w="med" len="med"/>
            <a:tailEnd type="none" w="med" len="me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ea typeface="+mn-ea"/>
              <a:cs typeface="+mn-cs"/>
            </a:endParaRPr>
          </a:p>
        </p:txBody>
      </p:sp>
      <p:sp>
        <p:nvSpPr>
          <p:cNvPr id="189" name="Isosceles Triangle 188">
            <a:extLst>
              <a:ext uri="{FF2B5EF4-FFF2-40B4-BE49-F238E27FC236}">
                <a16:creationId xmlns:a16="http://schemas.microsoft.com/office/drawing/2014/main" id="{0E3E6C5F-C8F5-2F10-DCD2-FF2DB118B6DF}"/>
              </a:ext>
            </a:extLst>
          </p:cNvPr>
          <p:cNvSpPr/>
          <p:nvPr/>
        </p:nvSpPr>
        <p:spPr>
          <a:xfrm rot="16200000">
            <a:off x="8971022" y="5744107"/>
            <a:ext cx="105416" cy="89883"/>
          </a:xfrm>
          <a:prstGeom prst="triangle">
            <a:avLst/>
          </a:prstGeom>
          <a:solidFill>
            <a:srgbClr val="747480"/>
          </a:solidFill>
          <a:ln w="6350" cap="flat" cmpd="sng" algn="ctr">
            <a:noFill/>
            <a:prstDash val="solid"/>
            <a:round/>
            <a:headEnd type="none" w="med" len="med"/>
            <a:tailEnd type="none" w="med" len="me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ea typeface="+mn-ea"/>
              <a:cs typeface="+mn-cs"/>
            </a:endParaRPr>
          </a:p>
        </p:txBody>
      </p:sp>
      <p:sp>
        <p:nvSpPr>
          <p:cNvPr id="190" name="Rectangle 294">
            <a:extLst>
              <a:ext uri="{FF2B5EF4-FFF2-40B4-BE49-F238E27FC236}">
                <a16:creationId xmlns:a16="http://schemas.microsoft.com/office/drawing/2014/main" id="{5D74DCFA-90A8-3E97-806A-D9F36865088C}"/>
              </a:ext>
            </a:extLst>
          </p:cNvPr>
          <p:cNvSpPr>
            <a:spLocks noChangeArrowheads="1"/>
          </p:cNvSpPr>
          <p:nvPr/>
        </p:nvSpPr>
        <p:spPr bwMode="auto">
          <a:xfrm>
            <a:off x="6842302" y="2461888"/>
            <a:ext cx="30174" cy="58982"/>
          </a:xfrm>
          <a:prstGeom prst="rect">
            <a:avLst/>
          </a:prstGeom>
          <a:solidFill>
            <a:srgbClr val="C4C4CD"/>
          </a:solidFill>
          <a:ln>
            <a:no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endParaRPr>
          </a:p>
        </p:txBody>
      </p:sp>
      <p:sp>
        <p:nvSpPr>
          <p:cNvPr id="191" name="Rectangle 295">
            <a:extLst>
              <a:ext uri="{FF2B5EF4-FFF2-40B4-BE49-F238E27FC236}">
                <a16:creationId xmlns:a16="http://schemas.microsoft.com/office/drawing/2014/main" id="{F9AC0BD5-1F8C-4C43-8B5B-4AFEB9CA43EE}"/>
              </a:ext>
            </a:extLst>
          </p:cNvPr>
          <p:cNvSpPr>
            <a:spLocks noChangeArrowheads="1"/>
          </p:cNvSpPr>
          <p:nvPr/>
        </p:nvSpPr>
        <p:spPr bwMode="auto">
          <a:xfrm>
            <a:off x="6144277" y="2478160"/>
            <a:ext cx="78452" cy="28474"/>
          </a:xfrm>
          <a:prstGeom prst="rect">
            <a:avLst/>
          </a:prstGeom>
          <a:solidFill>
            <a:srgbClr val="C4C4CD"/>
          </a:solidFill>
          <a:ln>
            <a:no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endParaRPr>
          </a:p>
        </p:txBody>
      </p:sp>
      <p:sp>
        <p:nvSpPr>
          <p:cNvPr id="192" name="Freeform 296">
            <a:extLst>
              <a:ext uri="{FF2B5EF4-FFF2-40B4-BE49-F238E27FC236}">
                <a16:creationId xmlns:a16="http://schemas.microsoft.com/office/drawing/2014/main" id="{B56B5A34-180A-3605-BBA1-8739F9075D55}"/>
              </a:ext>
            </a:extLst>
          </p:cNvPr>
          <p:cNvSpPr>
            <a:spLocks noEditPoints="1"/>
          </p:cNvSpPr>
          <p:nvPr/>
        </p:nvSpPr>
        <p:spPr bwMode="auto">
          <a:xfrm>
            <a:off x="6144277" y="2378502"/>
            <a:ext cx="728198" cy="274566"/>
          </a:xfrm>
          <a:custGeom>
            <a:avLst/>
            <a:gdLst>
              <a:gd name="T0" fmla="*/ 1462 w 1812"/>
              <a:gd name="T1" fmla="*/ 556 h 674"/>
              <a:gd name="T2" fmla="*/ 372 w 1812"/>
              <a:gd name="T3" fmla="*/ 556 h 674"/>
              <a:gd name="T4" fmla="*/ 916 w 1812"/>
              <a:gd name="T5" fmla="*/ 627 h 674"/>
              <a:gd name="T6" fmla="*/ 1508 w 1812"/>
              <a:gd name="T7" fmla="*/ 556 h 674"/>
              <a:gd name="T8" fmla="*/ 1812 w 1812"/>
              <a:gd name="T9" fmla="*/ 627 h 674"/>
              <a:gd name="T10" fmla="*/ 906 w 1812"/>
              <a:gd name="T11" fmla="*/ 674 h 674"/>
              <a:gd name="T12" fmla="*/ 0 w 1812"/>
              <a:gd name="T13" fmla="*/ 627 h 674"/>
              <a:gd name="T14" fmla="*/ 326 w 1812"/>
              <a:gd name="T15" fmla="*/ 556 h 674"/>
              <a:gd name="T16" fmla="*/ 232 w 1812"/>
              <a:gd name="T17" fmla="*/ 556 h 674"/>
              <a:gd name="T18" fmla="*/ 223 w 1812"/>
              <a:gd name="T19" fmla="*/ 551 h 674"/>
              <a:gd name="T20" fmla="*/ 206 w 1812"/>
              <a:gd name="T21" fmla="*/ 541 h 674"/>
              <a:gd name="T22" fmla="*/ 193 w 1812"/>
              <a:gd name="T23" fmla="*/ 530 h 674"/>
              <a:gd name="T24" fmla="*/ 177 w 1812"/>
              <a:gd name="T25" fmla="*/ 513 h 674"/>
              <a:gd name="T26" fmla="*/ 160 w 1812"/>
              <a:gd name="T27" fmla="*/ 490 h 674"/>
              <a:gd name="T28" fmla="*/ 143 w 1812"/>
              <a:gd name="T29" fmla="*/ 463 h 674"/>
              <a:gd name="T30" fmla="*/ 129 w 1812"/>
              <a:gd name="T31" fmla="*/ 435 h 674"/>
              <a:gd name="T32" fmla="*/ 108 w 1812"/>
              <a:gd name="T33" fmla="*/ 379 h 674"/>
              <a:gd name="T34" fmla="*/ 65 w 1812"/>
              <a:gd name="T35" fmla="*/ 353 h 674"/>
              <a:gd name="T36" fmla="*/ 99 w 1812"/>
              <a:gd name="T37" fmla="*/ 205 h 674"/>
              <a:gd name="T38" fmla="*/ 108 w 1812"/>
              <a:gd name="T39" fmla="*/ 179 h 674"/>
              <a:gd name="T40" fmla="*/ 123 w 1812"/>
              <a:gd name="T41" fmla="*/ 137 h 674"/>
              <a:gd name="T42" fmla="*/ 136 w 1812"/>
              <a:gd name="T43" fmla="*/ 108 h 674"/>
              <a:gd name="T44" fmla="*/ 152 w 1812"/>
              <a:gd name="T45" fmla="*/ 80 h 674"/>
              <a:gd name="T46" fmla="*/ 169 w 1812"/>
              <a:gd name="T47" fmla="*/ 54 h 674"/>
              <a:gd name="T48" fmla="*/ 185 w 1812"/>
              <a:gd name="T49" fmla="*/ 35 h 674"/>
              <a:gd name="T50" fmla="*/ 200 w 1812"/>
              <a:gd name="T51" fmla="*/ 21 h 674"/>
              <a:gd name="T52" fmla="*/ 213 w 1812"/>
              <a:gd name="T53" fmla="*/ 11 h 674"/>
              <a:gd name="T54" fmla="*/ 227 w 1812"/>
              <a:gd name="T55" fmla="*/ 3 h 674"/>
              <a:gd name="T56" fmla="*/ 235 w 1812"/>
              <a:gd name="T57" fmla="*/ 0 h 674"/>
              <a:gd name="T58" fmla="*/ 1617 w 1812"/>
              <a:gd name="T59" fmla="*/ 0 h 674"/>
              <a:gd name="T60" fmla="*/ 1626 w 1812"/>
              <a:gd name="T61" fmla="*/ 3 h 674"/>
              <a:gd name="T62" fmla="*/ 1635 w 1812"/>
              <a:gd name="T63" fmla="*/ 8 h 674"/>
              <a:gd name="T64" fmla="*/ 1653 w 1812"/>
              <a:gd name="T65" fmla="*/ 21 h 674"/>
              <a:gd name="T66" fmla="*/ 1667 w 1812"/>
              <a:gd name="T67" fmla="*/ 35 h 674"/>
              <a:gd name="T68" fmla="*/ 1684 w 1812"/>
              <a:gd name="T69" fmla="*/ 54 h 674"/>
              <a:gd name="T70" fmla="*/ 1701 w 1812"/>
              <a:gd name="T71" fmla="*/ 80 h 674"/>
              <a:gd name="T72" fmla="*/ 1718 w 1812"/>
              <a:gd name="T73" fmla="*/ 111 h 674"/>
              <a:gd name="T74" fmla="*/ 1738 w 1812"/>
              <a:gd name="T75" fmla="*/ 159 h 674"/>
              <a:gd name="T76" fmla="*/ 1753 w 1812"/>
              <a:gd name="T77" fmla="*/ 205 h 674"/>
              <a:gd name="T78" fmla="*/ 1762 w 1812"/>
              <a:gd name="T79" fmla="*/ 242 h 674"/>
              <a:gd name="T80" fmla="*/ 1768 w 1812"/>
              <a:gd name="T81" fmla="*/ 278 h 674"/>
              <a:gd name="T82" fmla="*/ 1762 w 1812"/>
              <a:gd name="T83" fmla="*/ 314 h 674"/>
              <a:gd name="T84" fmla="*/ 1753 w 1812"/>
              <a:gd name="T85" fmla="*/ 353 h 674"/>
              <a:gd name="T86" fmla="*/ 1744 w 1812"/>
              <a:gd name="T87" fmla="*/ 382 h 674"/>
              <a:gd name="T88" fmla="*/ 1733 w 1812"/>
              <a:gd name="T89" fmla="*/ 413 h 674"/>
              <a:gd name="T90" fmla="*/ 1718 w 1812"/>
              <a:gd name="T91" fmla="*/ 447 h 674"/>
              <a:gd name="T92" fmla="*/ 1701 w 1812"/>
              <a:gd name="T93" fmla="*/ 478 h 674"/>
              <a:gd name="T94" fmla="*/ 1684 w 1812"/>
              <a:gd name="T95" fmla="*/ 503 h 674"/>
              <a:gd name="T96" fmla="*/ 1667 w 1812"/>
              <a:gd name="T97" fmla="*/ 521 h 674"/>
              <a:gd name="T98" fmla="*/ 1653 w 1812"/>
              <a:gd name="T99" fmla="*/ 536 h 674"/>
              <a:gd name="T100" fmla="*/ 1640 w 1812"/>
              <a:gd name="T101" fmla="*/ 545 h 674"/>
              <a:gd name="T102" fmla="*/ 1626 w 1812"/>
              <a:gd name="T103" fmla="*/ 554 h 674"/>
              <a:gd name="T104" fmla="*/ 1617 w 1812"/>
              <a:gd name="T105" fmla="*/ 556 h 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12" h="674">
                <a:moveTo>
                  <a:pt x="1462" y="627"/>
                </a:moveTo>
                <a:lnTo>
                  <a:pt x="1462" y="556"/>
                </a:lnTo>
                <a:lnTo>
                  <a:pt x="916" y="556"/>
                </a:lnTo>
                <a:lnTo>
                  <a:pt x="372" y="556"/>
                </a:lnTo>
                <a:lnTo>
                  <a:pt x="372" y="627"/>
                </a:lnTo>
                <a:lnTo>
                  <a:pt x="916" y="627"/>
                </a:lnTo>
                <a:lnTo>
                  <a:pt x="1462" y="627"/>
                </a:lnTo>
                <a:close/>
                <a:moveTo>
                  <a:pt x="1508" y="556"/>
                </a:moveTo>
                <a:lnTo>
                  <a:pt x="1508" y="627"/>
                </a:lnTo>
                <a:lnTo>
                  <a:pt x="1812" y="627"/>
                </a:lnTo>
                <a:lnTo>
                  <a:pt x="1812" y="674"/>
                </a:lnTo>
                <a:lnTo>
                  <a:pt x="906" y="674"/>
                </a:lnTo>
                <a:lnTo>
                  <a:pt x="0" y="674"/>
                </a:lnTo>
                <a:lnTo>
                  <a:pt x="0" y="627"/>
                </a:lnTo>
                <a:lnTo>
                  <a:pt x="326" y="627"/>
                </a:lnTo>
                <a:lnTo>
                  <a:pt x="326" y="556"/>
                </a:lnTo>
                <a:lnTo>
                  <a:pt x="235" y="556"/>
                </a:lnTo>
                <a:lnTo>
                  <a:pt x="232" y="556"/>
                </a:lnTo>
                <a:lnTo>
                  <a:pt x="227" y="554"/>
                </a:lnTo>
                <a:lnTo>
                  <a:pt x="223" y="551"/>
                </a:lnTo>
                <a:lnTo>
                  <a:pt x="219" y="549"/>
                </a:lnTo>
                <a:lnTo>
                  <a:pt x="206" y="541"/>
                </a:lnTo>
                <a:lnTo>
                  <a:pt x="200" y="536"/>
                </a:lnTo>
                <a:lnTo>
                  <a:pt x="193" y="530"/>
                </a:lnTo>
                <a:lnTo>
                  <a:pt x="185" y="521"/>
                </a:lnTo>
                <a:lnTo>
                  <a:pt x="177" y="513"/>
                </a:lnTo>
                <a:lnTo>
                  <a:pt x="169" y="503"/>
                </a:lnTo>
                <a:lnTo>
                  <a:pt x="160" y="490"/>
                </a:lnTo>
                <a:lnTo>
                  <a:pt x="152" y="478"/>
                </a:lnTo>
                <a:lnTo>
                  <a:pt x="143" y="463"/>
                </a:lnTo>
                <a:lnTo>
                  <a:pt x="136" y="448"/>
                </a:lnTo>
                <a:lnTo>
                  <a:pt x="129" y="435"/>
                </a:lnTo>
                <a:lnTo>
                  <a:pt x="117" y="406"/>
                </a:lnTo>
                <a:lnTo>
                  <a:pt x="108" y="379"/>
                </a:lnTo>
                <a:lnTo>
                  <a:pt x="99" y="353"/>
                </a:lnTo>
                <a:lnTo>
                  <a:pt x="65" y="353"/>
                </a:lnTo>
                <a:lnTo>
                  <a:pt x="65" y="205"/>
                </a:lnTo>
                <a:lnTo>
                  <a:pt x="99" y="205"/>
                </a:lnTo>
                <a:lnTo>
                  <a:pt x="103" y="191"/>
                </a:lnTo>
                <a:lnTo>
                  <a:pt x="108" y="179"/>
                </a:lnTo>
                <a:lnTo>
                  <a:pt x="117" y="150"/>
                </a:lnTo>
                <a:lnTo>
                  <a:pt x="123" y="137"/>
                </a:lnTo>
                <a:lnTo>
                  <a:pt x="129" y="123"/>
                </a:lnTo>
                <a:lnTo>
                  <a:pt x="136" y="108"/>
                </a:lnTo>
                <a:lnTo>
                  <a:pt x="143" y="95"/>
                </a:lnTo>
                <a:lnTo>
                  <a:pt x="152" y="80"/>
                </a:lnTo>
                <a:lnTo>
                  <a:pt x="160" y="66"/>
                </a:lnTo>
                <a:lnTo>
                  <a:pt x="169" y="54"/>
                </a:lnTo>
                <a:lnTo>
                  <a:pt x="177" y="44"/>
                </a:lnTo>
                <a:lnTo>
                  <a:pt x="185" y="35"/>
                </a:lnTo>
                <a:lnTo>
                  <a:pt x="193" y="28"/>
                </a:lnTo>
                <a:lnTo>
                  <a:pt x="200" y="21"/>
                </a:lnTo>
                <a:lnTo>
                  <a:pt x="206" y="15"/>
                </a:lnTo>
                <a:lnTo>
                  <a:pt x="213" y="11"/>
                </a:lnTo>
                <a:lnTo>
                  <a:pt x="219" y="8"/>
                </a:lnTo>
                <a:lnTo>
                  <a:pt x="227" y="3"/>
                </a:lnTo>
                <a:lnTo>
                  <a:pt x="232" y="1"/>
                </a:lnTo>
                <a:lnTo>
                  <a:pt x="235" y="0"/>
                </a:lnTo>
                <a:lnTo>
                  <a:pt x="926" y="0"/>
                </a:lnTo>
                <a:lnTo>
                  <a:pt x="1617" y="0"/>
                </a:lnTo>
                <a:lnTo>
                  <a:pt x="1620" y="1"/>
                </a:lnTo>
                <a:lnTo>
                  <a:pt x="1626" y="3"/>
                </a:lnTo>
                <a:lnTo>
                  <a:pt x="1630" y="5"/>
                </a:lnTo>
                <a:lnTo>
                  <a:pt x="1635" y="8"/>
                </a:lnTo>
                <a:lnTo>
                  <a:pt x="1646" y="15"/>
                </a:lnTo>
                <a:lnTo>
                  <a:pt x="1653" y="21"/>
                </a:lnTo>
                <a:lnTo>
                  <a:pt x="1660" y="28"/>
                </a:lnTo>
                <a:lnTo>
                  <a:pt x="1667" y="35"/>
                </a:lnTo>
                <a:lnTo>
                  <a:pt x="1676" y="44"/>
                </a:lnTo>
                <a:lnTo>
                  <a:pt x="1684" y="54"/>
                </a:lnTo>
                <a:lnTo>
                  <a:pt x="1692" y="66"/>
                </a:lnTo>
                <a:lnTo>
                  <a:pt x="1701" y="80"/>
                </a:lnTo>
                <a:lnTo>
                  <a:pt x="1709" y="95"/>
                </a:lnTo>
                <a:lnTo>
                  <a:pt x="1718" y="111"/>
                </a:lnTo>
                <a:lnTo>
                  <a:pt x="1725" y="127"/>
                </a:lnTo>
                <a:lnTo>
                  <a:pt x="1738" y="159"/>
                </a:lnTo>
                <a:lnTo>
                  <a:pt x="1749" y="190"/>
                </a:lnTo>
                <a:lnTo>
                  <a:pt x="1753" y="205"/>
                </a:lnTo>
                <a:lnTo>
                  <a:pt x="1757" y="219"/>
                </a:lnTo>
                <a:lnTo>
                  <a:pt x="1762" y="242"/>
                </a:lnTo>
                <a:lnTo>
                  <a:pt x="1765" y="262"/>
                </a:lnTo>
                <a:lnTo>
                  <a:pt x="1768" y="278"/>
                </a:lnTo>
                <a:lnTo>
                  <a:pt x="1765" y="296"/>
                </a:lnTo>
                <a:lnTo>
                  <a:pt x="1762" y="314"/>
                </a:lnTo>
                <a:lnTo>
                  <a:pt x="1757" y="339"/>
                </a:lnTo>
                <a:lnTo>
                  <a:pt x="1753" y="353"/>
                </a:lnTo>
                <a:lnTo>
                  <a:pt x="1749" y="366"/>
                </a:lnTo>
                <a:lnTo>
                  <a:pt x="1744" y="382"/>
                </a:lnTo>
                <a:lnTo>
                  <a:pt x="1738" y="397"/>
                </a:lnTo>
                <a:lnTo>
                  <a:pt x="1733" y="413"/>
                </a:lnTo>
                <a:lnTo>
                  <a:pt x="1725" y="430"/>
                </a:lnTo>
                <a:lnTo>
                  <a:pt x="1718" y="447"/>
                </a:lnTo>
                <a:lnTo>
                  <a:pt x="1709" y="463"/>
                </a:lnTo>
                <a:lnTo>
                  <a:pt x="1701" y="478"/>
                </a:lnTo>
                <a:lnTo>
                  <a:pt x="1692" y="490"/>
                </a:lnTo>
                <a:lnTo>
                  <a:pt x="1684" y="503"/>
                </a:lnTo>
                <a:lnTo>
                  <a:pt x="1676" y="513"/>
                </a:lnTo>
                <a:lnTo>
                  <a:pt x="1667" y="521"/>
                </a:lnTo>
                <a:lnTo>
                  <a:pt x="1660" y="530"/>
                </a:lnTo>
                <a:lnTo>
                  <a:pt x="1653" y="536"/>
                </a:lnTo>
                <a:lnTo>
                  <a:pt x="1646" y="541"/>
                </a:lnTo>
                <a:lnTo>
                  <a:pt x="1640" y="545"/>
                </a:lnTo>
                <a:lnTo>
                  <a:pt x="1635" y="549"/>
                </a:lnTo>
                <a:lnTo>
                  <a:pt x="1626" y="554"/>
                </a:lnTo>
                <a:lnTo>
                  <a:pt x="1620" y="556"/>
                </a:lnTo>
                <a:lnTo>
                  <a:pt x="1617" y="556"/>
                </a:lnTo>
                <a:lnTo>
                  <a:pt x="1508" y="556"/>
                </a:lnTo>
                <a:close/>
              </a:path>
            </a:pathLst>
          </a:custGeom>
          <a:solidFill>
            <a:schemeClr val="tx1"/>
          </a:solidFill>
          <a:ln>
            <a:solidFill>
              <a:schemeClr val="bg1"/>
            </a:solid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endParaRPr>
          </a:p>
        </p:txBody>
      </p:sp>
      <p:sp>
        <p:nvSpPr>
          <p:cNvPr id="193" name="TextBox 192">
            <a:extLst>
              <a:ext uri="{FF2B5EF4-FFF2-40B4-BE49-F238E27FC236}">
                <a16:creationId xmlns:a16="http://schemas.microsoft.com/office/drawing/2014/main" id="{4864DE3C-4E8C-486E-1C4A-24828CA5DEDF}"/>
              </a:ext>
            </a:extLst>
          </p:cNvPr>
          <p:cNvSpPr txBox="1"/>
          <p:nvPr/>
        </p:nvSpPr>
        <p:spPr>
          <a:xfrm>
            <a:off x="6144277" y="2679781"/>
            <a:ext cx="724047" cy="157323"/>
          </a:xfrm>
          <a:prstGeom prst="rect">
            <a:avLst/>
          </a:prstGeom>
          <a:noFill/>
        </p:spPr>
        <p:txBody>
          <a:bodyPr wrap="square" lIns="0" tIns="27432" rIns="0" bIns="0" rtlCol="0">
            <a:spAutoFit/>
          </a:bodyPr>
          <a:lstStyle/>
          <a:p>
            <a:pPr marL="0" marR="0" lvl="0" indent="0" algn="ctr" defTabSz="914400" eaLnBrk="1" fontAlgn="auto" latinLnBrk="0" hangingPunct="1">
              <a:lnSpc>
                <a:spcPct val="85000"/>
              </a:lnSpc>
              <a:spcBef>
                <a:spcPts val="0"/>
              </a:spcBef>
              <a:spcAft>
                <a:spcPts val="450"/>
              </a:spcAft>
              <a:buClr>
                <a:srgbClr val="FFD200"/>
              </a:buClr>
              <a:buSzPct val="70000"/>
              <a:buFontTx/>
              <a:buNone/>
              <a:tabLst/>
              <a:defRPr/>
            </a:pPr>
            <a:r>
              <a:rPr kumimoji="0" lang="en-US" sz="800" b="0" i="0" u="none" strike="noStrike" kern="0" cap="none" spc="0" normalizeH="0" baseline="0" noProof="0" dirty="0">
                <a:ln>
                  <a:noFill/>
                </a:ln>
                <a:solidFill>
                  <a:srgbClr val="FFFFFF"/>
                </a:solidFill>
                <a:effectLst/>
                <a:uLnTx/>
                <a:uFillTx/>
              </a:rPr>
              <a:t>Scrubber</a:t>
            </a:r>
          </a:p>
        </p:txBody>
      </p:sp>
      <p:sp>
        <p:nvSpPr>
          <p:cNvPr id="194" name="Isosceles Triangle 193">
            <a:extLst>
              <a:ext uri="{FF2B5EF4-FFF2-40B4-BE49-F238E27FC236}">
                <a16:creationId xmlns:a16="http://schemas.microsoft.com/office/drawing/2014/main" id="{1E8A247D-9606-5731-CB40-F621901829A1}"/>
              </a:ext>
            </a:extLst>
          </p:cNvPr>
          <p:cNvSpPr/>
          <p:nvPr/>
        </p:nvSpPr>
        <p:spPr>
          <a:xfrm rot="5400000" flipH="1">
            <a:off x="3266032" y="4669347"/>
            <a:ext cx="105416" cy="89883"/>
          </a:xfrm>
          <a:prstGeom prst="triangle">
            <a:avLst/>
          </a:prstGeom>
          <a:solidFill>
            <a:srgbClr val="747480"/>
          </a:solidFill>
          <a:ln w="6350" cap="flat" cmpd="sng" algn="ctr">
            <a:noFill/>
            <a:prstDash val="solid"/>
            <a:round/>
            <a:headEnd type="none" w="med" len="med"/>
            <a:tailEnd type="none" w="med" len="me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ea typeface="+mn-ea"/>
              <a:cs typeface="+mn-cs"/>
            </a:endParaRPr>
          </a:p>
        </p:txBody>
      </p:sp>
      <p:cxnSp>
        <p:nvCxnSpPr>
          <p:cNvPr id="283" name="Straight Connector 282">
            <a:extLst>
              <a:ext uri="{FF2B5EF4-FFF2-40B4-BE49-F238E27FC236}">
                <a16:creationId xmlns:a16="http://schemas.microsoft.com/office/drawing/2014/main" id="{E69618BC-FA3E-2D1E-CE67-6289C74E377B}"/>
              </a:ext>
            </a:extLst>
          </p:cNvPr>
          <p:cNvCxnSpPr>
            <a:cxnSpLocks/>
          </p:cNvCxnSpPr>
          <p:nvPr/>
        </p:nvCxnSpPr>
        <p:spPr>
          <a:xfrm>
            <a:off x="10496960" y="1663966"/>
            <a:ext cx="0" cy="4976256"/>
          </a:xfrm>
          <a:prstGeom prst="line">
            <a:avLst/>
          </a:prstGeom>
          <a:ln w="9525" cap="flat" cmpd="sng" algn="ctr">
            <a:solidFill>
              <a:schemeClr val="bg1"/>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285" name="Graphic 284">
            <a:extLst>
              <a:ext uri="{FF2B5EF4-FFF2-40B4-BE49-F238E27FC236}">
                <a16:creationId xmlns:a16="http://schemas.microsoft.com/office/drawing/2014/main" id="{E7870CC0-CDC5-C879-5C7F-16480446071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1695949" y="2290004"/>
            <a:ext cx="547188" cy="547188"/>
          </a:xfrm>
          <a:prstGeom prst="rect">
            <a:avLst/>
          </a:prstGeom>
        </p:spPr>
      </p:pic>
      <p:pic>
        <p:nvPicPr>
          <p:cNvPr id="286" name="Graphic 285">
            <a:extLst>
              <a:ext uri="{FF2B5EF4-FFF2-40B4-BE49-F238E27FC236}">
                <a16:creationId xmlns:a16="http://schemas.microsoft.com/office/drawing/2014/main" id="{7D793C5D-4054-9D10-B1CB-967EE2B4609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1695949" y="4006258"/>
            <a:ext cx="547188" cy="547188"/>
          </a:xfrm>
          <a:prstGeom prst="rect">
            <a:avLst/>
          </a:prstGeom>
        </p:spPr>
      </p:pic>
      <p:pic>
        <p:nvPicPr>
          <p:cNvPr id="288" name="Graphic 287">
            <a:extLst>
              <a:ext uri="{FF2B5EF4-FFF2-40B4-BE49-F238E27FC236}">
                <a16:creationId xmlns:a16="http://schemas.microsoft.com/office/drawing/2014/main" id="{052F3F10-B27F-BCAB-E52D-D653C199FC2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flipH="1">
            <a:off x="7252081" y="6188232"/>
            <a:ext cx="563180" cy="391097"/>
          </a:xfrm>
          <a:prstGeom prst="rect">
            <a:avLst/>
          </a:prstGeom>
        </p:spPr>
      </p:pic>
      <p:grpSp>
        <p:nvGrpSpPr>
          <p:cNvPr id="292" name="Group 291">
            <a:extLst>
              <a:ext uri="{FF2B5EF4-FFF2-40B4-BE49-F238E27FC236}">
                <a16:creationId xmlns:a16="http://schemas.microsoft.com/office/drawing/2014/main" id="{F6F8447B-F584-801D-F9AD-B33D98CA3EB5}"/>
              </a:ext>
            </a:extLst>
          </p:cNvPr>
          <p:cNvGrpSpPr/>
          <p:nvPr/>
        </p:nvGrpSpPr>
        <p:grpSpPr>
          <a:xfrm>
            <a:off x="5270500" y="2479676"/>
            <a:ext cx="663576" cy="663574"/>
            <a:chOff x="5308600" y="2479676"/>
            <a:chExt cx="663576" cy="663574"/>
          </a:xfrm>
        </p:grpSpPr>
        <p:sp>
          <p:nvSpPr>
            <p:cNvPr id="291" name="Rectangle 290">
              <a:extLst>
                <a:ext uri="{FF2B5EF4-FFF2-40B4-BE49-F238E27FC236}">
                  <a16:creationId xmlns:a16="http://schemas.microsoft.com/office/drawing/2014/main" id="{6728AEDF-D324-5805-5FB4-E4F3595D2B15}"/>
                </a:ext>
              </a:extLst>
            </p:cNvPr>
            <p:cNvSpPr>
              <a:spLocks/>
            </p:cNvSpPr>
            <p:nvPr/>
          </p:nvSpPr>
          <p:spPr>
            <a:xfrm>
              <a:off x="5337175" y="2543176"/>
              <a:ext cx="606425" cy="536574"/>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pic>
          <p:nvPicPr>
            <p:cNvPr id="290" name="Graphic 289" descr="Factory outline">
              <a:extLst>
                <a:ext uri="{FF2B5EF4-FFF2-40B4-BE49-F238E27FC236}">
                  <a16:creationId xmlns:a16="http://schemas.microsoft.com/office/drawing/2014/main" id="{8D487DC1-0DF9-BDC2-76BA-B6DD8D6AF31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308600" y="2479676"/>
              <a:ext cx="663576" cy="663574"/>
            </a:xfrm>
            <a:prstGeom prst="rect">
              <a:avLst/>
            </a:prstGeom>
          </p:spPr>
        </p:pic>
      </p:grpSp>
      <p:grpSp>
        <p:nvGrpSpPr>
          <p:cNvPr id="297" name="Group 296">
            <a:extLst>
              <a:ext uri="{FF2B5EF4-FFF2-40B4-BE49-F238E27FC236}">
                <a16:creationId xmlns:a16="http://schemas.microsoft.com/office/drawing/2014/main" id="{8FDEEA81-1B1A-6438-5377-3B64101D4DA1}"/>
              </a:ext>
            </a:extLst>
          </p:cNvPr>
          <p:cNvGrpSpPr/>
          <p:nvPr/>
        </p:nvGrpSpPr>
        <p:grpSpPr>
          <a:xfrm>
            <a:off x="8914942" y="2699025"/>
            <a:ext cx="462342" cy="662822"/>
            <a:chOff x="8914942" y="2699025"/>
            <a:chExt cx="462342" cy="662822"/>
          </a:xfrm>
        </p:grpSpPr>
        <p:sp>
          <p:nvSpPr>
            <p:cNvPr id="262" name="Freeform 29">
              <a:extLst>
                <a:ext uri="{FF2B5EF4-FFF2-40B4-BE49-F238E27FC236}">
                  <a16:creationId xmlns:a16="http://schemas.microsoft.com/office/drawing/2014/main" id="{1F536099-C5A5-1E9E-4CE0-82BC1B109555}"/>
                </a:ext>
              </a:extLst>
            </p:cNvPr>
            <p:cNvSpPr>
              <a:spLocks noEditPoints="1"/>
            </p:cNvSpPr>
            <p:nvPr/>
          </p:nvSpPr>
          <p:spPr bwMode="auto">
            <a:xfrm>
              <a:off x="8914942" y="2699025"/>
              <a:ext cx="462342" cy="662822"/>
            </a:xfrm>
            <a:custGeom>
              <a:avLst/>
              <a:gdLst>
                <a:gd name="T0" fmla="*/ 252 w 646"/>
                <a:gd name="T1" fmla="*/ 878 h 916"/>
                <a:gd name="T2" fmla="*/ 394 w 646"/>
                <a:gd name="T3" fmla="*/ 851 h 916"/>
                <a:gd name="T4" fmla="*/ 366 w 646"/>
                <a:gd name="T5" fmla="*/ 859 h 916"/>
                <a:gd name="T6" fmla="*/ 329 w 646"/>
                <a:gd name="T7" fmla="*/ 866 h 916"/>
                <a:gd name="T8" fmla="*/ 303 w 646"/>
                <a:gd name="T9" fmla="*/ 863 h 916"/>
                <a:gd name="T10" fmla="*/ 267 w 646"/>
                <a:gd name="T11" fmla="*/ 855 h 916"/>
                <a:gd name="T12" fmla="*/ 548 w 646"/>
                <a:gd name="T13" fmla="*/ 526 h 916"/>
                <a:gd name="T14" fmla="*/ 546 w 646"/>
                <a:gd name="T15" fmla="*/ 752 h 916"/>
                <a:gd name="T16" fmla="*/ 537 w 646"/>
                <a:gd name="T17" fmla="*/ 767 h 916"/>
                <a:gd name="T18" fmla="*/ 528 w 646"/>
                <a:gd name="T19" fmla="*/ 778 h 916"/>
                <a:gd name="T20" fmla="*/ 516 w 646"/>
                <a:gd name="T21" fmla="*/ 790 h 916"/>
                <a:gd name="T22" fmla="*/ 500 w 646"/>
                <a:gd name="T23" fmla="*/ 803 h 916"/>
                <a:gd name="T24" fmla="*/ 478 w 646"/>
                <a:gd name="T25" fmla="*/ 816 h 916"/>
                <a:gd name="T26" fmla="*/ 646 w 646"/>
                <a:gd name="T27" fmla="*/ 878 h 916"/>
                <a:gd name="T28" fmla="*/ 0 w 646"/>
                <a:gd name="T29" fmla="*/ 916 h 916"/>
                <a:gd name="T30" fmla="*/ 169 w 646"/>
                <a:gd name="T31" fmla="*/ 878 h 916"/>
                <a:gd name="T32" fmla="*/ 157 w 646"/>
                <a:gd name="T33" fmla="*/ 809 h 916"/>
                <a:gd name="T34" fmla="*/ 138 w 646"/>
                <a:gd name="T35" fmla="*/ 796 h 916"/>
                <a:gd name="T36" fmla="*/ 124 w 646"/>
                <a:gd name="T37" fmla="*/ 784 h 916"/>
                <a:gd name="T38" fmla="*/ 113 w 646"/>
                <a:gd name="T39" fmla="*/ 772 h 916"/>
                <a:gd name="T40" fmla="*/ 106 w 646"/>
                <a:gd name="T41" fmla="*/ 763 h 916"/>
                <a:gd name="T42" fmla="*/ 100 w 646"/>
                <a:gd name="T43" fmla="*/ 752 h 916"/>
                <a:gd name="T44" fmla="*/ 98 w 646"/>
                <a:gd name="T45" fmla="*/ 526 h 916"/>
                <a:gd name="T46" fmla="*/ 99 w 646"/>
                <a:gd name="T47" fmla="*/ 119 h 916"/>
                <a:gd name="T48" fmla="*/ 102 w 646"/>
                <a:gd name="T49" fmla="*/ 111 h 916"/>
                <a:gd name="T50" fmla="*/ 110 w 646"/>
                <a:gd name="T51" fmla="*/ 98 h 916"/>
                <a:gd name="T52" fmla="*/ 120 w 646"/>
                <a:gd name="T53" fmla="*/ 86 h 916"/>
                <a:gd name="T54" fmla="*/ 133 w 646"/>
                <a:gd name="T55" fmla="*/ 74 h 916"/>
                <a:gd name="T56" fmla="*/ 151 w 646"/>
                <a:gd name="T57" fmla="*/ 60 h 916"/>
                <a:gd name="T58" fmla="*/ 175 w 646"/>
                <a:gd name="T59" fmla="*/ 47 h 916"/>
                <a:gd name="T60" fmla="*/ 201 w 646"/>
                <a:gd name="T61" fmla="*/ 34 h 916"/>
                <a:gd name="T62" fmla="*/ 252 w 646"/>
                <a:gd name="T63" fmla="*/ 15 h 916"/>
                <a:gd name="T64" fmla="*/ 275 w 646"/>
                <a:gd name="T65" fmla="*/ 9 h 916"/>
                <a:gd name="T66" fmla="*/ 310 w 646"/>
                <a:gd name="T67" fmla="*/ 2 h 916"/>
                <a:gd name="T68" fmla="*/ 337 w 646"/>
                <a:gd name="T69" fmla="*/ 2 h 916"/>
                <a:gd name="T70" fmla="*/ 372 w 646"/>
                <a:gd name="T71" fmla="*/ 9 h 916"/>
                <a:gd name="T72" fmla="*/ 395 w 646"/>
                <a:gd name="T73" fmla="*/ 15 h 916"/>
                <a:gd name="T74" fmla="*/ 420 w 646"/>
                <a:gd name="T75" fmla="*/ 23 h 916"/>
                <a:gd name="T76" fmla="*/ 446 w 646"/>
                <a:gd name="T77" fmla="*/ 34 h 916"/>
                <a:gd name="T78" fmla="*/ 472 w 646"/>
                <a:gd name="T79" fmla="*/ 47 h 916"/>
                <a:gd name="T80" fmla="*/ 496 w 646"/>
                <a:gd name="T81" fmla="*/ 60 h 916"/>
                <a:gd name="T82" fmla="*/ 513 w 646"/>
                <a:gd name="T83" fmla="*/ 74 h 916"/>
                <a:gd name="T84" fmla="*/ 527 w 646"/>
                <a:gd name="T85" fmla="*/ 86 h 916"/>
                <a:gd name="T86" fmla="*/ 536 w 646"/>
                <a:gd name="T87" fmla="*/ 98 h 916"/>
                <a:gd name="T88" fmla="*/ 542 w 646"/>
                <a:gd name="T89" fmla="*/ 107 h 916"/>
                <a:gd name="T90" fmla="*/ 548 w 646"/>
                <a:gd name="T91" fmla="*/ 119 h 916"/>
                <a:gd name="T92" fmla="*/ 548 w 646"/>
                <a:gd name="T93" fmla="*/ 526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46" h="916">
                  <a:moveTo>
                    <a:pt x="252" y="851"/>
                  </a:moveTo>
                  <a:lnTo>
                    <a:pt x="252" y="878"/>
                  </a:lnTo>
                  <a:lnTo>
                    <a:pt x="394" y="878"/>
                  </a:lnTo>
                  <a:lnTo>
                    <a:pt x="394" y="851"/>
                  </a:lnTo>
                  <a:lnTo>
                    <a:pt x="380" y="855"/>
                  </a:lnTo>
                  <a:lnTo>
                    <a:pt x="366" y="859"/>
                  </a:lnTo>
                  <a:lnTo>
                    <a:pt x="344" y="863"/>
                  </a:lnTo>
                  <a:lnTo>
                    <a:pt x="329" y="866"/>
                  </a:lnTo>
                  <a:lnTo>
                    <a:pt x="323" y="867"/>
                  </a:lnTo>
                  <a:lnTo>
                    <a:pt x="303" y="863"/>
                  </a:lnTo>
                  <a:lnTo>
                    <a:pt x="280" y="859"/>
                  </a:lnTo>
                  <a:lnTo>
                    <a:pt x="267" y="855"/>
                  </a:lnTo>
                  <a:lnTo>
                    <a:pt x="252" y="851"/>
                  </a:lnTo>
                  <a:close/>
                  <a:moveTo>
                    <a:pt x="548" y="526"/>
                  </a:moveTo>
                  <a:lnTo>
                    <a:pt x="548" y="746"/>
                  </a:lnTo>
                  <a:lnTo>
                    <a:pt x="546" y="752"/>
                  </a:lnTo>
                  <a:lnTo>
                    <a:pt x="543" y="758"/>
                  </a:lnTo>
                  <a:lnTo>
                    <a:pt x="537" y="767"/>
                  </a:lnTo>
                  <a:lnTo>
                    <a:pt x="533" y="772"/>
                  </a:lnTo>
                  <a:lnTo>
                    <a:pt x="528" y="778"/>
                  </a:lnTo>
                  <a:lnTo>
                    <a:pt x="523" y="784"/>
                  </a:lnTo>
                  <a:lnTo>
                    <a:pt x="516" y="790"/>
                  </a:lnTo>
                  <a:lnTo>
                    <a:pt x="508" y="796"/>
                  </a:lnTo>
                  <a:lnTo>
                    <a:pt x="500" y="803"/>
                  </a:lnTo>
                  <a:lnTo>
                    <a:pt x="490" y="809"/>
                  </a:lnTo>
                  <a:lnTo>
                    <a:pt x="478" y="816"/>
                  </a:lnTo>
                  <a:lnTo>
                    <a:pt x="478" y="878"/>
                  </a:lnTo>
                  <a:lnTo>
                    <a:pt x="646" y="878"/>
                  </a:lnTo>
                  <a:lnTo>
                    <a:pt x="646" y="916"/>
                  </a:lnTo>
                  <a:lnTo>
                    <a:pt x="0" y="916"/>
                  </a:lnTo>
                  <a:lnTo>
                    <a:pt x="0" y="878"/>
                  </a:lnTo>
                  <a:lnTo>
                    <a:pt x="169" y="878"/>
                  </a:lnTo>
                  <a:lnTo>
                    <a:pt x="169" y="816"/>
                  </a:lnTo>
                  <a:lnTo>
                    <a:pt x="157" y="809"/>
                  </a:lnTo>
                  <a:lnTo>
                    <a:pt x="147" y="803"/>
                  </a:lnTo>
                  <a:lnTo>
                    <a:pt x="138" y="796"/>
                  </a:lnTo>
                  <a:lnTo>
                    <a:pt x="130" y="790"/>
                  </a:lnTo>
                  <a:lnTo>
                    <a:pt x="124" y="784"/>
                  </a:lnTo>
                  <a:lnTo>
                    <a:pt x="118" y="778"/>
                  </a:lnTo>
                  <a:lnTo>
                    <a:pt x="113" y="772"/>
                  </a:lnTo>
                  <a:lnTo>
                    <a:pt x="109" y="767"/>
                  </a:lnTo>
                  <a:lnTo>
                    <a:pt x="106" y="763"/>
                  </a:lnTo>
                  <a:lnTo>
                    <a:pt x="104" y="758"/>
                  </a:lnTo>
                  <a:lnTo>
                    <a:pt x="100" y="752"/>
                  </a:lnTo>
                  <a:lnTo>
                    <a:pt x="98" y="746"/>
                  </a:lnTo>
                  <a:lnTo>
                    <a:pt x="98" y="526"/>
                  </a:lnTo>
                  <a:lnTo>
                    <a:pt x="98" y="121"/>
                  </a:lnTo>
                  <a:lnTo>
                    <a:pt x="99" y="119"/>
                  </a:lnTo>
                  <a:lnTo>
                    <a:pt x="100" y="114"/>
                  </a:lnTo>
                  <a:lnTo>
                    <a:pt x="102" y="111"/>
                  </a:lnTo>
                  <a:lnTo>
                    <a:pt x="104" y="107"/>
                  </a:lnTo>
                  <a:lnTo>
                    <a:pt x="110" y="98"/>
                  </a:lnTo>
                  <a:lnTo>
                    <a:pt x="115" y="92"/>
                  </a:lnTo>
                  <a:lnTo>
                    <a:pt x="120" y="86"/>
                  </a:lnTo>
                  <a:lnTo>
                    <a:pt x="126" y="80"/>
                  </a:lnTo>
                  <a:lnTo>
                    <a:pt x="133" y="74"/>
                  </a:lnTo>
                  <a:lnTo>
                    <a:pt x="141" y="67"/>
                  </a:lnTo>
                  <a:lnTo>
                    <a:pt x="151" y="60"/>
                  </a:lnTo>
                  <a:lnTo>
                    <a:pt x="163" y="54"/>
                  </a:lnTo>
                  <a:lnTo>
                    <a:pt x="175" y="47"/>
                  </a:lnTo>
                  <a:lnTo>
                    <a:pt x="188" y="40"/>
                  </a:lnTo>
                  <a:lnTo>
                    <a:pt x="201" y="34"/>
                  </a:lnTo>
                  <a:lnTo>
                    <a:pt x="227" y="23"/>
                  </a:lnTo>
                  <a:lnTo>
                    <a:pt x="252" y="15"/>
                  </a:lnTo>
                  <a:lnTo>
                    <a:pt x="264" y="12"/>
                  </a:lnTo>
                  <a:lnTo>
                    <a:pt x="275" y="9"/>
                  </a:lnTo>
                  <a:lnTo>
                    <a:pt x="294" y="5"/>
                  </a:lnTo>
                  <a:lnTo>
                    <a:pt x="310" y="2"/>
                  </a:lnTo>
                  <a:lnTo>
                    <a:pt x="323" y="0"/>
                  </a:lnTo>
                  <a:lnTo>
                    <a:pt x="337" y="2"/>
                  </a:lnTo>
                  <a:lnTo>
                    <a:pt x="352" y="5"/>
                  </a:lnTo>
                  <a:lnTo>
                    <a:pt x="372" y="9"/>
                  </a:lnTo>
                  <a:lnTo>
                    <a:pt x="383" y="12"/>
                  </a:lnTo>
                  <a:lnTo>
                    <a:pt x="395" y="15"/>
                  </a:lnTo>
                  <a:lnTo>
                    <a:pt x="407" y="19"/>
                  </a:lnTo>
                  <a:lnTo>
                    <a:pt x="420" y="23"/>
                  </a:lnTo>
                  <a:lnTo>
                    <a:pt x="432" y="28"/>
                  </a:lnTo>
                  <a:lnTo>
                    <a:pt x="446" y="34"/>
                  </a:lnTo>
                  <a:lnTo>
                    <a:pt x="459" y="40"/>
                  </a:lnTo>
                  <a:lnTo>
                    <a:pt x="472" y="47"/>
                  </a:lnTo>
                  <a:lnTo>
                    <a:pt x="485" y="54"/>
                  </a:lnTo>
                  <a:lnTo>
                    <a:pt x="496" y="60"/>
                  </a:lnTo>
                  <a:lnTo>
                    <a:pt x="505" y="67"/>
                  </a:lnTo>
                  <a:lnTo>
                    <a:pt x="513" y="74"/>
                  </a:lnTo>
                  <a:lnTo>
                    <a:pt x="520" y="80"/>
                  </a:lnTo>
                  <a:lnTo>
                    <a:pt x="527" y="86"/>
                  </a:lnTo>
                  <a:lnTo>
                    <a:pt x="532" y="92"/>
                  </a:lnTo>
                  <a:lnTo>
                    <a:pt x="536" y="98"/>
                  </a:lnTo>
                  <a:lnTo>
                    <a:pt x="540" y="103"/>
                  </a:lnTo>
                  <a:lnTo>
                    <a:pt x="542" y="107"/>
                  </a:lnTo>
                  <a:lnTo>
                    <a:pt x="546" y="114"/>
                  </a:lnTo>
                  <a:lnTo>
                    <a:pt x="548" y="119"/>
                  </a:lnTo>
                  <a:lnTo>
                    <a:pt x="548" y="121"/>
                  </a:lnTo>
                  <a:lnTo>
                    <a:pt x="548" y="526"/>
                  </a:lnTo>
                  <a:close/>
                </a:path>
              </a:pathLst>
            </a:custGeom>
            <a:solidFill>
              <a:schemeClr val="tx1"/>
            </a:solidFill>
            <a:ln>
              <a:solidFill>
                <a:schemeClr val="bg1"/>
              </a:solid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endParaRPr>
            </a:p>
          </p:txBody>
        </p:sp>
        <p:cxnSp>
          <p:nvCxnSpPr>
            <p:cNvPr id="295" name="Straight Connector 294">
              <a:extLst>
                <a:ext uri="{FF2B5EF4-FFF2-40B4-BE49-F238E27FC236}">
                  <a16:creationId xmlns:a16="http://schemas.microsoft.com/office/drawing/2014/main" id="{C7D1FA7E-5954-9F03-22D6-EC0DBEA12335}"/>
                </a:ext>
              </a:extLst>
            </p:cNvPr>
            <p:cNvCxnSpPr/>
            <p:nvPr/>
          </p:nvCxnSpPr>
          <p:spPr>
            <a:xfrm>
              <a:off x="9315451" y="3063875"/>
              <a:ext cx="0" cy="73025"/>
            </a:xfrm>
            <a:prstGeom prst="line">
              <a:avLst/>
            </a:prstGeom>
            <a:ln w="22225">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296" name="Straight Connector 295">
              <a:extLst>
                <a:ext uri="{FF2B5EF4-FFF2-40B4-BE49-F238E27FC236}">
                  <a16:creationId xmlns:a16="http://schemas.microsoft.com/office/drawing/2014/main" id="{EC6374F6-2B1F-D95A-D447-30658A77CCC6}"/>
                </a:ext>
              </a:extLst>
            </p:cNvPr>
            <p:cNvCxnSpPr/>
            <p:nvPr/>
          </p:nvCxnSpPr>
          <p:spPr>
            <a:xfrm>
              <a:off x="8980488" y="2809875"/>
              <a:ext cx="0" cy="73025"/>
            </a:xfrm>
            <a:prstGeom prst="line">
              <a:avLst/>
            </a:prstGeom>
            <a:ln w="22225">
              <a:solidFill>
                <a:schemeClr val="bg1"/>
              </a:solidFill>
              <a:tailEnd type="none"/>
            </a:ln>
          </p:spPr>
          <p:style>
            <a:lnRef idx="1">
              <a:schemeClr val="accent1"/>
            </a:lnRef>
            <a:fillRef idx="0">
              <a:schemeClr val="accent1"/>
            </a:fillRef>
            <a:effectRef idx="0">
              <a:schemeClr val="accent1"/>
            </a:effectRef>
            <a:fontRef idx="minor">
              <a:schemeClr val="tx1"/>
            </a:fontRef>
          </p:style>
        </p:cxnSp>
      </p:grpSp>
      <p:grpSp>
        <p:nvGrpSpPr>
          <p:cNvPr id="302" name="Group 301">
            <a:extLst>
              <a:ext uri="{FF2B5EF4-FFF2-40B4-BE49-F238E27FC236}">
                <a16:creationId xmlns:a16="http://schemas.microsoft.com/office/drawing/2014/main" id="{F4F73094-65AC-C647-B1C1-5FFF4413A938}"/>
              </a:ext>
            </a:extLst>
          </p:cNvPr>
          <p:cNvGrpSpPr/>
          <p:nvPr/>
        </p:nvGrpSpPr>
        <p:grpSpPr>
          <a:xfrm>
            <a:off x="7480673" y="2598589"/>
            <a:ext cx="438528" cy="947759"/>
            <a:chOff x="7480673" y="2598589"/>
            <a:chExt cx="438528" cy="947759"/>
          </a:xfrm>
        </p:grpSpPr>
        <p:sp>
          <p:nvSpPr>
            <p:cNvPr id="271" name="Freeform 23">
              <a:extLst>
                <a:ext uri="{FF2B5EF4-FFF2-40B4-BE49-F238E27FC236}">
                  <a16:creationId xmlns:a16="http://schemas.microsoft.com/office/drawing/2014/main" id="{F8199773-96A6-C337-3237-906DFD8DE197}"/>
                </a:ext>
              </a:extLst>
            </p:cNvPr>
            <p:cNvSpPr>
              <a:spLocks noEditPoints="1"/>
            </p:cNvSpPr>
            <p:nvPr/>
          </p:nvSpPr>
          <p:spPr bwMode="auto">
            <a:xfrm>
              <a:off x="7480673" y="2598589"/>
              <a:ext cx="438528" cy="947759"/>
            </a:xfrm>
            <a:custGeom>
              <a:avLst/>
              <a:gdLst>
                <a:gd name="T0" fmla="*/ 254 w 653"/>
                <a:gd name="T1" fmla="*/ 1360 h 1399"/>
                <a:gd name="T2" fmla="*/ 398 w 653"/>
                <a:gd name="T3" fmla="*/ 1333 h 1399"/>
                <a:gd name="T4" fmla="*/ 370 w 653"/>
                <a:gd name="T5" fmla="*/ 1341 h 1399"/>
                <a:gd name="T6" fmla="*/ 333 w 653"/>
                <a:gd name="T7" fmla="*/ 1348 h 1399"/>
                <a:gd name="T8" fmla="*/ 306 w 653"/>
                <a:gd name="T9" fmla="*/ 1345 h 1399"/>
                <a:gd name="T10" fmla="*/ 270 w 653"/>
                <a:gd name="T11" fmla="*/ 1337 h 1399"/>
                <a:gd name="T12" fmla="*/ 554 w 653"/>
                <a:gd name="T13" fmla="*/ 140 h 1399"/>
                <a:gd name="T14" fmla="*/ 554 w 653"/>
                <a:gd name="T15" fmla="*/ 1227 h 1399"/>
                <a:gd name="T16" fmla="*/ 549 w 653"/>
                <a:gd name="T17" fmla="*/ 1239 h 1399"/>
                <a:gd name="T18" fmla="*/ 538 w 653"/>
                <a:gd name="T19" fmla="*/ 1253 h 1399"/>
                <a:gd name="T20" fmla="*/ 528 w 653"/>
                <a:gd name="T21" fmla="*/ 1265 h 1399"/>
                <a:gd name="T22" fmla="*/ 513 w 653"/>
                <a:gd name="T23" fmla="*/ 1277 h 1399"/>
                <a:gd name="T24" fmla="*/ 495 w 653"/>
                <a:gd name="T25" fmla="*/ 1291 h 1399"/>
                <a:gd name="T26" fmla="*/ 484 w 653"/>
                <a:gd name="T27" fmla="*/ 1360 h 1399"/>
                <a:gd name="T28" fmla="*/ 653 w 653"/>
                <a:gd name="T29" fmla="*/ 1399 h 1399"/>
                <a:gd name="T30" fmla="*/ 0 w 653"/>
                <a:gd name="T31" fmla="*/ 1360 h 1399"/>
                <a:gd name="T32" fmla="*/ 170 w 653"/>
                <a:gd name="T33" fmla="*/ 1298 h 1399"/>
                <a:gd name="T34" fmla="*/ 149 w 653"/>
                <a:gd name="T35" fmla="*/ 1284 h 1399"/>
                <a:gd name="T36" fmla="*/ 132 w 653"/>
                <a:gd name="T37" fmla="*/ 1271 h 1399"/>
                <a:gd name="T38" fmla="*/ 120 w 653"/>
                <a:gd name="T39" fmla="*/ 1259 h 1399"/>
                <a:gd name="T40" fmla="*/ 111 w 653"/>
                <a:gd name="T41" fmla="*/ 1248 h 1399"/>
                <a:gd name="T42" fmla="*/ 105 w 653"/>
                <a:gd name="T43" fmla="*/ 1239 h 1399"/>
                <a:gd name="T44" fmla="*/ 99 w 653"/>
                <a:gd name="T45" fmla="*/ 1227 h 1399"/>
                <a:gd name="T46" fmla="*/ 99 w 653"/>
                <a:gd name="T47" fmla="*/ 140 h 1399"/>
                <a:gd name="T48" fmla="*/ 101 w 653"/>
                <a:gd name="T49" fmla="*/ 133 h 1399"/>
                <a:gd name="T50" fmla="*/ 105 w 653"/>
                <a:gd name="T51" fmla="*/ 126 h 1399"/>
                <a:gd name="T52" fmla="*/ 117 w 653"/>
                <a:gd name="T53" fmla="*/ 110 h 1399"/>
                <a:gd name="T54" fmla="*/ 128 w 653"/>
                <a:gd name="T55" fmla="*/ 98 h 1399"/>
                <a:gd name="T56" fmla="*/ 143 w 653"/>
                <a:gd name="T57" fmla="*/ 85 h 1399"/>
                <a:gd name="T58" fmla="*/ 164 w 653"/>
                <a:gd name="T59" fmla="*/ 72 h 1399"/>
                <a:gd name="T60" fmla="*/ 188 w 653"/>
                <a:gd name="T61" fmla="*/ 59 h 1399"/>
                <a:gd name="T62" fmla="*/ 223 w 653"/>
                <a:gd name="T63" fmla="*/ 44 h 1399"/>
                <a:gd name="T64" fmla="*/ 267 w 653"/>
                <a:gd name="T65" fmla="*/ 29 h 1399"/>
                <a:gd name="T66" fmla="*/ 387 w 653"/>
                <a:gd name="T67" fmla="*/ 0 h 1399"/>
                <a:gd name="T68" fmla="*/ 397 w 653"/>
                <a:gd name="T69" fmla="*/ 32 h 1399"/>
                <a:gd name="T70" fmla="*/ 431 w 653"/>
                <a:gd name="T71" fmla="*/ 44 h 1399"/>
                <a:gd name="T72" fmla="*/ 454 w 653"/>
                <a:gd name="T73" fmla="*/ 53 h 1399"/>
                <a:gd name="T74" fmla="*/ 478 w 653"/>
                <a:gd name="T75" fmla="*/ 65 h 1399"/>
                <a:gd name="T76" fmla="*/ 501 w 653"/>
                <a:gd name="T77" fmla="*/ 78 h 1399"/>
                <a:gd name="T78" fmla="*/ 518 w 653"/>
                <a:gd name="T79" fmla="*/ 92 h 1399"/>
                <a:gd name="T80" fmla="*/ 532 w 653"/>
                <a:gd name="T81" fmla="*/ 104 h 1399"/>
                <a:gd name="T82" fmla="*/ 541 w 653"/>
                <a:gd name="T83" fmla="*/ 117 h 1399"/>
                <a:gd name="T84" fmla="*/ 548 w 653"/>
                <a:gd name="T85" fmla="*/ 126 h 1399"/>
                <a:gd name="T86" fmla="*/ 554 w 653"/>
                <a:gd name="T87" fmla="*/ 138 h 1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53" h="1399">
                  <a:moveTo>
                    <a:pt x="254" y="1333"/>
                  </a:moveTo>
                  <a:lnTo>
                    <a:pt x="254" y="1360"/>
                  </a:lnTo>
                  <a:lnTo>
                    <a:pt x="398" y="1360"/>
                  </a:lnTo>
                  <a:lnTo>
                    <a:pt x="398" y="1333"/>
                  </a:lnTo>
                  <a:lnTo>
                    <a:pt x="384" y="1337"/>
                  </a:lnTo>
                  <a:lnTo>
                    <a:pt x="370" y="1341"/>
                  </a:lnTo>
                  <a:lnTo>
                    <a:pt x="348" y="1345"/>
                  </a:lnTo>
                  <a:lnTo>
                    <a:pt x="333" y="1348"/>
                  </a:lnTo>
                  <a:lnTo>
                    <a:pt x="326" y="1349"/>
                  </a:lnTo>
                  <a:lnTo>
                    <a:pt x="306" y="1345"/>
                  </a:lnTo>
                  <a:lnTo>
                    <a:pt x="283" y="1341"/>
                  </a:lnTo>
                  <a:lnTo>
                    <a:pt x="270" y="1337"/>
                  </a:lnTo>
                  <a:lnTo>
                    <a:pt x="254" y="1333"/>
                  </a:lnTo>
                  <a:close/>
                  <a:moveTo>
                    <a:pt x="554" y="140"/>
                  </a:moveTo>
                  <a:lnTo>
                    <a:pt x="554" y="683"/>
                  </a:lnTo>
                  <a:lnTo>
                    <a:pt x="554" y="1227"/>
                  </a:lnTo>
                  <a:lnTo>
                    <a:pt x="552" y="1233"/>
                  </a:lnTo>
                  <a:lnTo>
                    <a:pt x="549" y="1239"/>
                  </a:lnTo>
                  <a:lnTo>
                    <a:pt x="542" y="1248"/>
                  </a:lnTo>
                  <a:lnTo>
                    <a:pt x="538" y="1253"/>
                  </a:lnTo>
                  <a:lnTo>
                    <a:pt x="533" y="1259"/>
                  </a:lnTo>
                  <a:lnTo>
                    <a:pt x="528" y="1265"/>
                  </a:lnTo>
                  <a:lnTo>
                    <a:pt x="521" y="1271"/>
                  </a:lnTo>
                  <a:lnTo>
                    <a:pt x="513" y="1277"/>
                  </a:lnTo>
                  <a:lnTo>
                    <a:pt x="505" y="1284"/>
                  </a:lnTo>
                  <a:lnTo>
                    <a:pt x="495" y="1291"/>
                  </a:lnTo>
                  <a:lnTo>
                    <a:pt x="484" y="1298"/>
                  </a:lnTo>
                  <a:lnTo>
                    <a:pt x="484" y="1360"/>
                  </a:lnTo>
                  <a:lnTo>
                    <a:pt x="653" y="1360"/>
                  </a:lnTo>
                  <a:lnTo>
                    <a:pt x="653" y="1399"/>
                  </a:lnTo>
                  <a:lnTo>
                    <a:pt x="0" y="1399"/>
                  </a:lnTo>
                  <a:lnTo>
                    <a:pt x="0" y="1360"/>
                  </a:lnTo>
                  <a:lnTo>
                    <a:pt x="170" y="1360"/>
                  </a:lnTo>
                  <a:lnTo>
                    <a:pt x="170" y="1298"/>
                  </a:lnTo>
                  <a:lnTo>
                    <a:pt x="159" y="1291"/>
                  </a:lnTo>
                  <a:lnTo>
                    <a:pt x="149" y="1284"/>
                  </a:lnTo>
                  <a:lnTo>
                    <a:pt x="140" y="1277"/>
                  </a:lnTo>
                  <a:lnTo>
                    <a:pt x="132" y="1271"/>
                  </a:lnTo>
                  <a:lnTo>
                    <a:pt x="126" y="1265"/>
                  </a:lnTo>
                  <a:lnTo>
                    <a:pt x="120" y="1259"/>
                  </a:lnTo>
                  <a:lnTo>
                    <a:pt x="115" y="1253"/>
                  </a:lnTo>
                  <a:lnTo>
                    <a:pt x="111" y="1248"/>
                  </a:lnTo>
                  <a:lnTo>
                    <a:pt x="107" y="1244"/>
                  </a:lnTo>
                  <a:lnTo>
                    <a:pt x="105" y="1239"/>
                  </a:lnTo>
                  <a:lnTo>
                    <a:pt x="101" y="1233"/>
                  </a:lnTo>
                  <a:lnTo>
                    <a:pt x="99" y="1227"/>
                  </a:lnTo>
                  <a:lnTo>
                    <a:pt x="99" y="683"/>
                  </a:lnTo>
                  <a:lnTo>
                    <a:pt x="99" y="140"/>
                  </a:lnTo>
                  <a:lnTo>
                    <a:pt x="100" y="138"/>
                  </a:lnTo>
                  <a:lnTo>
                    <a:pt x="101" y="133"/>
                  </a:lnTo>
                  <a:lnTo>
                    <a:pt x="103" y="130"/>
                  </a:lnTo>
                  <a:lnTo>
                    <a:pt x="105" y="126"/>
                  </a:lnTo>
                  <a:lnTo>
                    <a:pt x="112" y="117"/>
                  </a:lnTo>
                  <a:lnTo>
                    <a:pt x="117" y="110"/>
                  </a:lnTo>
                  <a:lnTo>
                    <a:pt x="122" y="104"/>
                  </a:lnTo>
                  <a:lnTo>
                    <a:pt x="128" y="98"/>
                  </a:lnTo>
                  <a:lnTo>
                    <a:pt x="135" y="92"/>
                  </a:lnTo>
                  <a:lnTo>
                    <a:pt x="143" y="85"/>
                  </a:lnTo>
                  <a:lnTo>
                    <a:pt x="153" y="78"/>
                  </a:lnTo>
                  <a:lnTo>
                    <a:pt x="164" y="72"/>
                  </a:lnTo>
                  <a:lnTo>
                    <a:pt x="176" y="65"/>
                  </a:lnTo>
                  <a:lnTo>
                    <a:pt x="188" y="59"/>
                  </a:lnTo>
                  <a:lnTo>
                    <a:pt x="200" y="53"/>
                  </a:lnTo>
                  <a:lnTo>
                    <a:pt x="223" y="44"/>
                  </a:lnTo>
                  <a:lnTo>
                    <a:pt x="245" y="35"/>
                  </a:lnTo>
                  <a:lnTo>
                    <a:pt x="267" y="29"/>
                  </a:lnTo>
                  <a:lnTo>
                    <a:pt x="267" y="0"/>
                  </a:lnTo>
                  <a:lnTo>
                    <a:pt x="387" y="0"/>
                  </a:lnTo>
                  <a:lnTo>
                    <a:pt x="387" y="29"/>
                  </a:lnTo>
                  <a:lnTo>
                    <a:pt x="397" y="32"/>
                  </a:lnTo>
                  <a:lnTo>
                    <a:pt x="409" y="35"/>
                  </a:lnTo>
                  <a:lnTo>
                    <a:pt x="431" y="44"/>
                  </a:lnTo>
                  <a:lnTo>
                    <a:pt x="442" y="48"/>
                  </a:lnTo>
                  <a:lnTo>
                    <a:pt x="454" y="53"/>
                  </a:lnTo>
                  <a:lnTo>
                    <a:pt x="465" y="59"/>
                  </a:lnTo>
                  <a:lnTo>
                    <a:pt x="478" y="65"/>
                  </a:lnTo>
                  <a:lnTo>
                    <a:pt x="490" y="72"/>
                  </a:lnTo>
                  <a:lnTo>
                    <a:pt x="501" y="78"/>
                  </a:lnTo>
                  <a:lnTo>
                    <a:pt x="510" y="85"/>
                  </a:lnTo>
                  <a:lnTo>
                    <a:pt x="518" y="92"/>
                  </a:lnTo>
                  <a:lnTo>
                    <a:pt x="525" y="98"/>
                  </a:lnTo>
                  <a:lnTo>
                    <a:pt x="532" y="104"/>
                  </a:lnTo>
                  <a:lnTo>
                    <a:pt x="537" y="110"/>
                  </a:lnTo>
                  <a:lnTo>
                    <a:pt x="541" y="117"/>
                  </a:lnTo>
                  <a:lnTo>
                    <a:pt x="545" y="122"/>
                  </a:lnTo>
                  <a:lnTo>
                    <a:pt x="548" y="126"/>
                  </a:lnTo>
                  <a:lnTo>
                    <a:pt x="552" y="133"/>
                  </a:lnTo>
                  <a:lnTo>
                    <a:pt x="554" y="138"/>
                  </a:lnTo>
                  <a:lnTo>
                    <a:pt x="554" y="140"/>
                  </a:lnTo>
                  <a:close/>
                </a:path>
              </a:pathLst>
            </a:custGeom>
            <a:solidFill>
              <a:schemeClr val="tx1"/>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endParaRPr>
            </a:p>
          </p:txBody>
        </p:sp>
        <p:cxnSp>
          <p:nvCxnSpPr>
            <p:cNvPr id="299" name="Straight Connector 298">
              <a:extLst>
                <a:ext uri="{FF2B5EF4-FFF2-40B4-BE49-F238E27FC236}">
                  <a16:creationId xmlns:a16="http://schemas.microsoft.com/office/drawing/2014/main" id="{6E3394F0-3BF5-CF22-1569-7BFD8EDBFA5B}"/>
                </a:ext>
              </a:extLst>
            </p:cNvPr>
            <p:cNvCxnSpPr/>
            <p:nvPr/>
          </p:nvCxnSpPr>
          <p:spPr>
            <a:xfrm>
              <a:off x="7858920" y="3317875"/>
              <a:ext cx="0" cy="73025"/>
            </a:xfrm>
            <a:prstGeom prst="line">
              <a:avLst/>
            </a:prstGeom>
            <a:ln w="22225">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300" name="Straight Connector 299">
              <a:extLst>
                <a:ext uri="{FF2B5EF4-FFF2-40B4-BE49-F238E27FC236}">
                  <a16:creationId xmlns:a16="http://schemas.microsoft.com/office/drawing/2014/main" id="{5FB3BCC9-BE31-9D3D-40DF-846905CE6C4B}"/>
                </a:ext>
              </a:extLst>
            </p:cNvPr>
            <p:cNvCxnSpPr/>
            <p:nvPr/>
          </p:nvCxnSpPr>
          <p:spPr>
            <a:xfrm>
              <a:off x="7861301" y="2677319"/>
              <a:ext cx="0" cy="73025"/>
            </a:xfrm>
            <a:prstGeom prst="line">
              <a:avLst/>
            </a:prstGeom>
            <a:ln w="22225">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301" name="Straight Connector 300">
              <a:extLst>
                <a:ext uri="{FF2B5EF4-FFF2-40B4-BE49-F238E27FC236}">
                  <a16:creationId xmlns:a16="http://schemas.microsoft.com/office/drawing/2014/main" id="{7DACF08B-4ACF-1078-707E-7CFDEAB18EAA}"/>
                </a:ext>
              </a:extLst>
            </p:cNvPr>
            <p:cNvCxnSpPr/>
            <p:nvPr/>
          </p:nvCxnSpPr>
          <p:spPr>
            <a:xfrm>
              <a:off x="7530307" y="3017838"/>
              <a:ext cx="0" cy="73025"/>
            </a:xfrm>
            <a:prstGeom prst="line">
              <a:avLst/>
            </a:prstGeom>
            <a:ln w="22225">
              <a:solidFill>
                <a:schemeClr val="bg1"/>
              </a:solidFill>
              <a:tailEnd type="none"/>
            </a:ln>
          </p:spPr>
          <p:style>
            <a:lnRef idx="1">
              <a:schemeClr val="accent1"/>
            </a:lnRef>
            <a:fillRef idx="0">
              <a:schemeClr val="accent1"/>
            </a:fillRef>
            <a:effectRef idx="0">
              <a:schemeClr val="accent1"/>
            </a:effectRef>
            <a:fontRef idx="minor">
              <a:schemeClr val="tx1"/>
            </a:fontRef>
          </p:style>
        </p:cxnSp>
      </p:grpSp>
      <p:grpSp>
        <p:nvGrpSpPr>
          <p:cNvPr id="306" name="Group 305">
            <a:extLst>
              <a:ext uri="{FF2B5EF4-FFF2-40B4-BE49-F238E27FC236}">
                <a16:creationId xmlns:a16="http://schemas.microsoft.com/office/drawing/2014/main" id="{52395836-051B-34EC-61A0-789B28FB9CD2}"/>
              </a:ext>
            </a:extLst>
          </p:cNvPr>
          <p:cNvGrpSpPr/>
          <p:nvPr/>
        </p:nvGrpSpPr>
        <p:grpSpPr>
          <a:xfrm>
            <a:off x="8608252" y="3741529"/>
            <a:ext cx="434858" cy="690898"/>
            <a:chOff x="8608252" y="3741529"/>
            <a:chExt cx="434858" cy="690898"/>
          </a:xfrm>
          <a:solidFill>
            <a:schemeClr val="tx1"/>
          </a:solidFill>
        </p:grpSpPr>
        <p:sp>
          <p:nvSpPr>
            <p:cNvPr id="219" name="Freeform 9">
              <a:extLst>
                <a:ext uri="{FF2B5EF4-FFF2-40B4-BE49-F238E27FC236}">
                  <a16:creationId xmlns:a16="http://schemas.microsoft.com/office/drawing/2014/main" id="{E4E1EF3E-8273-8072-461B-028E2E23CFEB}"/>
                </a:ext>
              </a:extLst>
            </p:cNvPr>
            <p:cNvSpPr>
              <a:spLocks noEditPoints="1"/>
            </p:cNvSpPr>
            <p:nvPr/>
          </p:nvSpPr>
          <p:spPr bwMode="auto">
            <a:xfrm>
              <a:off x="8608252" y="3741529"/>
              <a:ext cx="434858" cy="690898"/>
            </a:xfrm>
            <a:custGeom>
              <a:avLst/>
              <a:gdLst>
                <a:gd name="T0" fmla="*/ 251 w 644"/>
                <a:gd name="T1" fmla="*/ 974 h 1012"/>
                <a:gd name="T2" fmla="*/ 393 w 644"/>
                <a:gd name="T3" fmla="*/ 947 h 1012"/>
                <a:gd name="T4" fmla="*/ 365 w 644"/>
                <a:gd name="T5" fmla="*/ 955 h 1012"/>
                <a:gd name="T6" fmla="*/ 328 w 644"/>
                <a:gd name="T7" fmla="*/ 962 h 1012"/>
                <a:gd name="T8" fmla="*/ 302 w 644"/>
                <a:gd name="T9" fmla="*/ 959 h 1012"/>
                <a:gd name="T10" fmla="*/ 266 w 644"/>
                <a:gd name="T11" fmla="*/ 951 h 1012"/>
                <a:gd name="T12" fmla="*/ 546 w 644"/>
                <a:gd name="T13" fmla="*/ 138 h 1012"/>
                <a:gd name="T14" fmla="*/ 544 w 644"/>
                <a:gd name="T15" fmla="*/ 848 h 1012"/>
                <a:gd name="T16" fmla="*/ 535 w 644"/>
                <a:gd name="T17" fmla="*/ 863 h 1012"/>
                <a:gd name="T18" fmla="*/ 526 w 644"/>
                <a:gd name="T19" fmla="*/ 874 h 1012"/>
                <a:gd name="T20" fmla="*/ 514 w 644"/>
                <a:gd name="T21" fmla="*/ 886 h 1012"/>
                <a:gd name="T22" fmla="*/ 498 w 644"/>
                <a:gd name="T23" fmla="*/ 899 h 1012"/>
                <a:gd name="T24" fmla="*/ 477 w 644"/>
                <a:gd name="T25" fmla="*/ 912 h 1012"/>
                <a:gd name="T26" fmla="*/ 644 w 644"/>
                <a:gd name="T27" fmla="*/ 974 h 1012"/>
                <a:gd name="T28" fmla="*/ 0 w 644"/>
                <a:gd name="T29" fmla="*/ 1012 h 1012"/>
                <a:gd name="T30" fmla="*/ 168 w 644"/>
                <a:gd name="T31" fmla="*/ 974 h 1012"/>
                <a:gd name="T32" fmla="*/ 157 w 644"/>
                <a:gd name="T33" fmla="*/ 905 h 1012"/>
                <a:gd name="T34" fmla="*/ 138 w 644"/>
                <a:gd name="T35" fmla="*/ 892 h 1012"/>
                <a:gd name="T36" fmla="*/ 124 w 644"/>
                <a:gd name="T37" fmla="*/ 880 h 1012"/>
                <a:gd name="T38" fmla="*/ 113 w 644"/>
                <a:gd name="T39" fmla="*/ 868 h 1012"/>
                <a:gd name="T40" fmla="*/ 106 w 644"/>
                <a:gd name="T41" fmla="*/ 859 h 1012"/>
                <a:gd name="T42" fmla="*/ 100 w 644"/>
                <a:gd name="T43" fmla="*/ 848 h 1012"/>
                <a:gd name="T44" fmla="*/ 98 w 644"/>
                <a:gd name="T45" fmla="*/ 138 h 1012"/>
                <a:gd name="T46" fmla="*/ 100 w 644"/>
                <a:gd name="T47" fmla="*/ 131 h 1012"/>
                <a:gd name="T48" fmla="*/ 104 w 644"/>
                <a:gd name="T49" fmla="*/ 124 h 1012"/>
                <a:gd name="T50" fmla="*/ 115 w 644"/>
                <a:gd name="T51" fmla="*/ 109 h 1012"/>
                <a:gd name="T52" fmla="*/ 126 w 644"/>
                <a:gd name="T53" fmla="*/ 97 h 1012"/>
                <a:gd name="T54" fmla="*/ 141 w 644"/>
                <a:gd name="T55" fmla="*/ 84 h 1012"/>
                <a:gd name="T56" fmla="*/ 162 w 644"/>
                <a:gd name="T57" fmla="*/ 71 h 1012"/>
                <a:gd name="T58" fmla="*/ 185 w 644"/>
                <a:gd name="T59" fmla="*/ 58 h 1012"/>
                <a:gd name="T60" fmla="*/ 220 w 644"/>
                <a:gd name="T61" fmla="*/ 43 h 1012"/>
                <a:gd name="T62" fmla="*/ 263 w 644"/>
                <a:gd name="T63" fmla="*/ 29 h 1012"/>
                <a:gd name="T64" fmla="*/ 382 w 644"/>
                <a:gd name="T65" fmla="*/ 0 h 1012"/>
                <a:gd name="T66" fmla="*/ 392 w 644"/>
                <a:gd name="T67" fmla="*/ 32 h 1012"/>
                <a:gd name="T68" fmla="*/ 425 w 644"/>
                <a:gd name="T69" fmla="*/ 43 h 1012"/>
                <a:gd name="T70" fmla="*/ 448 w 644"/>
                <a:gd name="T71" fmla="*/ 52 h 1012"/>
                <a:gd name="T72" fmla="*/ 471 w 644"/>
                <a:gd name="T73" fmla="*/ 64 h 1012"/>
                <a:gd name="T74" fmla="*/ 494 w 644"/>
                <a:gd name="T75" fmla="*/ 77 h 1012"/>
                <a:gd name="T76" fmla="*/ 511 w 644"/>
                <a:gd name="T77" fmla="*/ 91 h 1012"/>
                <a:gd name="T78" fmla="*/ 525 w 644"/>
                <a:gd name="T79" fmla="*/ 103 h 1012"/>
                <a:gd name="T80" fmla="*/ 534 w 644"/>
                <a:gd name="T81" fmla="*/ 115 h 1012"/>
                <a:gd name="T82" fmla="*/ 540 w 644"/>
                <a:gd name="T83" fmla="*/ 124 h 1012"/>
                <a:gd name="T84" fmla="*/ 546 w 644"/>
                <a:gd name="T85" fmla="*/ 136 h 1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4" h="1012">
                  <a:moveTo>
                    <a:pt x="251" y="947"/>
                  </a:moveTo>
                  <a:lnTo>
                    <a:pt x="251" y="974"/>
                  </a:lnTo>
                  <a:lnTo>
                    <a:pt x="393" y="974"/>
                  </a:lnTo>
                  <a:lnTo>
                    <a:pt x="393" y="947"/>
                  </a:lnTo>
                  <a:lnTo>
                    <a:pt x="379" y="951"/>
                  </a:lnTo>
                  <a:lnTo>
                    <a:pt x="365" y="955"/>
                  </a:lnTo>
                  <a:lnTo>
                    <a:pt x="343" y="959"/>
                  </a:lnTo>
                  <a:lnTo>
                    <a:pt x="328" y="962"/>
                  </a:lnTo>
                  <a:lnTo>
                    <a:pt x="322" y="963"/>
                  </a:lnTo>
                  <a:lnTo>
                    <a:pt x="302" y="959"/>
                  </a:lnTo>
                  <a:lnTo>
                    <a:pt x="279" y="955"/>
                  </a:lnTo>
                  <a:lnTo>
                    <a:pt x="266" y="951"/>
                  </a:lnTo>
                  <a:lnTo>
                    <a:pt x="251" y="947"/>
                  </a:lnTo>
                  <a:close/>
                  <a:moveTo>
                    <a:pt x="546" y="138"/>
                  </a:moveTo>
                  <a:lnTo>
                    <a:pt x="546" y="842"/>
                  </a:lnTo>
                  <a:lnTo>
                    <a:pt x="544" y="848"/>
                  </a:lnTo>
                  <a:lnTo>
                    <a:pt x="541" y="854"/>
                  </a:lnTo>
                  <a:lnTo>
                    <a:pt x="535" y="863"/>
                  </a:lnTo>
                  <a:lnTo>
                    <a:pt x="531" y="868"/>
                  </a:lnTo>
                  <a:lnTo>
                    <a:pt x="526" y="874"/>
                  </a:lnTo>
                  <a:lnTo>
                    <a:pt x="521" y="880"/>
                  </a:lnTo>
                  <a:lnTo>
                    <a:pt x="514" y="886"/>
                  </a:lnTo>
                  <a:lnTo>
                    <a:pt x="506" y="892"/>
                  </a:lnTo>
                  <a:lnTo>
                    <a:pt x="498" y="899"/>
                  </a:lnTo>
                  <a:lnTo>
                    <a:pt x="488" y="905"/>
                  </a:lnTo>
                  <a:lnTo>
                    <a:pt x="477" y="912"/>
                  </a:lnTo>
                  <a:lnTo>
                    <a:pt x="477" y="974"/>
                  </a:lnTo>
                  <a:lnTo>
                    <a:pt x="644" y="974"/>
                  </a:lnTo>
                  <a:lnTo>
                    <a:pt x="644" y="1012"/>
                  </a:lnTo>
                  <a:lnTo>
                    <a:pt x="0" y="1012"/>
                  </a:lnTo>
                  <a:lnTo>
                    <a:pt x="0" y="974"/>
                  </a:lnTo>
                  <a:lnTo>
                    <a:pt x="168" y="974"/>
                  </a:lnTo>
                  <a:lnTo>
                    <a:pt x="168" y="912"/>
                  </a:lnTo>
                  <a:lnTo>
                    <a:pt x="157" y="905"/>
                  </a:lnTo>
                  <a:lnTo>
                    <a:pt x="147" y="899"/>
                  </a:lnTo>
                  <a:lnTo>
                    <a:pt x="138" y="892"/>
                  </a:lnTo>
                  <a:lnTo>
                    <a:pt x="130" y="886"/>
                  </a:lnTo>
                  <a:lnTo>
                    <a:pt x="124" y="880"/>
                  </a:lnTo>
                  <a:lnTo>
                    <a:pt x="118" y="874"/>
                  </a:lnTo>
                  <a:lnTo>
                    <a:pt x="113" y="868"/>
                  </a:lnTo>
                  <a:lnTo>
                    <a:pt x="109" y="863"/>
                  </a:lnTo>
                  <a:lnTo>
                    <a:pt x="106" y="859"/>
                  </a:lnTo>
                  <a:lnTo>
                    <a:pt x="104" y="854"/>
                  </a:lnTo>
                  <a:lnTo>
                    <a:pt x="100" y="848"/>
                  </a:lnTo>
                  <a:lnTo>
                    <a:pt x="98" y="842"/>
                  </a:lnTo>
                  <a:lnTo>
                    <a:pt x="98" y="138"/>
                  </a:lnTo>
                  <a:lnTo>
                    <a:pt x="99" y="136"/>
                  </a:lnTo>
                  <a:lnTo>
                    <a:pt x="100" y="131"/>
                  </a:lnTo>
                  <a:lnTo>
                    <a:pt x="102" y="128"/>
                  </a:lnTo>
                  <a:lnTo>
                    <a:pt x="104" y="124"/>
                  </a:lnTo>
                  <a:lnTo>
                    <a:pt x="110" y="115"/>
                  </a:lnTo>
                  <a:lnTo>
                    <a:pt x="115" y="109"/>
                  </a:lnTo>
                  <a:lnTo>
                    <a:pt x="120" y="103"/>
                  </a:lnTo>
                  <a:lnTo>
                    <a:pt x="126" y="97"/>
                  </a:lnTo>
                  <a:lnTo>
                    <a:pt x="133" y="91"/>
                  </a:lnTo>
                  <a:lnTo>
                    <a:pt x="141" y="84"/>
                  </a:lnTo>
                  <a:lnTo>
                    <a:pt x="151" y="77"/>
                  </a:lnTo>
                  <a:lnTo>
                    <a:pt x="162" y="71"/>
                  </a:lnTo>
                  <a:lnTo>
                    <a:pt x="174" y="64"/>
                  </a:lnTo>
                  <a:lnTo>
                    <a:pt x="185" y="58"/>
                  </a:lnTo>
                  <a:lnTo>
                    <a:pt x="197" y="52"/>
                  </a:lnTo>
                  <a:lnTo>
                    <a:pt x="220" y="43"/>
                  </a:lnTo>
                  <a:lnTo>
                    <a:pt x="242" y="35"/>
                  </a:lnTo>
                  <a:lnTo>
                    <a:pt x="263" y="29"/>
                  </a:lnTo>
                  <a:lnTo>
                    <a:pt x="263" y="0"/>
                  </a:lnTo>
                  <a:lnTo>
                    <a:pt x="382" y="0"/>
                  </a:lnTo>
                  <a:lnTo>
                    <a:pt x="382" y="29"/>
                  </a:lnTo>
                  <a:lnTo>
                    <a:pt x="392" y="32"/>
                  </a:lnTo>
                  <a:lnTo>
                    <a:pt x="403" y="35"/>
                  </a:lnTo>
                  <a:lnTo>
                    <a:pt x="425" y="43"/>
                  </a:lnTo>
                  <a:lnTo>
                    <a:pt x="436" y="47"/>
                  </a:lnTo>
                  <a:lnTo>
                    <a:pt x="448" y="52"/>
                  </a:lnTo>
                  <a:lnTo>
                    <a:pt x="459" y="58"/>
                  </a:lnTo>
                  <a:lnTo>
                    <a:pt x="471" y="64"/>
                  </a:lnTo>
                  <a:lnTo>
                    <a:pt x="483" y="71"/>
                  </a:lnTo>
                  <a:lnTo>
                    <a:pt x="494" y="77"/>
                  </a:lnTo>
                  <a:lnTo>
                    <a:pt x="503" y="84"/>
                  </a:lnTo>
                  <a:lnTo>
                    <a:pt x="511" y="91"/>
                  </a:lnTo>
                  <a:lnTo>
                    <a:pt x="518" y="97"/>
                  </a:lnTo>
                  <a:lnTo>
                    <a:pt x="525" y="103"/>
                  </a:lnTo>
                  <a:lnTo>
                    <a:pt x="530" y="109"/>
                  </a:lnTo>
                  <a:lnTo>
                    <a:pt x="534" y="115"/>
                  </a:lnTo>
                  <a:lnTo>
                    <a:pt x="538" y="120"/>
                  </a:lnTo>
                  <a:lnTo>
                    <a:pt x="540" y="124"/>
                  </a:lnTo>
                  <a:lnTo>
                    <a:pt x="544" y="131"/>
                  </a:lnTo>
                  <a:lnTo>
                    <a:pt x="546" y="136"/>
                  </a:lnTo>
                  <a:lnTo>
                    <a:pt x="546" y="138"/>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endParaRPr>
            </a:p>
          </p:txBody>
        </p:sp>
        <p:cxnSp>
          <p:nvCxnSpPr>
            <p:cNvPr id="304" name="Straight Connector 303">
              <a:extLst>
                <a:ext uri="{FF2B5EF4-FFF2-40B4-BE49-F238E27FC236}">
                  <a16:creationId xmlns:a16="http://schemas.microsoft.com/office/drawing/2014/main" id="{AA092D90-EFE3-CAFE-F1BB-843D0413C4FA}"/>
                </a:ext>
              </a:extLst>
            </p:cNvPr>
            <p:cNvCxnSpPr/>
            <p:nvPr/>
          </p:nvCxnSpPr>
          <p:spPr>
            <a:xfrm>
              <a:off x="8982075" y="3823494"/>
              <a:ext cx="0" cy="73025"/>
            </a:xfrm>
            <a:prstGeom prst="line">
              <a:avLst/>
            </a:prstGeom>
            <a:grpFill/>
            <a:ln w="22225">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305" name="Straight Connector 304">
              <a:extLst>
                <a:ext uri="{FF2B5EF4-FFF2-40B4-BE49-F238E27FC236}">
                  <a16:creationId xmlns:a16="http://schemas.microsoft.com/office/drawing/2014/main" id="{CA194DA7-B49B-96B5-A2B5-D69AF73465BE}"/>
                </a:ext>
              </a:extLst>
            </p:cNvPr>
            <p:cNvCxnSpPr/>
            <p:nvPr/>
          </p:nvCxnSpPr>
          <p:spPr>
            <a:xfrm>
              <a:off x="8665369" y="4214019"/>
              <a:ext cx="0" cy="73025"/>
            </a:xfrm>
            <a:prstGeom prst="line">
              <a:avLst/>
            </a:prstGeom>
            <a:grpFill/>
            <a:ln w="22225">
              <a:solidFill>
                <a:schemeClr val="bg1"/>
              </a:solidFill>
              <a:tailEnd type="none"/>
            </a:ln>
          </p:spPr>
          <p:style>
            <a:lnRef idx="1">
              <a:schemeClr val="accent1"/>
            </a:lnRef>
            <a:fillRef idx="0">
              <a:schemeClr val="accent1"/>
            </a:fillRef>
            <a:effectRef idx="0">
              <a:schemeClr val="accent1"/>
            </a:effectRef>
            <a:fontRef idx="minor">
              <a:schemeClr val="tx1"/>
            </a:fontRef>
          </p:style>
        </p:cxnSp>
      </p:grpSp>
      <p:grpSp>
        <p:nvGrpSpPr>
          <p:cNvPr id="327" name="Group 326">
            <a:extLst>
              <a:ext uri="{FF2B5EF4-FFF2-40B4-BE49-F238E27FC236}">
                <a16:creationId xmlns:a16="http://schemas.microsoft.com/office/drawing/2014/main" id="{49512C10-D504-DE1E-F6CC-4FFC7A1E4928}"/>
              </a:ext>
            </a:extLst>
          </p:cNvPr>
          <p:cNvGrpSpPr/>
          <p:nvPr/>
        </p:nvGrpSpPr>
        <p:grpSpPr>
          <a:xfrm>
            <a:off x="6508377" y="4511355"/>
            <a:ext cx="443183" cy="909834"/>
            <a:chOff x="6508377" y="4511355"/>
            <a:chExt cx="443183" cy="909834"/>
          </a:xfrm>
        </p:grpSpPr>
        <p:grpSp>
          <p:nvGrpSpPr>
            <p:cNvPr id="175" name="Group 174">
              <a:extLst>
                <a:ext uri="{FF2B5EF4-FFF2-40B4-BE49-F238E27FC236}">
                  <a16:creationId xmlns:a16="http://schemas.microsoft.com/office/drawing/2014/main" id="{5DFB289B-22EA-70A7-EE66-5AB7734C7FD1}"/>
                </a:ext>
              </a:extLst>
            </p:cNvPr>
            <p:cNvGrpSpPr/>
            <p:nvPr/>
          </p:nvGrpSpPr>
          <p:grpSpPr>
            <a:xfrm>
              <a:off x="6508377" y="4511355"/>
              <a:ext cx="443183" cy="909834"/>
              <a:chOff x="5160961" y="3787288"/>
              <a:chExt cx="349748" cy="710172"/>
            </a:xfrm>
            <a:solidFill>
              <a:schemeClr val="tx1"/>
            </a:solidFill>
          </p:grpSpPr>
          <p:sp>
            <p:nvSpPr>
              <p:cNvPr id="199" name="Freeform 9">
                <a:extLst>
                  <a:ext uri="{FF2B5EF4-FFF2-40B4-BE49-F238E27FC236}">
                    <a16:creationId xmlns:a16="http://schemas.microsoft.com/office/drawing/2014/main" id="{D76E5068-57FB-9E0C-6916-B84D8E9CA372}"/>
                  </a:ext>
                </a:extLst>
              </p:cNvPr>
              <p:cNvSpPr>
                <a:spLocks noEditPoints="1"/>
              </p:cNvSpPr>
              <p:nvPr/>
            </p:nvSpPr>
            <p:spPr bwMode="auto">
              <a:xfrm>
                <a:off x="5163277" y="3951495"/>
                <a:ext cx="347432" cy="545965"/>
              </a:xfrm>
              <a:custGeom>
                <a:avLst/>
                <a:gdLst>
                  <a:gd name="T0" fmla="*/ 251 w 644"/>
                  <a:gd name="T1" fmla="*/ 974 h 1012"/>
                  <a:gd name="T2" fmla="*/ 393 w 644"/>
                  <a:gd name="T3" fmla="*/ 947 h 1012"/>
                  <a:gd name="T4" fmla="*/ 365 w 644"/>
                  <a:gd name="T5" fmla="*/ 955 h 1012"/>
                  <a:gd name="T6" fmla="*/ 328 w 644"/>
                  <a:gd name="T7" fmla="*/ 962 h 1012"/>
                  <a:gd name="T8" fmla="*/ 302 w 644"/>
                  <a:gd name="T9" fmla="*/ 959 h 1012"/>
                  <a:gd name="T10" fmla="*/ 266 w 644"/>
                  <a:gd name="T11" fmla="*/ 951 h 1012"/>
                  <a:gd name="T12" fmla="*/ 546 w 644"/>
                  <a:gd name="T13" fmla="*/ 138 h 1012"/>
                  <a:gd name="T14" fmla="*/ 544 w 644"/>
                  <a:gd name="T15" fmla="*/ 848 h 1012"/>
                  <a:gd name="T16" fmla="*/ 535 w 644"/>
                  <a:gd name="T17" fmla="*/ 863 h 1012"/>
                  <a:gd name="T18" fmla="*/ 526 w 644"/>
                  <a:gd name="T19" fmla="*/ 874 h 1012"/>
                  <a:gd name="T20" fmla="*/ 514 w 644"/>
                  <a:gd name="T21" fmla="*/ 886 h 1012"/>
                  <a:gd name="T22" fmla="*/ 498 w 644"/>
                  <a:gd name="T23" fmla="*/ 899 h 1012"/>
                  <a:gd name="T24" fmla="*/ 477 w 644"/>
                  <a:gd name="T25" fmla="*/ 912 h 1012"/>
                  <a:gd name="T26" fmla="*/ 644 w 644"/>
                  <a:gd name="T27" fmla="*/ 974 h 1012"/>
                  <a:gd name="T28" fmla="*/ 0 w 644"/>
                  <a:gd name="T29" fmla="*/ 1012 h 1012"/>
                  <a:gd name="T30" fmla="*/ 168 w 644"/>
                  <a:gd name="T31" fmla="*/ 974 h 1012"/>
                  <a:gd name="T32" fmla="*/ 157 w 644"/>
                  <a:gd name="T33" fmla="*/ 905 h 1012"/>
                  <a:gd name="T34" fmla="*/ 138 w 644"/>
                  <a:gd name="T35" fmla="*/ 892 h 1012"/>
                  <a:gd name="T36" fmla="*/ 124 w 644"/>
                  <a:gd name="T37" fmla="*/ 880 h 1012"/>
                  <a:gd name="T38" fmla="*/ 113 w 644"/>
                  <a:gd name="T39" fmla="*/ 868 h 1012"/>
                  <a:gd name="T40" fmla="*/ 106 w 644"/>
                  <a:gd name="T41" fmla="*/ 859 h 1012"/>
                  <a:gd name="T42" fmla="*/ 100 w 644"/>
                  <a:gd name="T43" fmla="*/ 848 h 1012"/>
                  <a:gd name="T44" fmla="*/ 98 w 644"/>
                  <a:gd name="T45" fmla="*/ 138 h 1012"/>
                  <a:gd name="T46" fmla="*/ 100 w 644"/>
                  <a:gd name="T47" fmla="*/ 131 h 1012"/>
                  <a:gd name="T48" fmla="*/ 104 w 644"/>
                  <a:gd name="T49" fmla="*/ 124 h 1012"/>
                  <a:gd name="T50" fmla="*/ 115 w 644"/>
                  <a:gd name="T51" fmla="*/ 109 h 1012"/>
                  <a:gd name="T52" fmla="*/ 126 w 644"/>
                  <a:gd name="T53" fmla="*/ 97 h 1012"/>
                  <a:gd name="T54" fmla="*/ 141 w 644"/>
                  <a:gd name="T55" fmla="*/ 84 h 1012"/>
                  <a:gd name="T56" fmla="*/ 162 w 644"/>
                  <a:gd name="T57" fmla="*/ 71 h 1012"/>
                  <a:gd name="T58" fmla="*/ 185 w 644"/>
                  <a:gd name="T59" fmla="*/ 58 h 1012"/>
                  <a:gd name="T60" fmla="*/ 220 w 644"/>
                  <a:gd name="T61" fmla="*/ 43 h 1012"/>
                  <a:gd name="T62" fmla="*/ 263 w 644"/>
                  <a:gd name="T63" fmla="*/ 29 h 1012"/>
                  <a:gd name="T64" fmla="*/ 382 w 644"/>
                  <a:gd name="T65" fmla="*/ 0 h 1012"/>
                  <a:gd name="T66" fmla="*/ 392 w 644"/>
                  <a:gd name="T67" fmla="*/ 32 h 1012"/>
                  <a:gd name="T68" fmla="*/ 425 w 644"/>
                  <a:gd name="T69" fmla="*/ 43 h 1012"/>
                  <a:gd name="T70" fmla="*/ 448 w 644"/>
                  <a:gd name="T71" fmla="*/ 52 h 1012"/>
                  <a:gd name="T72" fmla="*/ 471 w 644"/>
                  <a:gd name="T73" fmla="*/ 64 h 1012"/>
                  <a:gd name="T74" fmla="*/ 494 w 644"/>
                  <a:gd name="T75" fmla="*/ 77 h 1012"/>
                  <a:gd name="T76" fmla="*/ 511 w 644"/>
                  <a:gd name="T77" fmla="*/ 91 h 1012"/>
                  <a:gd name="T78" fmla="*/ 525 w 644"/>
                  <a:gd name="T79" fmla="*/ 103 h 1012"/>
                  <a:gd name="T80" fmla="*/ 534 w 644"/>
                  <a:gd name="T81" fmla="*/ 115 h 1012"/>
                  <a:gd name="T82" fmla="*/ 540 w 644"/>
                  <a:gd name="T83" fmla="*/ 124 h 1012"/>
                  <a:gd name="T84" fmla="*/ 546 w 644"/>
                  <a:gd name="T85" fmla="*/ 136 h 1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4" h="1012">
                    <a:moveTo>
                      <a:pt x="251" y="947"/>
                    </a:moveTo>
                    <a:lnTo>
                      <a:pt x="251" y="974"/>
                    </a:lnTo>
                    <a:lnTo>
                      <a:pt x="393" y="974"/>
                    </a:lnTo>
                    <a:lnTo>
                      <a:pt x="393" y="947"/>
                    </a:lnTo>
                    <a:lnTo>
                      <a:pt x="379" y="951"/>
                    </a:lnTo>
                    <a:lnTo>
                      <a:pt x="365" y="955"/>
                    </a:lnTo>
                    <a:lnTo>
                      <a:pt x="343" y="959"/>
                    </a:lnTo>
                    <a:lnTo>
                      <a:pt x="328" y="962"/>
                    </a:lnTo>
                    <a:lnTo>
                      <a:pt x="322" y="963"/>
                    </a:lnTo>
                    <a:lnTo>
                      <a:pt x="302" y="959"/>
                    </a:lnTo>
                    <a:lnTo>
                      <a:pt x="279" y="955"/>
                    </a:lnTo>
                    <a:lnTo>
                      <a:pt x="266" y="951"/>
                    </a:lnTo>
                    <a:lnTo>
                      <a:pt x="251" y="947"/>
                    </a:lnTo>
                    <a:close/>
                    <a:moveTo>
                      <a:pt x="546" y="138"/>
                    </a:moveTo>
                    <a:lnTo>
                      <a:pt x="546" y="842"/>
                    </a:lnTo>
                    <a:lnTo>
                      <a:pt x="544" y="848"/>
                    </a:lnTo>
                    <a:lnTo>
                      <a:pt x="541" y="854"/>
                    </a:lnTo>
                    <a:lnTo>
                      <a:pt x="535" y="863"/>
                    </a:lnTo>
                    <a:lnTo>
                      <a:pt x="531" y="868"/>
                    </a:lnTo>
                    <a:lnTo>
                      <a:pt x="526" y="874"/>
                    </a:lnTo>
                    <a:lnTo>
                      <a:pt x="521" y="880"/>
                    </a:lnTo>
                    <a:lnTo>
                      <a:pt x="514" y="886"/>
                    </a:lnTo>
                    <a:lnTo>
                      <a:pt x="506" y="892"/>
                    </a:lnTo>
                    <a:lnTo>
                      <a:pt x="498" y="899"/>
                    </a:lnTo>
                    <a:lnTo>
                      <a:pt x="488" y="905"/>
                    </a:lnTo>
                    <a:lnTo>
                      <a:pt x="477" y="912"/>
                    </a:lnTo>
                    <a:lnTo>
                      <a:pt x="477" y="974"/>
                    </a:lnTo>
                    <a:lnTo>
                      <a:pt x="644" y="974"/>
                    </a:lnTo>
                    <a:lnTo>
                      <a:pt x="644" y="1012"/>
                    </a:lnTo>
                    <a:lnTo>
                      <a:pt x="0" y="1012"/>
                    </a:lnTo>
                    <a:lnTo>
                      <a:pt x="0" y="974"/>
                    </a:lnTo>
                    <a:lnTo>
                      <a:pt x="168" y="974"/>
                    </a:lnTo>
                    <a:lnTo>
                      <a:pt x="168" y="912"/>
                    </a:lnTo>
                    <a:lnTo>
                      <a:pt x="157" y="905"/>
                    </a:lnTo>
                    <a:lnTo>
                      <a:pt x="147" y="899"/>
                    </a:lnTo>
                    <a:lnTo>
                      <a:pt x="138" y="892"/>
                    </a:lnTo>
                    <a:lnTo>
                      <a:pt x="130" y="886"/>
                    </a:lnTo>
                    <a:lnTo>
                      <a:pt x="124" y="880"/>
                    </a:lnTo>
                    <a:lnTo>
                      <a:pt x="118" y="874"/>
                    </a:lnTo>
                    <a:lnTo>
                      <a:pt x="113" y="868"/>
                    </a:lnTo>
                    <a:lnTo>
                      <a:pt x="109" y="863"/>
                    </a:lnTo>
                    <a:lnTo>
                      <a:pt x="106" y="859"/>
                    </a:lnTo>
                    <a:lnTo>
                      <a:pt x="104" y="854"/>
                    </a:lnTo>
                    <a:lnTo>
                      <a:pt x="100" y="848"/>
                    </a:lnTo>
                    <a:lnTo>
                      <a:pt x="98" y="842"/>
                    </a:lnTo>
                    <a:lnTo>
                      <a:pt x="98" y="138"/>
                    </a:lnTo>
                    <a:lnTo>
                      <a:pt x="99" y="136"/>
                    </a:lnTo>
                    <a:lnTo>
                      <a:pt x="100" y="131"/>
                    </a:lnTo>
                    <a:lnTo>
                      <a:pt x="102" y="128"/>
                    </a:lnTo>
                    <a:lnTo>
                      <a:pt x="104" y="124"/>
                    </a:lnTo>
                    <a:lnTo>
                      <a:pt x="110" y="115"/>
                    </a:lnTo>
                    <a:lnTo>
                      <a:pt x="115" y="109"/>
                    </a:lnTo>
                    <a:lnTo>
                      <a:pt x="120" y="103"/>
                    </a:lnTo>
                    <a:lnTo>
                      <a:pt x="126" y="97"/>
                    </a:lnTo>
                    <a:lnTo>
                      <a:pt x="133" y="91"/>
                    </a:lnTo>
                    <a:lnTo>
                      <a:pt x="141" y="84"/>
                    </a:lnTo>
                    <a:lnTo>
                      <a:pt x="151" y="77"/>
                    </a:lnTo>
                    <a:lnTo>
                      <a:pt x="162" y="71"/>
                    </a:lnTo>
                    <a:lnTo>
                      <a:pt x="174" y="64"/>
                    </a:lnTo>
                    <a:lnTo>
                      <a:pt x="185" y="58"/>
                    </a:lnTo>
                    <a:lnTo>
                      <a:pt x="197" y="52"/>
                    </a:lnTo>
                    <a:lnTo>
                      <a:pt x="220" y="43"/>
                    </a:lnTo>
                    <a:lnTo>
                      <a:pt x="242" y="35"/>
                    </a:lnTo>
                    <a:lnTo>
                      <a:pt x="263" y="29"/>
                    </a:lnTo>
                    <a:lnTo>
                      <a:pt x="263" y="0"/>
                    </a:lnTo>
                    <a:lnTo>
                      <a:pt x="382" y="0"/>
                    </a:lnTo>
                    <a:lnTo>
                      <a:pt x="382" y="29"/>
                    </a:lnTo>
                    <a:lnTo>
                      <a:pt x="392" y="32"/>
                    </a:lnTo>
                    <a:lnTo>
                      <a:pt x="403" y="35"/>
                    </a:lnTo>
                    <a:lnTo>
                      <a:pt x="425" y="43"/>
                    </a:lnTo>
                    <a:lnTo>
                      <a:pt x="436" y="47"/>
                    </a:lnTo>
                    <a:lnTo>
                      <a:pt x="448" y="52"/>
                    </a:lnTo>
                    <a:lnTo>
                      <a:pt x="459" y="58"/>
                    </a:lnTo>
                    <a:lnTo>
                      <a:pt x="471" y="64"/>
                    </a:lnTo>
                    <a:lnTo>
                      <a:pt x="483" y="71"/>
                    </a:lnTo>
                    <a:lnTo>
                      <a:pt x="494" y="77"/>
                    </a:lnTo>
                    <a:lnTo>
                      <a:pt x="503" y="84"/>
                    </a:lnTo>
                    <a:lnTo>
                      <a:pt x="511" y="91"/>
                    </a:lnTo>
                    <a:lnTo>
                      <a:pt x="518" y="97"/>
                    </a:lnTo>
                    <a:lnTo>
                      <a:pt x="525" y="103"/>
                    </a:lnTo>
                    <a:lnTo>
                      <a:pt x="530" y="109"/>
                    </a:lnTo>
                    <a:lnTo>
                      <a:pt x="534" y="115"/>
                    </a:lnTo>
                    <a:lnTo>
                      <a:pt x="538" y="120"/>
                    </a:lnTo>
                    <a:lnTo>
                      <a:pt x="540" y="124"/>
                    </a:lnTo>
                    <a:lnTo>
                      <a:pt x="544" y="131"/>
                    </a:lnTo>
                    <a:lnTo>
                      <a:pt x="546" y="136"/>
                    </a:lnTo>
                    <a:lnTo>
                      <a:pt x="546" y="138"/>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endParaRPr>
              </a:p>
            </p:txBody>
          </p:sp>
          <p:sp>
            <p:nvSpPr>
              <p:cNvPr id="202" name="Rectangle 201">
                <a:extLst>
                  <a:ext uri="{FF2B5EF4-FFF2-40B4-BE49-F238E27FC236}">
                    <a16:creationId xmlns:a16="http://schemas.microsoft.com/office/drawing/2014/main" id="{26434089-829D-AEA3-DE34-2EB5A57FCBB2}"/>
                  </a:ext>
                </a:extLst>
              </p:cNvPr>
              <p:cNvSpPr/>
              <p:nvPr/>
            </p:nvSpPr>
            <p:spPr>
              <a:xfrm>
                <a:off x="5174677" y="3787288"/>
                <a:ext cx="18288" cy="502920"/>
              </a:xfrm>
              <a:prstGeom prst="rect">
                <a:avLst/>
              </a:prstGeom>
              <a:grpFill/>
              <a:ln w="9525" cap="flat" cmpd="sng" algn="ctr">
                <a:solidFill>
                  <a:schemeClr val="bg1"/>
                </a:solid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ea typeface="+mn-ea"/>
                  <a:cs typeface="+mn-cs"/>
                </a:endParaRPr>
              </a:p>
            </p:txBody>
          </p:sp>
          <p:sp>
            <p:nvSpPr>
              <p:cNvPr id="203" name="Rectangle 202">
                <a:extLst>
                  <a:ext uri="{FF2B5EF4-FFF2-40B4-BE49-F238E27FC236}">
                    <a16:creationId xmlns:a16="http://schemas.microsoft.com/office/drawing/2014/main" id="{DA93D001-93B5-D703-DABC-729649E0D23A}"/>
                  </a:ext>
                </a:extLst>
              </p:cNvPr>
              <p:cNvSpPr/>
              <p:nvPr/>
            </p:nvSpPr>
            <p:spPr>
              <a:xfrm rot="16200000">
                <a:off x="5179442" y="4270041"/>
                <a:ext cx="35686" cy="39442"/>
              </a:xfrm>
              <a:prstGeom prst="rect">
                <a:avLst/>
              </a:prstGeom>
              <a:grpFill/>
              <a:ln w="9525" cap="flat" cmpd="sng" algn="ctr">
                <a:solidFill>
                  <a:schemeClr val="bg1"/>
                </a:solid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ea typeface="+mn-ea"/>
                  <a:cs typeface="+mn-cs"/>
                </a:endParaRPr>
              </a:p>
            </p:txBody>
          </p:sp>
          <p:sp>
            <p:nvSpPr>
              <p:cNvPr id="204" name="Rectangle 203">
                <a:extLst>
                  <a:ext uri="{FF2B5EF4-FFF2-40B4-BE49-F238E27FC236}">
                    <a16:creationId xmlns:a16="http://schemas.microsoft.com/office/drawing/2014/main" id="{E38D137A-8A64-8A81-0CBF-9FC51118477B}"/>
                  </a:ext>
                </a:extLst>
              </p:cNvPr>
              <p:cNvSpPr/>
              <p:nvPr/>
            </p:nvSpPr>
            <p:spPr>
              <a:xfrm rot="16200000">
                <a:off x="5174677" y="3791400"/>
                <a:ext cx="18288" cy="45720"/>
              </a:xfrm>
              <a:prstGeom prst="rect">
                <a:avLst/>
              </a:prstGeom>
              <a:grpFill/>
              <a:ln w="9525" cap="flat" cmpd="sng" algn="ctr">
                <a:solidFill>
                  <a:schemeClr val="bg1"/>
                </a:solid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ea typeface="+mn-ea"/>
                  <a:cs typeface="+mn-cs"/>
                </a:endParaRPr>
              </a:p>
            </p:txBody>
          </p:sp>
        </p:grpSp>
        <p:cxnSp>
          <p:nvCxnSpPr>
            <p:cNvPr id="325" name="Straight Connector 324">
              <a:extLst>
                <a:ext uri="{FF2B5EF4-FFF2-40B4-BE49-F238E27FC236}">
                  <a16:creationId xmlns:a16="http://schemas.microsoft.com/office/drawing/2014/main" id="{F67D715A-2B39-0DF6-37A0-D66AEF0F68F8}"/>
                </a:ext>
              </a:extLst>
            </p:cNvPr>
            <p:cNvCxnSpPr/>
            <p:nvPr/>
          </p:nvCxnSpPr>
          <p:spPr>
            <a:xfrm>
              <a:off x="6893720" y="4809331"/>
              <a:ext cx="0" cy="73025"/>
            </a:xfrm>
            <a:prstGeom prst="line">
              <a:avLst/>
            </a:prstGeom>
            <a:ln w="22225">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326" name="Straight Connector 325">
              <a:extLst>
                <a:ext uri="{FF2B5EF4-FFF2-40B4-BE49-F238E27FC236}">
                  <a16:creationId xmlns:a16="http://schemas.microsoft.com/office/drawing/2014/main" id="{BE52ACD3-C481-329F-58AF-1C047596938E}"/>
                </a:ext>
              </a:extLst>
            </p:cNvPr>
            <p:cNvCxnSpPr/>
            <p:nvPr/>
          </p:nvCxnSpPr>
          <p:spPr>
            <a:xfrm>
              <a:off x="6567489" y="5195093"/>
              <a:ext cx="0" cy="73025"/>
            </a:xfrm>
            <a:prstGeom prst="line">
              <a:avLst/>
            </a:prstGeom>
            <a:ln w="22225">
              <a:solidFill>
                <a:schemeClr val="bg1"/>
              </a:solidFill>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04156267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9711CD1-1D3B-5667-335C-734D561E6215}"/>
              </a:ext>
            </a:extLst>
          </p:cNvPr>
          <p:cNvSpPr>
            <a:spLocks noGrp="1"/>
          </p:cNvSpPr>
          <p:nvPr>
            <p:ph type="title"/>
          </p:nvPr>
        </p:nvSpPr>
        <p:spPr>
          <a:xfrm>
            <a:off x="609601" y="814388"/>
            <a:ext cx="10972800" cy="590400"/>
          </a:xfrm>
        </p:spPr>
        <p:txBody>
          <a:bodyPr/>
          <a:lstStyle/>
          <a:p>
            <a:r>
              <a:rPr lang="en-GB" dirty="0"/>
              <a:t>Texas severance tax: tax reimbursement language</a:t>
            </a:r>
            <a:endParaRPr lang="en-US" dirty="0"/>
          </a:p>
        </p:txBody>
      </p:sp>
      <p:sp>
        <p:nvSpPr>
          <p:cNvPr id="4" name="Text Placeholder 3">
            <a:extLst>
              <a:ext uri="{FF2B5EF4-FFF2-40B4-BE49-F238E27FC236}">
                <a16:creationId xmlns:a16="http://schemas.microsoft.com/office/drawing/2014/main" id="{BB98BCB7-85E5-F14F-1C77-8DD120FF6EBD}"/>
              </a:ext>
            </a:extLst>
          </p:cNvPr>
          <p:cNvSpPr>
            <a:spLocks noGrp="1"/>
          </p:cNvSpPr>
          <p:nvPr>
            <p:ph type="body" sz="quarter" idx="10"/>
          </p:nvPr>
        </p:nvSpPr>
        <p:spPr>
          <a:xfrm>
            <a:off x="609283" y="1662113"/>
            <a:ext cx="10975022" cy="4756150"/>
          </a:xfrm>
        </p:spPr>
        <p:txBody>
          <a:bodyPr/>
          <a:lstStyle/>
          <a:p>
            <a:r>
              <a:rPr lang="en-US" dirty="0"/>
              <a:t>As defined in the Texas Administrative Code Rule §3.18, tax reimbursement is a payment that a purchaser of gas makes to a producer for the purpose of reimbursing the producer for Texas severance taxes that are due under Tax Code, Chapter 201. </a:t>
            </a:r>
          </a:p>
          <a:p>
            <a:r>
              <a:rPr lang="en-US" dirty="0"/>
              <a:t>Requirements to establish tax reimbursement language (TRL):</a:t>
            </a:r>
          </a:p>
          <a:p>
            <a:pPr lvl="1"/>
            <a:r>
              <a:rPr lang="en-US" dirty="0"/>
              <a:t>The language must be separately stated in the contract, check stub or purchaser statement.</a:t>
            </a:r>
          </a:p>
          <a:p>
            <a:pPr lvl="1"/>
            <a:r>
              <a:rPr lang="en-US" dirty="0"/>
              <a:t>The contract between the producer and purchaser must contain language stating that the payment made by the purchaser includes severance tax reimbursement. Merely stating that “all taxes” are included is not specific enough.</a:t>
            </a:r>
          </a:p>
          <a:p>
            <a:pPr lvl="1"/>
            <a:r>
              <a:rPr lang="en-US" dirty="0"/>
              <a:t>Either party may overcome the presumption by using the purchaser’s records to show that severance tax reimbursement was included in the payment to the producer. </a:t>
            </a:r>
          </a:p>
        </p:txBody>
      </p:sp>
    </p:spTree>
    <p:extLst>
      <p:ext uri="{BB962C8B-B14F-4D97-AF65-F5344CB8AC3E}">
        <p14:creationId xmlns:p14="http://schemas.microsoft.com/office/powerpoint/2010/main" val="421543303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DC378B-63CE-B9B6-1B64-74D8C8C7E240}"/>
              </a:ext>
            </a:extLst>
          </p:cNvPr>
          <p:cNvSpPr>
            <a:spLocks noGrp="1"/>
          </p:cNvSpPr>
          <p:nvPr>
            <p:ph type="title"/>
          </p:nvPr>
        </p:nvSpPr>
        <p:spPr>
          <a:xfrm>
            <a:off x="609601" y="814388"/>
            <a:ext cx="10972800" cy="590400"/>
          </a:xfrm>
        </p:spPr>
        <p:txBody>
          <a:bodyPr/>
          <a:lstStyle/>
          <a:p>
            <a:r>
              <a:rPr lang="en-GB" dirty="0"/>
              <a:t>Texas severance tax: tax reimbursement language example</a:t>
            </a:r>
            <a:endParaRPr lang="en-US" dirty="0"/>
          </a:p>
        </p:txBody>
      </p:sp>
      <p:sp>
        <p:nvSpPr>
          <p:cNvPr id="5" name="Text Placeholder 4">
            <a:extLst>
              <a:ext uri="{FF2B5EF4-FFF2-40B4-BE49-F238E27FC236}">
                <a16:creationId xmlns:a16="http://schemas.microsoft.com/office/drawing/2014/main" id="{9B997E11-E7B6-1EF8-215C-7A7700F7B7C6}"/>
              </a:ext>
            </a:extLst>
          </p:cNvPr>
          <p:cNvSpPr>
            <a:spLocks noGrp="1"/>
          </p:cNvSpPr>
          <p:nvPr>
            <p:ph type="body" sz="quarter" idx="10"/>
          </p:nvPr>
        </p:nvSpPr>
        <p:spPr>
          <a:xfrm>
            <a:off x="609600" y="1662113"/>
            <a:ext cx="5684520" cy="4756150"/>
          </a:xfrm>
        </p:spPr>
        <p:txBody>
          <a:bodyPr/>
          <a:lstStyle/>
          <a:p>
            <a:r>
              <a:rPr lang="en-US" dirty="0"/>
              <a:t>Here is an example:</a:t>
            </a:r>
          </a:p>
          <a:p>
            <a:pPr lvl="1"/>
            <a:r>
              <a:rPr lang="en-US" dirty="0"/>
              <a:t>As a producer, you sell 1,000 mcf to a purchaser for $3/mcf. The total purchaser price is $3,000. </a:t>
            </a:r>
          </a:p>
          <a:p>
            <a:pPr lvl="1"/>
            <a:r>
              <a:rPr lang="en-US" dirty="0"/>
              <a:t>For simplification purposes, let’s assume there are no deductions or exemptions in this example. </a:t>
            </a:r>
          </a:p>
          <a:p>
            <a:pPr lvl="1"/>
            <a:r>
              <a:rPr lang="en-US" dirty="0"/>
              <a:t>As a producer, with no tax reimbursement language, you’d pay taxes on a value of $3,000 — which would be $3,000 * 7.5% = $225 of severance tax. </a:t>
            </a:r>
          </a:p>
          <a:p>
            <a:pPr lvl="1"/>
            <a:r>
              <a:rPr lang="en-US" dirty="0"/>
              <a:t>If TRL exists in the contract, then the purchaser paid you $3,000 / 1.075 = $2,790.70. </a:t>
            </a:r>
          </a:p>
          <a:p>
            <a:pPr lvl="1"/>
            <a:r>
              <a:rPr lang="en-US" dirty="0"/>
              <a:t>Now, as the producer, you will pay taxes of $2,790.70 * 7.5% = $209.30. </a:t>
            </a:r>
          </a:p>
          <a:p>
            <a:pPr lvl="1"/>
            <a:r>
              <a:rPr lang="en-US" dirty="0"/>
              <a:t>This results in $15.70 in savings in this example. </a:t>
            </a:r>
          </a:p>
          <a:p>
            <a:pPr lvl="1"/>
            <a:endParaRPr lang="en-US" dirty="0"/>
          </a:p>
          <a:p>
            <a:pPr lvl="2"/>
            <a:endParaRPr lang="en-US" dirty="0"/>
          </a:p>
          <a:p>
            <a:endParaRPr lang="en-US" dirty="0"/>
          </a:p>
        </p:txBody>
      </p:sp>
      <p:pic>
        <p:nvPicPr>
          <p:cNvPr id="9" name="Picture 8" descr="Silhouette of oil rigs at sunset&#10;&#10;Description automatically generated">
            <a:extLst>
              <a:ext uri="{FF2B5EF4-FFF2-40B4-BE49-F238E27FC236}">
                <a16:creationId xmlns:a16="http://schemas.microsoft.com/office/drawing/2014/main" id="{04E443F1-2AEF-A38F-4D92-FC0D952D299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507479" y="1662113"/>
            <a:ext cx="5684520" cy="4967287"/>
          </a:xfrm>
          <a:prstGeom prst="rect">
            <a:avLst/>
          </a:prstGeom>
        </p:spPr>
      </p:pic>
    </p:spTree>
    <p:extLst>
      <p:ext uri="{BB962C8B-B14F-4D97-AF65-F5344CB8AC3E}">
        <p14:creationId xmlns:p14="http://schemas.microsoft.com/office/powerpoint/2010/main" val="395005119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2F04B9-3235-3636-2277-1FD07287BA17}"/>
              </a:ext>
            </a:extLst>
          </p:cNvPr>
          <p:cNvSpPr>
            <a:spLocks noGrp="1"/>
          </p:cNvSpPr>
          <p:nvPr>
            <p:ph type="title"/>
          </p:nvPr>
        </p:nvSpPr>
        <p:spPr>
          <a:xfrm>
            <a:off x="609601" y="814388"/>
            <a:ext cx="10972800" cy="590400"/>
          </a:xfrm>
        </p:spPr>
        <p:txBody>
          <a:bodyPr/>
          <a:lstStyle/>
          <a:p>
            <a:r>
              <a:rPr lang="en-IN" dirty="0"/>
              <a:t>Texas severance tax exemptions</a:t>
            </a:r>
            <a:endParaRPr lang="en-US" dirty="0"/>
          </a:p>
        </p:txBody>
      </p:sp>
      <p:sp>
        <p:nvSpPr>
          <p:cNvPr id="5" name="Text Placeholder 4">
            <a:extLst>
              <a:ext uri="{FF2B5EF4-FFF2-40B4-BE49-F238E27FC236}">
                <a16:creationId xmlns:a16="http://schemas.microsoft.com/office/drawing/2014/main" id="{40700F2F-1BE7-8971-4335-0B2A34FF2C41}"/>
              </a:ext>
            </a:extLst>
          </p:cNvPr>
          <p:cNvSpPr>
            <a:spLocks noGrp="1"/>
          </p:cNvSpPr>
          <p:nvPr>
            <p:ph type="body" sz="quarter" idx="10"/>
          </p:nvPr>
        </p:nvSpPr>
        <p:spPr>
          <a:xfrm>
            <a:off x="609600" y="1662113"/>
            <a:ext cx="10974388" cy="1856591"/>
          </a:xfrm>
        </p:spPr>
        <p:txBody>
          <a:bodyPr/>
          <a:lstStyle/>
          <a:p>
            <a:r>
              <a:rPr lang="en-US" sz="1600" dirty="0"/>
              <a:t>The state of Texas offers various exemptions that reduce severance tax rates for oil and gas. </a:t>
            </a:r>
          </a:p>
          <a:p>
            <a:pPr lvl="1"/>
            <a:r>
              <a:rPr lang="en-US" sz="1400" dirty="0">
                <a:solidFill>
                  <a:srgbClr val="FFE600"/>
                </a:solidFill>
              </a:rPr>
              <a:t>Low-producing tax credit: </a:t>
            </a:r>
            <a:r>
              <a:rPr lang="en-US" sz="1400" dirty="0"/>
              <a:t>Average production during a consecutive three-month period must be below 15 bbl/day </a:t>
            </a:r>
            <a:br>
              <a:rPr lang="en-US" sz="1400" dirty="0"/>
            </a:br>
            <a:r>
              <a:rPr lang="en-US" sz="1400" dirty="0"/>
              <a:t>(or less than 5% recoverable oil per barrel of produced water) or 90 mcf/day for a well to qualify.</a:t>
            </a:r>
          </a:p>
          <a:p>
            <a:pPr lvl="2"/>
            <a:r>
              <a:rPr lang="en-US" sz="1200" dirty="0"/>
              <a:t>No exemption: gas price &gt; $3.50, oil price &gt; $30.00</a:t>
            </a:r>
          </a:p>
          <a:p>
            <a:pPr lvl="2"/>
            <a:r>
              <a:rPr lang="en-US" sz="1200" dirty="0"/>
              <a:t>25% credit: gas price ($3.01–$3.50), oil price ($25.01–$30.00)</a:t>
            </a:r>
          </a:p>
          <a:p>
            <a:pPr lvl="2"/>
            <a:r>
              <a:rPr lang="en-US" sz="1200" dirty="0"/>
              <a:t>50% credit: gas price ($2.51–$3.00), oil price ($22.01–$25.00)</a:t>
            </a:r>
          </a:p>
          <a:p>
            <a:pPr lvl="2"/>
            <a:r>
              <a:rPr lang="en-US" sz="1200" dirty="0"/>
              <a:t>100% credit: gas price &lt;=$2.50, oil price &lt;=$22.00</a:t>
            </a:r>
          </a:p>
          <a:p>
            <a:pPr lvl="2"/>
            <a:r>
              <a:rPr lang="en-US" sz="1200" dirty="0"/>
              <a:t>Crude oil exemption begins falling off to statute on July 20, 2024</a:t>
            </a:r>
          </a:p>
          <a:p>
            <a:endParaRPr lang="en-US" sz="1600" dirty="0"/>
          </a:p>
        </p:txBody>
      </p:sp>
      <p:graphicFrame>
        <p:nvGraphicFramePr>
          <p:cNvPr id="10" name="Content Placeholder 9">
            <a:extLst>
              <a:ext uri="{FF2B5EF4-FFF2-40B4-BE49-F238E27FC236}">
                <a16:creationId xmlns:a16="http://schemas.microsoft.com/office/drawing/2014/main" id="{B39FFED6-DB6D-E267-6FA5-1A2C2F85027D}"/>
              </a:ext>
            </a:extLst>
          </p:cNvPr>
          <p:cNvGraphicFramePr>
            <a:graphicFrameLocks/>
          </p:cNvGraphicFramePr>
          <p:nvPr>
            <p:extLst>
              <p:ext uri="{D42A27DB-BD31-4B8C-83A1-F6EECF244321}">
                <p14:modId xmlns:p14="http://schemas.microsoft.com/office/powerpoint/2010/main" val="1905030572"/>
              </p:ext>
            </p:extLst>
          </p:nvPr>
        </p:nvGraphicFramePr>
        <p:xfrm>
          <a:off x="612775" y="3914300"/>
          <a:ext cx="5308600" cy="2715100"/>
        </p:xfrm>
        <a:graphic>
          <a:graphicData uri="http://schemas.openxmlformats.org/drawingml/2006/table">
            <a:tbl>
              <a:tblPr firstRow="1" bandRow="1">
                <a:tableStyleId>{5C22544A-7EE6-4342-B048-85BDC9FD1C3A}</a:tableStyleId>
              </a:tblPr>
              <a:tblGrid>
                <a:gridCol w="1405416">
                  <a:extLst>
                    <a:ext uri="{9D8B030D-6E8A-4147-A177-3AD203B41FA5}">
                      <a16:colId xmlns:a16="http://schemas.microsoft.com/office/drawing/2014/main" val="20000"/>
                    </a:ext>
                  </a:extLst>
                </a:gridCol>
                <a:gridCol w="1300164">
                  <a:extLst>
                    <a:ext uri="{9D8B030D-6E8A-4147-A177-3AD203B41FA5}">
                      <a16:colId xmlns:a16="http://schemas.microsoft.com/office/drawing/2014/main" val="20001"/>
                    </a:ext>
                  </a:extLst>
                </a:gridCol>
                <a:gridCol w="2603020">
                  <a:extLst>
                    <a:ext uri="{9D8B030D-6E8A-4147-A177-3AD203B41FA5}">
                      <a16:colId xmlns:a16="http://schemas.microsoft.com/office/drawing/2014/main" val="20002"/>
                    </a:ext>
                  </a:extLst>
                </a:gridCol>
              </a:tblGrid>
              <a:tr h="271510">
                <a:tc gridSpan="3">
                  <a:txBody>
                    <a:bodyPr/>
                    <a:lstStyle/>
                    <a:p>
                      <a:pPr algn="l" fontAlgn="ctr"/>
                      <a:r>
                        <a:rPr lang="en-US" sz="1000" b="1" i="0" u="none" strike="noStrike" dirty="0">
                          <a:solidFill>
                            <a:schemeClr val="bg1"/>
                          </a:solidFill>
                          <a:effectLst/>
                          <a:latin typeface="+mn-lt"/>
                        </a:rPr>
                        <a:t>Pricing schedules and exemption eligibility by month</a:t>
                      </a:r>
                    </a:p>
                  </a:txBody>
                  <a:tcPr marR="7620" marT="7620" marB="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rgbClr val="747480"/>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271510">
                <a:tc>
                  <a:txBody>
                    <a:bodyPr/>
                    <a:lstStyle/>
                    <a:p>
                      <a:pPr algn="l" fontAlgn="ctr"/>
                      <a:r>
                        <a:rPr lang="en-US" sz="1000" b="1" i="0" u="none" strike="noStrike" dirty="0">
                          <a:solidFill>
                            <a:schemeClr val="bg1"/>
                          </a:solidFill>
                          <a:effectLst/>
                          <a:latin typeface="+mn-lt"/>
                        </a:rPr>
                        <a:t>Report period</a:t>
                      </a:r>
                    </a:p>
                  </a:txBody>
                  <a:tcPr marR="7620" marT="7620" marB="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l" fontAlgn="ctr"/>
                      <a:r>
                        <a:rPr lang="en-US" sz="1000" b="1" i="0" u="none" strike="noStrike" dirty="0">
                          <a:solidFill>
                            <a:schemeClr val="bg1"/>
                          </a:solidFill>
                          <a:effectLst/>
                          <a:latin typeface="+mn-lt"/>
                        </a:rPr>
                        <a:t>Price of gas</a:t>
                      </a:r>
                    </a:p>
                  </a:txBody>
                  <a:tcPr marR="7620" marT="7620" marB="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l" fontAlgn="ctr"/>
                      <a:r>
                        <a:rPr lang="en-US" sz="1000" b="1" i="0" u="none" strike="noStrike" dirty="0">
                          <a:solidFill>
                            <a:schemeClr val="bg1"/>
                          </a:solidFill>
                          <a:effectLst/>
                          <a:latin typeface="+mn-lt"/>
                        </a:rPr>
                        <a:t>Eligibility</a:t>
                      </a:r>
                    </a:p>
                  </a:txBody>
                  <a:tcPr marR="7620" marT="7620" marB="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10001"/>
                  </a:ext>
                </a:extLst>
              </a:tr>
              <a:tr h="271510">
                <a:tc>
                  <a:txBody>
                    <a:bodyPr/>
                    <a:lstStyle/>
                    <a:p>
                      <a:pPr algn="l" fontAlgn="ctr"/>
                      <a:r>
                        <a:rPr lang="en-US" sz="1000" b="1" i="0" u="none" strike="noStrike" dirty="0">
                          <a:solidFill>
                            <a:schemeClr val="bg1"/>
                          </a:solidFill>
                          <a:effectLst/>
                          <a:latin typeface="+mn-lt"/>
                        </a:rPr>
                        <a:t>July 2024</a:t>
                      </a:r>
                    </a:p>
                  </a:txBody>
                  <a:tcPr marR="7620" marT="7620" marB="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l" fontAlgn="ctr"/>
                      <a:r>
                        <a:rPr lang="en-US" sz="1000" b="0" i="0" u="none" strike="noStrike" dirty="0">
                          <a:solidFill>
                            <a:schemeClr val="bg1"/>
                          </a:solidFill>
                          <a:effectLst/>
                          <a:latin typeface="+mn-lt"/>
                        </a:rPr>
                        <a:t>$1.19/mcf</a:t>
                      </a:r>
                    </a:p>
                  </a:txBody>
                  <a:tcPr marR="7620" marT="7620" marB="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l" fontAlgn="ctr"/>
                      <a:r>
                        <a:rPr lang="en-US" sz="1000" b="0" i="0" u="none" strike="noStrike" dirty="0">
                          <a:solidFill>
                            <a:schemeClr val="bg1"/>
                          </a:solidFill>
                          <a:effectLst/>
                          <a:latin typeface="+mn-lt"/>
                        </a:rPr>
                        <a:t>Eligible for 100% credit</a:t>
                      </a:r>
                    </a:p>
                  </a:txBody>
                  <a:tcPr marR="7620" marT="7620" marB="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10002"/>
                  </a:ext>
                </a:extLst>
              </a:tr>
              <a:tr h="271510">
                <a:tc>
                  <a:txBody>
                    <a:bodyPr/>
                    <a:lstStyle/>
                    <a:p>
                      <a:pPr algn="l" fontAlgn="ctr"/>
                      <a:r>
                        <a:rPr lang="en-US" sz="1000" b="1" i="0" u="none" strike="noStrike" dirty="0">
                          <a:solidFill>
                            <a:schemeClr val="bg1"/>
                          </a:solidFill>
                          <a:effectLst/>
                          <a:latin typeface="+mn-lt"/>
                        </a:rPr>
                        <a:t>June 2024</a:t>
                      </a:r>
                    </a:p>
                  </a:txBody>
                  <a:tcPr marR="7620" marT="7620" marB="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l" fontAlgn="ctr"/>
                      <a:r>
                        <a:rPr lang="en-US" sz="1000" b="0" i="0" u="none" strike="noStrike" dirty="0">
                          <a:solidFill>
                            <a:schemeClr val="bg1"/>
                          </a:solidFill>
                          <a:effectLst/>
                          <a:latin typeface="+mn-lt"/>
                        </a:rPr>
                        <a:t>$1.24/mcf</a:t>
                      </a:r>
                    </a:p>
                  </a:txBody>
                  <a:tcPr marR="7620" marT="7620" marB="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l" fontAlgn="ctr"/>
                      <a:r>
                        <a:rPr lang="en-US" sz="1000" b="0" i="0" u="none" strike="noStrike" dirty="0">
                          <a:solidFill>
                            <a:schemeClr val="bg1"/>
                          </a:solidFill>
                          <a:effectLst/>
                          <a:latin typeface="+mn-lt"/>
                        </a:rPr>
                        <a:t>Eligible for 100% credit</a:t>
                      </a:r>
                    </a:p>
                  </a:txBody>
                  <a:tcPr marR="7620" marT="7620" marB="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10003"/>
                  </a:ext>
                </a:extLst>
              </a:tr>
              <a:tr h="271510">
                <a:tc>
                  <a:txBody>
                    <a:bodyPr/>
                    <a:lstStyle/>
                    <a:p>
                      <a:pPr marL="0" marR="0" lvl="0" indent="0" algn="l" defTabSz="685434" rtl="0" eaLnBrk="1" fontAlgn="ctr" latinLnBrk="0" hangingPunct="1">
                        <a:lnSpc>
                          <a:spcPct val="100000"/>
                        </a:lnSpc>
                        <a:spcBef>
                          <a:spcPts val="0"/>
                        </a:spcBef>
                        <a:spcAft>
                          <a:spcPts val="0"/>
                        </a:spcAft>
                        <a:buClrTx/>
                        <a:buSzTx/>
                        <a:buFontTx/>
                        <a:buNone/>
                        <a:tabLst/>
                        <a:defRPr/>
                      </a:pPr>
                      <a:r>
                        <a:rPr lang="en-US" sz="1000" b="1" i="0" u="none" strike="noStrike" dirty="0">
                          <a:solidFill>
                            <a:schemeClr val="bg1"/>
                          </a:solidFill>
                          <a:effectLst/>
                          <a:latin typeface="+mn-lt"/>
                        </a:rPr>
                        <a:t>May 2024</a:t>
                      </a:r>
                    </a:p>
                  </a:txBody>
                  <a:tcPr marR="7620" marT="7620" marB="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l" fontAlgn="ctr"/>
                      <a:r>
                        <a:rPr lang="en-US" sz="1000" b="0" i="0" u="none" strike="noStrike" dirty="0">
                          <a:solidFill>
                            <a:schemeClr val="bg1"/>
                          </a:solidFill>
                          <a:effectLst/>
                          <a:latin typeface="+mn-lt"/>
                        </a:rPr>
                        <a:t>$1.06/mcf</a:t>
                      </a:r>
                    </a:p>
                  </a:txBody>
                  <a:tcPr marR="7620" marT="7620" marB="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l" fontAlgn="ctr"/>
                      <a:r>
                        <a:rPr lang="en-US" sz="1000" b="0" i="0" u="none" strike="noStrike" dirty="0">
                          <a:solidFill>
                            <a:schemeClr val="bg1"/>
                          </a:solidFill>
                          <a:effectLst/>
                          <a:latin typeface="+mn-lt"/>
                        </a:rPr>
                        <a:t>Eligible for 100% credit</a:t>
                      </a:r>
                    </a:p>
                  </a:txBody>
                  <a:tcPr marR="7620" marT="7620" marB="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10004"/>
                  </a:ext>
                </a:extLst>
              </a:tr>
              <a:tr h="271510">
                <a:tc>
                  <a:txBody>
                    <a:bodyPr/>
                    <a:lstStyle/>
                    <a:p>
                      <a:pPr algn="l" fontAlgn="ctr"/>
                      <a:r>
                        <a:rPr lang="en-US" sz="1000" b="1" i="0" u="none" strike="noStrike" dirty="0">
                          <a:solidFill>
                            <a:schemeClr val="bg1"/>
                          </a:solidFill>
                          <a:effectLst/>
                          <a:latin typeface="+mn-lt"/>
                        </a:rPr>
                        <a:t>April 2024</a:t>
                      </a:r>
                    </a:p>
                  </a:txBody>
                  <a:tcPr marR="7620" marT="7620" marB="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l" fontAlgn="ctr"/>
                      <a:r>
                        <a:rPr lang="en-US" sz="1000" b="0" i="0" u="none" strike="noStrike" dirty="0">
                          <a:solidFill>
                            <a:schemeClr val="bg1"/>
                          </a:solidFill>
                          <a:effectLst/>
                          <a:latin typeface="+mn-lt"/>
                        </a:rPr>
                        <a:t>$1.10/mcf</a:t>
                      </a:r>
                    </a:p>
                  </a:txBody>
                  <a:tcPr marR="7620" marT="7620" marB="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l" fontAlgn="ctr"/>
                      <a:r>
                        <a:rPr lang="en-US" sz="1000" b="0" i="0" u="none" strike="noStrike" dirty="0">
                          <a:solidFill>
                            <a:schemeClr val="bg1"/>
                          </a:solidFill>
                          <a:effectLst/>
                          <a:latin typeface="+mn-lt"/>
                        </a:rPr>
                        <a:t>Eligible for 100% credit</a:t>
                      </a:r>
                    </a:p>
                  </a:txBody>
                  <a:tcPr marR="7620" marT="7620" marB="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10005"/>
                  </a:ext>
                </a:extLst>
              </a:tr>
              <a:tr h="271510">
                <a:tc>
                  <a:txBody>
                    <a:bodyPr/>
                    <a:lstStyle/>
                    <a:p>
                      <a:pPr algn="l" fontAlgn="ctr"/>
                      <a:r>
                        <a:rPr lang="en-US" sz="1000" b="1" i="0" u="none" strike="noStrike" dirty="0">
                          <a:solidFill>
                            <a:schemeClr val="bg1"/>
                          </a:solidFill>
                          <a:effectLst/>
                          <a:latin typeface="+mn-lt"/>
                        </a:rPr>
                        <a:t>March 2024</a:t>
                      </a:r>
                    </a:p>
                  </a:txBody>
                  <a:tcPr marR="7620" marT="7620" marB="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l" fontAlgn="ctr"/>
                      <a:r>
                        <a:rPr lang="en-US" sz="1000" b="0" i="0" u="none" strike="noStrike" dirty="0">
                          <a:solidFill>
                            <a:schemeClr val="bg1"/>
                          </a:solidFill>
                          <a:effectLst/>
                          <a:latin typeface="+mn-lt"/>
                        </a:rPr>
                        <a:t>$1.16/mcf</a:t>
                      </a:r>
                    </a:p>
                  </a:txBody>
                  <a:tcPr marR="7620" marT="7620" marB="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l" fontAlgn="ctr"/>
                      <a:r>
                        <a:rPr lang="en-US" sz="1000" b="0" i="0" u="none" strike="noStrike" dirty="0">
                          <a:solidFill>
                            <a:schemeClr val="bg1"/>
                          </a:solidFill>
                          <a:effectLst/>
                          <a:latin typeface="+mn-lt"/>
                        </a:rPr>
                        <a:t>Eligible for 100% credit</a:t>
                      </a:r>
                    </a:p>
                  </a:txBody>
                  <a:tcPr marR="7620" marT="7620" marB="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10006"/>
                  </a:ext>
                </a:extLst>
              </a:tr>
              <a:tr h="271510">
                <a:tc>
                  <a:txBody>
                    <a:bodyPr/>
                    <a:lstStyle/>
                    <a:p>
                      <a:pPr algn="l" fontAlgn="ctr"/>
                      <a:r>
                        <a:rPr lang="en-US" sz="1000" b="1" i="0" u="none" strike="noStrike" dirty="0">
                          <a:solidFill>
                            <a:schemeClr val="bg1"/>
                          </a:solidFill>
                          <a:effectLst/>
                          <a:latin typeface="+mn-lt"/>
                        </a:rPr>
                        <a:t>February 2024</a:t>
                      </a:r>
                    </a:p>
                  </a:txBody>
                  <a:tcPr marR="7620" marT="7620" marB="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l" fontAlgn="ctr"/>
                      <a:r>
                        <a:rPr lang="en-US" sz="1000" b="0" i="0" u="none" strike="noStrike" dirty="0">
                          <a:solidFill>
                            <a:schemeClr val="bg1"/>
                          </a:solidFill>
                          <a:effectLst/>
                          <a:latin typeface="+mn-lt"/>
                        </a:rPr>
                        <a:t>$1.39/mcf</a:t>
                      </a:r>
                    </a:p>
                  </a:txBody>
                  <a:tcPr marR="7620" marT="7620" marB="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l" fontAlgn="ctr"/>
                      <a:r>
                        <a:rPr lang="en-US" sz="1000" b="0" i="0" u="none" strike="noStrike" dirty="0">
                          <a:solidFill>
                            <a:schemeClr val="bg1"/>
                          </a:solidFill>
                          <a:effectLst/>
                          <a:latin typeface="+mn-lt"/>
                        </a:rPr>
                        <a:t>Eligible for 100% credit</a:t>
                      </a:r>
                    </a:p>
                  </a:txBody>
                  <a:tcPr marR="7620" marT="7620" marB="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10007"/>
                  </a:ext>
                </a:extLst>
              </a:tr>
              <a:tr h="271510">
                <a:tc>
                  <a:txBody>
                    <a:bodyPr/>
                    <a:lstStyle/>
                    <a:p>
                      <a:pPr algn="l" fontAlgn="ctr"/>
                      <a:r>
                        <a:rPr lang="en-US" sz="1000" b="1" i="0" u="none" strike="noStrike" dirty="0">
                          <a:solidFill>
                            <a:schemeClr val="bg1"/>
                          </a:solidFill>
                          <a:effectLst/>
                          <a:latin typeface="+mn-lt"/>
                        </a:rPr>
                        <a:t>January 2024</a:t>
                      </a:r>
                    </a:p>
                  </a:txBody>
                  <a:tcPr marR="7620" marT="7620" marB="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l" fontAlgn="ctr"/>
                      <a:r>
                        <a:rPr lang="en-US" sz="1000" b="0" i="0" u="none" strike="noStrike" dirty="0">
                          <a:solidFill>
                            <a:schemeClr val="bg1"/>
                          </a:solidFill>
                          <a:effectLst/>
                          <a:latin typeface="+mn-lt"/>
                        </a:rPr>
                        <a:t>$1.56/mcf</a:t>
                      </a:r>
                    </a:p>
                  </a:txBody>
                  <a:tcPr marR="7620" marT="7620" marB="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l" fontAlgn="ctr"/>
                      <a:r>
                        <a:rPr lang="en-US" sz="1000" b="0" i="0" u="none" strike="noStrike" dirty="0">
                          <a:solidFill>
                            <a:schemeClr val="bg1"/>
                          </a:solidFill>
                          <a:effectLst/>
                          <a:latin typeface="+mn-lt"/>
                        </a:rPr>
                        <a:t>Eligible for 100% credit</a:t>
                      </a:r>
                    </a:p>
                  </a:txBody>
                  <a:tcPr marR="7620" marT="7620" marB="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10008"/>
                  </a:ext>
                </a:extLst>
              </a:tr>
              <a:tr h="271510">
                <a:tc>
                  <a:txBody>
                    <a:bodyPr/>
                    <a:lstStyle/>
                    <a:p>
                      <a:pPr algn="l" fontAlgn="ctr"/>
                      <a:r>
                        <a:rPr lang="en-US" sz="1000" b="1" i="0" u="none" strike="noStrike" dirty="0">
                          <a:solidFill>
                            <a:schemeClr val="bg1"/>
                          </a:solidFill>
                          <a:effectLst/>
                          <a:latin typeface="+mn-lt"/>
                        </a:rPr>
                        <a:t>December 2023</a:t>
                      </a:r>
                    </a:p>
                  </a:txBody>
                  <a:tcPr marR="7620" marT="7620" marB="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marL="0" marR="0" lvl="0" indent="0" algn="l" defTabSz="685434" rtl="0" eaLnBrk="1" fontAlgn="ctr" latinLnBrk="0" hangingPunct="1">
                        <a:lnSpc>
                          <a:spcPct val="100000"/>
                        </a:lnSpc>
                        <a:spcBef>
                          <a:spcPts val="0"/>
                        </a:spcBef>
                        <a:spcAft>
                          <a:spcPts val="0"/>
                        </a:spcAft>
                        <a:buClrTx/>
                        <a:buSzTx/>
                        <a:buFontTx/>
                        <a:buNone/>
                        <a:tabLst/>
                        <a:defRPr/>
                      </a:pPr>
                      <a:r>
                        <a:rPr lang="en-US" sz="1000" b="0" i="0" u="none" strike="noStrike" dirty="0">
                          <a:solidFill>
                            <a:schemeClr val="bg1"/>
                          </a:solidFill>
                          <a:effectLst/>
                          <a:latin typeface="+mn-lt"/>
                        </a:rPr>
                        <a:t>$1.61/mcf</a:t>
                      </a:r>
                    </a:p>
                  </a:txBody>
                  <a:tcPr marR="7620" marT="7620" marB="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l" fontAlgn="ctr"/>
                      <a:r>
                        <a:rPr lang="en-US" sz="1000" b="0" i="0" u="none" strike="noStrike" dirty="0">
                          <a:solidFill>
                            <a:schemeClr val="bg1"/>
                          </a:solidFill>
                          <a:effectLst/>
                          <a:latin typeface="+mn-lt"/>
                        </a:rPr>
                        <a:t>Eligible for 100% credit </a:t>
                      </a:r>
                    </a:p>
                  </a:txBody>
                  <a:tcPr marR="7620" marT="7620" marB="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10009"/>
                  </a:ext>
                </a:extLst>
              </a:tr>
            </a:tbl>
          </a:graphicData>
        </a:graphic>
      </p:graphicFrame>
      <p:graphicFrame>
        <p:nvGraphicFramePr>
          <p:cNvPr id="11" name="Content Placeholder 9">
            <a:extLst>
              <a:ext uri="{FF2B5EF4-FFF2-40B4-BE49-F238E27FC236}">
                <a16:creationId xmlns:a16="http://schemas.microsoft.com/office/drawing/2014/main" id="{BBBEA0C8-B728-242C-189B-7BAF5C18FEC4}"/>
              </a:ext>
            </a:extLst>
          </p:cNvPr>
          <p:cNvGraphicFramePr>
            <a:graphicFrameLocks/>
          </p:cNvGraphicFramePr>
          <p:nvPr>
            <p:extLst>
              <p:ext uri="{D42A27DB-BD31-4B8C-83A1-F6EECF244321}">
                <p14:modId xmlns:p14="http://schemas.microsoft.com/office/powerpoint/2010/main" val="582681696"/>
              </p:ext>
            </p:extLst>
          </p:nvPr>
        </p:nvGraphicFramePr>
        <p:xfrm>
          <a:off x="6270625" y="3914300"/>
          <a:ext cx="5308600" cy="2715100"/>
        </p:xfrm>
        <a:graphic>
          <a:graphicData uri="http://schemas.openxmlformats.org/drawingml/2006/table">
            <a:tbl>
              <a:tblPr firstRow="1" bandRow="1">
                <a:tableStyleId>{5C22544A-7EE6-4342-B048-85BDC9FD1C3A}</a:tableStyleId>
              </a:tblPr>
              <a:tblGrid>
                <a:gridCol w="1405416">
                  <a:extLst>
                    <a:ext uri="{9D8B030D-6E8A-4147-A177-3AD203B41FA5}">
                      <a16:colId xmlns:a16="http://schemas.microsoft.com/office/drawing/2014/main" val="20000"/>
                    </a:ext>
                  </a:extLst>
                </a:gridCol>
                <a:gridCol w="1300164">
                  <a:extLst>
                    <a:ext uri="{9D8B030D-6E8A-4147-A177-3AD203B41FA5}">
                      <a16:colId xmlns:a16="http://schemas.microsoft.com/office/drawing/2014/main" val="20001"/>
                    </a:ext>
                  </a:extLst>
                </a:gridCol>
                <a:gridCol w="2603020">
                  <a:extLst>
                    <a:ext uri="{9D8B030D-6E8A-4147-A177-3AD203B41FA5}">
                      <a16:colId xmlns:a16="http://schemas.microsoft.com/office/drawing/2014/main" val="20002"/>
                    </a:ext>
                  </a:extLst>
                </a:gridCol>
              </a:tblGrid>
              <a:tr h="271510">
                <a:tc gridSpan="3">
                  <a:txBody>
                    <a:bodyPr/>
                    <a:lstStyle/>
                    <a:p>
                      <a:pPr algn="l" fontAlgn="ctr"/>
                      <a:r>
                        <a:rPr lang="en-US" sz="1000" b="1" i="0" u="none" strike="noStrike" dirty="0">
                          <a:solidFill>
                            <a:schemeClr val="bg1"/>
                          </a:solidFill>
                          <a:effectLst/>
                          <a:latin typeface="+mn-lt"/>
                        </a:rPr>
                        <a:t>Pricing schedules and exemption eligibility by month</a:t>
                      </a:r>
                    </a:p>
                  </a:txBody>
                  <a:tcPr marR="7620" marT="7620" marB="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rgbClr val="747480"/>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271510">
                <a:tc>
                  <a:txBody>
                    <a:bodyPr/>
                    <a:lstStyle/>
                    <a:p>
                      <a:pPr algn="l" fontAlgn="ctr"/>
                      <a:r>
                        <a:rPr lang="en-US" sz="1000" b="1" i="0" u="none" strike="noStrike" dirty="0">
                          <a:solidFill>
                            <a:schemeClr val="bg1"/>
                          </a:solidFill>
                          <a:effectLst/>
                          <a:latin typeface="+mn-lt"/>
                        </a:rPr>
                        <a:t>Report period</a:t>
                      </a:r>
                    </a:p>
                  </a:txBody>
                  <a:tcPr marR="7620" marT="7620" marB="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l" fontAlgn="ctr"/>
                      <a:r>
                        <a:rPr lang="en-US" sz="1000" b="1" i="0" u="none" strike="noStrike" dirty="0">
                          <a:solidFill>
                            <a:schemeClr val="bg1"/>
                          </a:solidFill>
                          <a:effectLst/>
                          <a:latin typeface="+mn-lt"/>
                        </a:rPr>
                        <a:t>Price of oil</a:t>
                      </a:r>
                    </a:p>
                  </a:txBody>
                  <a:tcPr marR="7620" marT="7620" marB="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l" fontAlgn="ctr"/>
                      <a:r>
                        <a:rPr lang="en-US" sz="1000" b="1" i="0" u="none" strike="noStrike" dirty="0">
                          <a:solidFill>
                            <a:schemeClr val="bg1"/>
                          </a:solidFill>
                          <a:effectLst/>
                          <a:latin typeface="+mn-lt"/>
                        </a:rPr>
                        <a:t>Eligibility</a:t>
                      </a:r>
                    </a:p>
                  </a:txBody>
                  <a:tcPr marR="7620" marT="7620" marB="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10001"/>
                  </a:ext>
                </a:extLst>
              </a:tr>
              <a:tr h="271510">
                <a:tc>
                  <a:txBody>
                    <a:bodyPr/>
                    <a:lstStyle/>
                    <a:p>
                      <a:pPr algn="l" fontAlgn="ctr"/>
                      <a:r>
                        <a:rPr lang="en-US" sz="1000" b="1" i="0" u="none" strike="noStrike" dirty="0">
                          <a:solidFill>
                            <a:schemeClr val="bg1"/>
                          </a:solidFill>
                          <a:effectLst/>
                          <a:latin typeface="+mn-lt"/>
                        </a:rPr>
                        <a:t>December 20</a:t>
                      </a:r>
                    </a:p>
                  </a:txBody>
                  <a:tcPr marR="7620" marT="7620" marB="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l" fontAlgn="ctr"/>
                      <a:r>
                        <a:rPr lang="en-US" sz="1000" b="0" i="0" u="none" strike="noStrike" dirty="0">
                          <a:solidFill>
                            <a:schemeClr val="bg1"/>
                          </a:solidFill>
                          <a:effectLst/>
                          <a:latin typeface="+mn-lt"/>
                        </a:rPr>
                        <a:t>$28.46/bbl</a:t>
                      </a:r>
                    </a:p>
                  </a:txBody>
                  <a:tcPr marR="7620" marT="7620" marB="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l" fontAlgn="ctr"/>
                      <a:r>
                        <a:rPr lang="en-US" sz="1000" b="0" i="0" u="none" strike="noStrike" dirty="0">
                          <a:solidFill>
                            <a:schemeClr val="bg1"/>
                          </a:solidFill>
                          <a:effectLst/>
                          <a:latin typeface="+mn-lt"/>
                        </a:rPr>
                        <a:t>Eligible for 25% credit</a:t>
                      </a:r>
                    </a:p>
                  </a:txBody>
                  <a:tcPr marR="7620" marT="7620" marB="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10002"/>
                  </a:ext>
                </a:extLst>
              </a:tr>
              <a:tr h="271510">
                <a:tc>
                  <a:txBody>
                    <a:bodyPr/>
                    <a:lstStyle/>
                    <a:p>
                      <a:pPr algn="l" fontAlgn="ctr"/>
                      <a:r>
                        <a:rPr lang="en-US" sz="1000" b="1" i="0" u="none" strike="noStrike" dirty="0">
                          <a:solidFill>
                            <a:schemeClr val="bg1"/>
                          </a:solidFill>
                          <a:effectLst/>
                          <a:latin typeface="+mn-lt"/>
                        </a:rPr>
                        <a:t>November 20</a:t>
                      </a:r>
                    </a:p>
                  </a:txBody>
                  <a:tcPr marR="7620" marT="7620" marB="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l" fontAlgn="ctr"/>
                      <a:r>
                        <a:rPr lang="en-US" sz="1000" b="0" i="0" u="none" strike="noStrike" dirty="0">
                          <a:solidFill>
                            <a:schemeClr val="bg1"/>
                          </a:solidFill>
                          <a:effectLst/>
                          <a:latin typeface="+mn-lt"/>
                        </a:rPr>
                        <a:t>$28.60/bbl</a:t>
                      </a:r>
                    </a:p>
                  </a:txBody>
                  <a:tcPr marR="7620" marT="7620" marB="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l" fontAlgn="ctr"/>
                      <a:r>
                        <a:rPr lang="en-US" sz="1000" b="0" i="0" u="none" strike="noStrike" dirty="0">
                          <a:solidFill>
                            <a:schemeClr val="bg1"/>
                          </a:solidFill>
                          <a:effectLst/>
                          <a:latin typeface="+mn-lt"/>
                        </a:rPr>
                        <a:t>Eligible for 25% credit</a:t>
                      </a:r>
                    </a:p>
                  </a:txBody>
                  <a:tcPr marR="7620" marT="7620" marB="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10003"/>
                  </a:ext>
                </a:extLst>
              </a:tr>
              <a:tr h="271510">
                <a:tc>
                  <a:txBody>
                    <a:bodyPr/>
                    <a:lstStyle/>
                    <a:p>
                      <a:pPr algn="l" fontAlgn="ctr"/>
                      <a:r>
                        <a:rPr lang="en-US" sz="1000" b="1" i="0" u="none" strike="noStrike" dirty="0">
                          <a:solidFill>
                            <a:schemeClr val="bg1"/>
                          </a:solidFill>
                          <a:effectLst/>
                          <a:latin typeface="+mn-lt"/>
                        </a:rPr>
                        <a:t>October 20</a:t>
                      </a:r>
                    </a:p>
                  </a:txBody>
                  <a:tcPr marR="7620" marT="7620" marB="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l" fontAlgn="ctr"/>
                      <a:r>
                        <a:rPr lang="en-US" sz="1000" b="0" i="0" u="none" strike="noStrike" dirty="0">
                          <a:solidFill>
                            <a:schemeClr val="bg1"/>
                          </a:solidFill>
                          <a:effectLst/>
                          <a:latin typeface="+mn-lt"/>
                        </a:rPr>
                        <a:t>$27.68/bbl</a:t>
                      </a:r>
                    </a:p>
                  </a:txBody>
                  <a:tcPr marR="7620" marT="7620" marB="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l" fontAlgn="ctr"/>
                      <a:r>
                        <a:rPr lang="en-US" sz="1000" b="0" i="0" u="none" strike="noStrike" dirty="0">
                          <a:solidFill>
                            <a:schemeClr val="bg1"/>
                          </a:solidFill>
                          <a:effectLst/>
                          <a:latin typeface="+mn-lt"/>
                        </a:rPr>
                        <a:t>Eligible for 25% credit</a:t>
                      </a:r>
                    </a:p>
                  </a:txBody>
                  <a:tcPr marR="7620" marT="7620" marB="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10004"/>
                  </a:ext>
                </a:extLst>
              </a:tr>
              <a:tr h="271510">
                <a:tc>
                  <a:txBody>
                    <a:bodyPr/>
                    <a:lstStyle/>
                    <a:p>
                      <a:pPr algn="l" fontAlgn="ctr"/>
                      <a:r>
                        <a:rPr lang="en-US" sz="1000" b="1" i="0" u="none" strike="noStrike" dirty="0">
                          <a:solidFill>
                            <a:schemeClr val="bg1"/>
                          </a:solidFill>
                          <a:effectLst/>
                          <a:latin typeface="+mn-lt"/>
                        </a:rPr>
                        <a:t>September 23</a:t>
                      </a:r>
                    </a:p>
                  </a:txBody>
                  <a:tcPr marR="7620" marT="7620" marB="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l" fontAlgn="ctr"/>
                      <a:r>
                        <a:rPr lang="en-US" sz="1000" b="0" i="0" u="none" strike="noStrike" dirty="0">
                          <a:solidFill>
                            <a:schemeClr val="bg1"/>
                          </a:solidFill>
                          <a:effectLst/>
                          <a:latin typeface="+mn-lt"/>
                        </a:rPr>
                        <a:t>$26.13/bbl</a:t>
                      </a:r>
                    </a:p>
                  </a:txBody>
                  <a:tcPr marR="7620" marT="7620" marB="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l" fontAlgn="ctr"/>
                      <a:r>
                        <a:rPr lang="en-US" sz="1000" b="0" i="0" u="none" strike="noStrike" dirty="0">
                          <a:solidFill>
                            <a:schemeClr val="bg1"/>
                          </a:solidFill>
                          <a:effectLst/>
                          <a:latin typeface="+mn-lt"/>
                        </a:rPr>
                        <a:t>Eligible for 25% credit</a:t>
                      </a:r>
                    </a:p>
                  </a:txBody>
                  <a:tcPr marR="7620" marT="7620" marB="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10005"/>
                  </a:ext>
                </a:extLst>
              </a:tr>
              <a:tr h="271510">
                <a:tc>
                  <a:txBody>
                    <a:bodyPr/>
                    <a:lstStyle/>
                    <a:p>
                      <a:pPr algn="l" fontAlgn="ctr"/>
                      <a:r>
                        <a:rPr lang="en-US" sz="1000" b="1" i="0" u="none" strike="noStrike" dirty="0">
                          <a:solidFill>
                            <a:schemeClr val="bg1"/>
                          </a:solidFill>
                          <a:effectLst/>
                          <a:latin typeface="+mn-lt"/>
                        </a:rPr>
                        <a:t>August 20</a:t>
                      </a:r>
                    </a:p>
                  </a:txBody>
                  <a:tcPr marR="7620" marT="7620" marB="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l" fontAlgn="ctr"/>
                      <a:r>
                        <a:rPr lang="en-US" sz="1000" b="0" i="0" u="none" strike="noStrike" dirty="0">
                          <a:solidFill>
                            <a:schemeClr val="bg1"/>
                          </a:solidFill>
                          <a:effectLst/>
                          <a:latin typeface="+mn-lt"/>
                        </a:rPr>
                        <a:t>$22.24/bbl</a:t>
                      </a:r>
                    </a:p>
                  </a:txBody>
                  <a:tcPr marR="7620" marT="7620" marB="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l" fontAlgn="ctr"/>
                      <a:r>
                        <a:rPr lang="en-US" sz="1000" b="0" i="0" u="none" strike="noStrike" dirty="0">
                          <a:solidFill>
                            <a:schemeClr val="bg1"/>
                          </a:solidFill>
                          <a:effectLst/>
                          <a:latin typeface="+mn-lt"/>
                        </a:rPr>
                        <a:t>Eligible for 50% credit</a:t>
                      </a:r>
                    </a:p>
                  </a:txBody>
                  <a:tcPr marR="7620" marT="7620" marB="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10006"/>
                  </a:ext>
                </a:extLst>
              </a:tr>
              <a:tr h="271510">
                <a:tc>
                  <a:txBody>
                    <a:bodyPr/>
                    <a:lstStyle/>
                    <a:p>
                      <a:pPr algn="l" fontAlgn="ctr"/>
                      <a:r>
                        <a:rPr lang="en-US" sz="1000" b="1" i="0" u="none" strike="noStrike" dirty="0">
                          <a:solidFill>
                            <a:schemeClr val="bg1"/>
                          </a:solidFill>
                          <a:effectLst/>
                          <a:latin typeface="+mn-lt"/>
                        </a:rPr>
                        <a:t>July 20</a:t>
                      </a:r>
                    </a:p>
                  </a:txBody>
                  <a:tcPr marR="7620" marT="7620" marB="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l" fontAlgn="ctr"/>
                      <a:r>
                        <a:rPr lang="en-US" sz="1000" b="0" i="0" u="none" strike="noStrike" dirty="0">
                          <a:solidFill>
                            <a:schemeClr val="bg1"/>
                          </a:solidFill>
                          <a:effectLst/>
                          <a:latin typeface="+mn-lt"/>
                        </a:rPr>
                        <a:t>$17.86/bbl</a:t>
                      </a:r>
                    </a:p>
                  </a:txBody>
                  <a:tcPr marR="7620" marT="7620" marB="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l" fontAlgn="ctr"/>
                      <a:r>
                        <a:rPr lang="en-US" sz="1000" b="0" i="0" u="none" strike="noStrike" dirty="0">
                          <a:solidFill>
                            <a:schemeClr val="bg1"/>
                          </a:solidFill>
                          <a:effectLst/>
                          <a:latin typeface="+mn-lt"/>
                        </a:rPr>
                        <a:t>Eligible for 100% credit</a:t>
                      </a:r>
                    </a:p>
                  </a:txBody>
                  <a:tcPr marR="7620" marT="7620" marB="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10007"/>
                  </a:ext>
                </a:extLst>
              </a:tr>
              <a:tr h="271510">
                <a:tc>
                  <a:txBody>
                    <a:bodyPr/>
                    <a:lstStyle/>
                    <a:p>
                      <a:pPr algn="l" fontAlgn="ctr"/>
                      <a:r>
                        <a:rPr lang="en-US" sz="1000" b="1" i="0" u="none" strike="noStrike" dirty="0">
                          <a:solidFill>
                            <a:schemeClr val="bg1"/>
                          </a:solidFill>
                          <a:effectLst/>
                          <a:latin typeface="+mn-lt"/>
                        </a:rPr>
                        <a:t>June 20</a:t>
                      </a:r>
                    </a:p>
                  </a:txBody>
                  <a:tcPr marR="7620" marT="7620" marB="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l" fontAlgn="ctr"/>
                      <a:r>
                        <a:rPr lang="en-US" sz="1000" b="0" i="0" u="none" strike="noStrike" dirty="0">
                          <a:solidFill>
                            <a:schemeClr val="bg1"/>
                          </a:solidFill>
                          <a:effectLst/>
                          <a:latin typeface="+mn-lt"/>
                        </a:rPr>
                        <a:t>$17.62/bbl</a:t>
                      </a:r>
                    </a:p>
                  </a:txBody>
                  <a:tcPr marR="7620" marT="7620" marB="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l" fontAlgn="ctr"/>
                      <a:r>
                        <a:rPr lang="en-US" sz="1000" b="0" i="0" u="none" strike="noStrike" dirty="0">
                          <a:solidFill>
                            <a:schemeClr val="bg1"/>
                          </a:solidFill>
                          <a:effectLst/>
                          <a:latin typeface="+mn-lt"/>
                        </a:rPr>
                        <a:t>Eligible for 100% credit</a:t>
                      </a:r>
                    </a:p>
                  </a:txBody>
                  <a:tcPr marR="7620" marT="7620" marB="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10008"/>
                  </a:ext>
                </a:extLst>
              </a:tr>
              <a:tr h="271510">
                <a:tc>
                  <a:txBody>
                    <a:bodyPr/>
                    <a:lstStyle/>
                    <a:p>
                      <a:pPr algn="l" fontAlgn="ctr"/>
                      <a:r>
                        <a:rPr lang="en-US" sz="1000" b="1" i="0" u="none" strike="noStrike" dirty="0">
                          <a:solidFill>
                            <a:schemeClr val="bg1"/>
                          </a:solidFill>
                          <a:effectLst/>
                          <a:latin typeface="+mn-lt"/>
                        </a:rPr>
                        <a:t>May 20</a:t>
                      </a:r>
                    </a:p>
                  </a:txBody>
                  <a:tcPr marR="7620" marT="7620" marB="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l" fontAlgn="ctr"/>
                      <a:r>
                        <a:rPr lang="en-US" sz="1000" b="0" i="0" u="none" strike="noStrike" dirty="0">
                          <a:solidFill>
                            <a:schemeClr val="bg1"/>
                          </a:solidFill>
                          <a:effectLst/>
                          <a:latin typeface="+mn-lt"/>
                        </a:rPr>
                        <a:t>$24.27/bbl</a:t>
                      </a:r>
                    </a:p>
                  </a:txBody>
                  <a:tcPr marR="7620" marT="7620" marB="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l" fontAlgn="ctr"/>
                      <a:r>
                        <a:rPr lang="en-US" sz="1000" b="0" i="0" u="none" strike="noStrike" dirty="0">
                          <a:solidFill>
                            <a:schemeClr val="bg1"/>
                          </a:solidFill>
                          <a:effectLst/>
                          <a:latin typeface="+mn-lt"/>
                        </a:rPr>
                        <a:t>Eligible for 50% credit</a:t>
                      </a:r>
                    </a:p>
                  </a:txBody>
                  <a:tcPr marR="7620" marT="7620" marB="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10009"/>
                  </a:ext>
                </a:extLst>
              </a:tr>
            </a:tbl>
          </a:graphicData>
        </a:graphic>
      </p:graphicFrame>
      <p:sp>
        <p:nvSpPr>
          <p:cNvPr id="3" name="Footer Placeholder 4">
            <a:extLst>
              <a:ext uri="{FF2B5EF4-FFF2-40B4-BE49-F238E27FC236}">
                <a16:creationId xmlns:a16="http://schemas.microsoft.com/office/drawing/2014/main" id="{8E0CDBAF-0D38-6DA6-E018-784323558C9F}"/>
              </a:ext>
            </a:extLst>
          </p:cNvPr>
          <p:cNvSpPr txBox="1">
            <a:spLocks/>
          </p:cNvSpPr>
          <p:nvPr/>
        </p:nvSpPr>
        <p:spPr>
          <a:xfrm>
            <a:off x="609600" y="3669347"/>
            <a:ext cx="1839807" cy="244953"/>
          </a:xfrm>
          <a:prstGeom prst="rect">
            <a:avLst/>
          </a:prstGeom>
        </p:spPr>
        <p:txBody>
          <a:bodyPr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dirty="0">
                <a:solidFill>
                  <a:srgbClr val="FFFFFF"/>
                </a:solidFill>
              </a:rPr>
              <a:t>Source: comptroller.texas.gov</a:t>
            </a:r>
          </a:p>
        </p:txBody>
      </p:sp>
    </p:spTree>
    <p:extLst>
      <p:ext uri="{BB962C8B-B14F-4D97-AF65-F5344CB8AC3E}">
        <p14:creationId xmlns:p14="http://schemas.microsoft.com/office/powerpoint/2010/main" val="214158906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BF0A51-EDA4-E694-D4CF-FF107B8E0C2A}"/>
              </a:ext>
            </a:extLst>
          </p:cNvPr>
          <p:cNvSpPr>
            <a:spLocks noGrp="1"/>
          </p:cNvSpPr>
          <p:nvPr>
            <p:ph type="title"/>
          </p:nvPr>
        </p:nvSpPr>
        <p:spPr>
          <a:xfrm>
            <a:off x="609601" y="814388"/>
            <a:ext cx="10972800" cy="590400"/>
          </a:xfrm>
        </p:spPr>
        <p:txBody>
          <a:bodyPr/>
          <a:lstStyle/>
          <a:p>
            <a:r>
              <a:rPr lang="en-IN" dirty="0"/>
              <a:t>Texas severance tax exemptions</a:t>
            </a:r>
            <a:endParaRPr lang="en-US" dirty="0"/>
          </a:p>
        </p:txBody>
      </p:sp>
      <p:sp>
        <p:nvSpPr>
          <p:cNvPr id="5" name="Text Placeholder 4">
            <a:extLst>
              <a:ext uri="{FF2B5EF4-FFF2-40B4-BE49-F238E27FC236}">
                <a16:creationId xmlns:a16="http://schemas.microsoft.com/office/drawing/2014/main" id="{51D2E089-87A9-23BE-9B02-AE9B968B3D8C}"/>
              </a:ext>
            </a:extLst>
          </p:cNvPr>
          <p:cNvSpPr>
            <a:spLocks noGrp="1"/>
          </p:cNvSpPr>
          <p:nvPr>
            <p:ph type="body" sz="quarter" idx="10"/>
          </p:nvPr>
        </p:nvSpPr>
        <p:spPr>
          <a:xfrm>
            <a:off x="609283" y="1662113"/>
            <a:ext cx="10975022" cy="4756150"/>
          </a:xfrm>
        </p:spPr>
        <p:txBody>
          <a:bodyPr/>
          <a:lstStyle/>
          <a:p>
            <a:r>
              <a:rPr lang="en-US" b="1" dirty="0"/>
              <a:t>High-cost gas: </a:t>
            </a:r>
            <a:r>
              <a:rPr lang="en-US" dirty="0"/>
              <a:t>The HCG exemption offers a partial to full exemption depending on total drilling and completion costs and TCO median costs for the fiscal year.</a:t>
            </a:r>
          </a:p>
          <a:p>
            <a:pPr lvl="1"/>
            <a:r>
              <a:rPr lang="en-US" dirty="0"/>
              <a:t>Produced from a depth at or deeper than 15,000 feet</a:t>
            </a:r>
          </a:p>
          <a:p>
            <a:pPr lvl="1"/>
            <a:r>
              <a:rPr lang="en-US" dirty="0"/>
              <a:t>Produced from Devonian shale </a:t>
            </a:r>
          </a:p>
          <a:p>
            <a:pPr lvl="1"/>
            <a:r>
              <a:rPr lang="en-US" dirty="0"/>
              <a:t>Produced from designated tight formations </a:t>
            </a:r>
          </a:p>
          <a:p>
            <a:pPr lvl="1"/>
            <a:r>
              <a:rPr lang="en-US" dirty="0"/>
              <a:t>Produced under other conditions deemed risky or costly by the Federal Energy Regulatory Commission</a:t>
            </a:r>
          </a:p>
          <a:p>
            <a:pPr marL="274320" lvl="1" indent="0">
              <a:buNone/>
            </a:pPr>
            <a:r>
              <a:rPr lang="en-US" b="1" dirty="0"/>
              <a:t>Reduce tax rate: first production — 10 years or when payout is reached (whichever comes first)</a:t>
            </a:r>
          </a:p>
          <a:p>
            <a:r>
              <a:rPr lang="en-US" dirty="0"/>
              <a:t>Steps to qualify for HCG exemption:</a:t>
            </a:r>
          </a:p>
          <a:p>
            <a:pPr lvl="1"/>
            <a:r>
              <a:rPr lang="en-US" dirty="0"/>
              <a:t>File Form ST-1 with the Railroad Commission of Texas</a:t>
            </a:r>
          </a:p>
          <a:p>
            <a:pPr lvl="1"/>
            <a:r>
              <a:rPr lang="en-US" dirty="0"/>
              <a:t>File Form AP-180 with the Texas Comptroller</a:t>
            </a:r>
          </a:p>
          <a:p>
            <a:pPr lvl="1"/>
            <a:r>
              <a:rPr lang="en-US" dirty="0"/>
              <a:t>File all prior-period adjustments with the Texas Comptroller</a:t>
            </a:r>
          </a:p>
          <a:p>
            <a:r>
              <a:rPr lang="en-US" dirty="0"/>
              <a:t>When an oil or gas well qualifies for multiple severance tax incentives, a taxpayer can choose which incentive is most favorable.</a:t>
            </a:r>
          </a:p>
          <a:p>
            <a:pPr lvl="3"/>
            <a:endParaRPr lang="en-US" dirty="0"/>
          </a:p>
          <a:p>
            <a:endParaRPr lang="en-US" dirty="0"/>
          </a:p>
        </p:txBody>
      </p:sp>
    </p:spTree>
    <p:extLst>
      <p:ext uri="{BB962C8B-B14F-4D97-AF65-F5344CB8AC3E}">
        <p14:creationId xmlns:p14="http://schemas.microsoft.com/office/powerpoint/2010/main" val="388950806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59F473-53D2-6E0E-6EDD-581E24B0B369}"/>
              </a:ext>
            </a:extLst>
          </p:cNvPr>
          <p:cNvSpPr>
            <a:spLocks noGrp="1"/>
          </p:cNvSpPr>
          <p:nvPr>
            <p:ph type="title"/>
          </p:nvPr>
        </p:nvSpPr>
        <p:spPr>
          <a:xfrm>
            <a:off x="609601" y="814388"/>
            <a:ext cx="10972800" cy="590400"/>
          </a:xfrm>
        </p:spPr>
        <p:txBody>
          <a:bodyPr/>
          <a:lstStyle/>
          <a:p>
            <a:r>
              <a:rPr lang="en-US" dirty="0"/>
              <a:t>Oklahoma Gross Production Tax: oil and gas 	</a:t>
            </a:r>
          </a:p>
        </p:txBody>
      </p:sp>
      <p:sp>
        <p:nvSpPr>
          <p:cNvPr id="3" name="Text Placeholder 2">
            <a:extLst>
              <a:ext uri="{FF2B5EF4-FFF2-40B4-BE49-F238E27FC236}">
                <a16:creationId xmlns:a16="http://schemas.microsoft.com/office/drawing/2014/main" id="{B7493A1F-EECE-7568-A2AF-C4F844B09F1E}"/>
              </a:ext>
            </a:extLst>
          </p:cNvPr>
          <p:cNvSpPr>
            <a:spLocks noGrp="1"/>
          </p:cNvSpPr>
          <p:nvPr>
            <p:ph type="body" sz="quarter" idx="10"/>
          </p:nvPr>
        </p:nvSpPr>
        <p:spPr>
          <a:xfrm>
            <a:off x="609283" y="1662113"/>
            <a:ext cx="10975022" cy="4756150"/>
          </a:xfrm>
        </p:spPr>
        <p:txBody>
          <a:bodyPr/>
          <a:lstStyle/>
          <a:p>
            <a:r>
              <a:rPr lang="en-US" sz="1800" b="1" dirty="0"/>
              <a:t>Imposition</a:t>
            </a:r>
          </a:p>
          <a:p>
            <a:pPr lvl="1"/>
            <a:r>
              <a:rPr lang="en-US" sz="1600" dirty="0"/>
              <a:t>The Oklahoma gross production tax is imposed upon the production of oil and gas. Okla. Stat. Ann. tit. 68, §1001(B)(1) and (2) </a:t>
            </a:r>
          </a:p>
          <a:p>
            <a:pPr lvl="2"/>
            <a:r>
              <a:rPr lang="en-US" sz="1400" dirty="0"/>
              <a:t>“Oil” is defined as petroleum or other crude or mineral oil. Okla. Stat. Ann. tit. 68, §1001.2(c)</a:t>
            </a:r>
          </a:p>
          <a:p>
            <a:pPr lvl="2"/>
            <a:r>
              <a:rPr lang="en-US" sz="1400" dirty="0"/>
              <a:t>“Gas” is defined as natural gas or casinghead gas. Okla. Stat. Ann. tit. 68, §1001.2(a)</a:t>
            </a:r>
            <a:endParaRPr lang="en-US" dirty="0"/>
          </a:p>
          <a:p>
            <a:r>
              <a:rPr lang="en-US" b="1" dirty="0"/>
              <a:t>Basis</a:t>
            </a:r>
          </a:p>
          <a:p>
            <a:pPr lvl="1"/>
            <a:r>
              <a:rPr lang="en-US" sz="1600" dirty="0"/>
              <a:t>In Oklahoma, the gross production tax is levied upon the gross value of the production of the resource extracted and attached to and is levied on royalty interest. Okla. Stat. Ann. tit. 68, §1001</a:t>
            </a:r>
          </a:p>
        </p:txBody>
      </p:sp>
    </p:spTree>
    <p:extLst>
      <p:ext uri="{BB962C8B-B14F-4D97-AF65-F5344CB8AC3E}">
        <p14:creationId xmlns:p14="http://schemas.microsoft.com/office/powerpoint/2010/main" val="143310387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478D5E-A9E8-938C-8311-1CC86D28E909}"/>
              </a:ext>
            </a:extLst>
          </p:cNvPr>
          <p:cNvSpPr>
            <a:spLocks noGrp="1"/>
          </p:cNvSpPr>
          <p:nvPr>
            <p:ph type="title"/>
          </p:nvPr>
        </p:nvSpPr>
        <p:spPr>
          <a:xfrm>
            <a:off x="609601" y="814388"/>
            <a:ext cx="10972800" cy="590400"/>
          </a:xfrm>
        </p:spPr>
        <p:txBody>
          <a:bodyPr/>
          <a:lstStyle/>
          <a:p>
            <a:r>
              <a:rPr lang="en-US" dirty="0"/>
              <a:t>Oklahoma severance tax and legislation</a:t>
            </a:r>
          </a:p>
        </p:txBody>
      </p:sp>
      <p:sp>
        <p:nvSpPr>
          <p:cNvPr id="5" name="Text Placeholder 4">
            <a:extLst>
              <a:ext uri="{FF2B5EF4-FFF2-40B4-BE49-F238E27FC236}">
                <a16:creationId xmlns:a16="http://schemas.microsoft.com/office/drawing/2014/main" id="{D7C3C312-395B-5D2C-B0EB-9F9C6BE7DE17}"/>
              </a:ext>
            </a:extLst>
          </p:cNvPr>
          <p:cNvSpPr>
            <a:spLocks noGrp="1"/>
          </p:cNvSpPr>
          <p:nvPr>
            <p:ph type="body" sz="quarter" idx="10"/>
          </p:nvPr>
        </p:nvSpPr>
        <p:spPr>
          <a:xfrm>
            <a:off x="609600" y="1662113"/>
            <a:ext cx="10974388" cy="2111234"/>
          </a:xfrm>
        </p:spPr>
        <p:txBody>
          <a:bodyPr/>
          <a:lstStyle/>
          <a:p>
            <a:r>
              <a:rPr lang="en-US" sz="1600" dirty="0"/>
              <a:t>Severance tax revenue is more volatile than other revenue sources due to fluctuations in the oil and gas sector.</a:t>
            </a:r>
          </a:p>
          <a:p>
            <a:r>
              <a:rPr lang="en-US" sz="1600" dirty="0"/>
              <a:t>In fiscal 2023 $1.8 billion was collected in gross production severance taxes, accounting for nearly 13% of total tax revenues in Oklahoma.</a:t>
            </a:r>
          </a:p>
          <a:p>
            <a:r>
              <a:rPr lang="en-US" sz="1600" dirty="0"/>
              <a:t>House Bill 2763 (2016) created the Revenue Stabilization Fund to reserve tax collections from volatile revenue sources when they are projected to be above the preceding five-year average. </a:t>
            </a:r>
          </a:p>
          <a:p>
            <a:r>
              <a:rPr lang="en-US" sz="1600" dirty="0"/>
              <a:t>House Bill 3568 (2022) provided a full severance tax rate exemption for certain secondary and tertiary recovery  projects for five years from the start date.</a:t>
            </a:r>
          </a:p>
          <a:p>
            <a:endParaRPr lang="en-US" sz="1600" dirty="0"/>
          </a:p>
        </p:txBody>
      </p:sp>
      <p:sp>
        <p:nvSpPr>
          <p:cNvPr id="9" name="Footer Placeholder 4">
            <a:extLst>
              <a:ext uri="{FF2B5EF4-FFF2-40B4-BE49-F238E27FC236}">
                <a16:creationId xmlns:a16="http://schemas.microsoft.com/office/drawing/2014/main" id="{A778164B-D94B-BC9C-8C65-F7D497B20FF0}"/>
              </a:ext>
            </a:extLst>
          </p:cNvPr>
          <p:cNvSpPr txBox="1">
            <a:spLocks/>
          </p:cNvSpPr>
          <p:nvPr/>
        </p:nvSpPr>
        <p:spPr>
          <a:xfrm>
            <a:off x="3295048" y="6149835"/>
            <a:ext cx="6279154" cy="244953"/>
          </a:xfrm>
          <a:prstGeom prst="rect">
            <a:avLst/>
          </a:prstGeom>
        </p:spPr>
        <p:txBody>
          <a:bodyPr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dirty="0">
                <a:solidFill>
                  <a:srgbClr val="FFFFFF"/>
                </a:solidFill>
              </a:rPr>
              <a:t>Source: </a:t>
            </a:r>
            <a:r>
              <a:rPr lang="en-US" sz="900" dirty="0">
                <a:solidFill>
                  <a:srgbClr val="FFFFFF"/>
                </a:solidFill>
              </a:rPr>
              <a:t>Oklahoma Tax Commission. (2023). </a:t>
            </a:r>
            <a:r>
              <a:rPr lang="en-US" sz="900" i="1" dirty="0">
                <a:solidFill>
                  <a:srgbClr val="FFFFFF"/>
                </a:solidFill>
              </a:rPr>
              <a:t>FY 2023 Revenue &amp; Apportionment Report</a:t>
            </a:r>
            <a:r>
              <a:rPr lang="en-US" sz="900" dirty="0">
                <a:solidFill>
                  <a:srgbClr val="FFFFFF"/>
                </a:solidFill>
              </a:rPr>
              <a:t>. Retrieved from Oklahoma Tax Commission website.</a:t>
            </a:r>
          </a:p>
          <a:p>
            <a:endParaRPr lang="en-GB" sz="900" dirty="0">
              <a:solidFill>
                <a:srgbClr val="FFFFFF"/>
              </a:solidFill>
            </a:endParaRPr>
          </a:p>
        </p:txBody>
      </p:sp>
      <p:graphicFrame>
        <p:nvGraphicFramePr>
          <p:cNvPr id="3" name="Chart 2">
            <a:extLst>
              <a:ext uri="{FF2B5EF4-FFF2-40B4-BE49-F238E27FC236}">
                <a16:creationId xmlns:a16="http://schemas.microsoft.com/office/drawing/2014/main" id="{DDB412F8-5A51-CFED-548E-ADD4B0E006EB}"/>
              </a:ext>
            </a:extLst>
          </p:cNvPr>
          <p:cNvGraphicFramePr>
            <a:graphicFrameLocks/>
          </p:cNvGraphicFramePr>
          <p:nvPr>
            <p:extLst>
              <p:ext uri="{D42A27DB-BD31-4B8C-83A1-F6EECF244321}">
                <p14:modId xmlns:p14="http://schemas.microsoft.com/office/powerpoint/2010/main" val="2403424380"/>
              </p:ext>
            </p:extLst>
          </p:nvPr>
        </p:nvGraphicFramePr>
        <p:xfrm>
          <a:off x="3032396" y="3773347"/>
          <a:ext cx="6457950" cy="2376488"/>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72281290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3D3F5-7A6A-B692-9FBC-715D523A8F7F}"/>
              </a:ext>
            </a:extLst>
          </p:cNvPr>
          <p:cNvSpPr>
            <a:spLocks noGrp="1"/>
          </p:cNvSpPr>
          <p:nvPr>
            <p:ph type="title"/>
          </p:nvPr>
        </p:nvSpPr>
        <p:spPr>
          <a:xfrm>
            <a:off x="609601" y="814388"/>
            <a:ext cx="10972800" cy="590400"/>
          </a:xfrm>
        </p:spPr>
        <p:txBody>
          <a:bodyPr/>
          <a:lstStyle/>
          <a:p>
            <a:r>
              <a:rPr lang="en-US" dirty="0"/>
              <a:t>Oklahoma severance tax: marketing cost deductions</a:t>
            </a:r>
          </a:p>
        </p:txBody>
      </p:sp>
      <p:sp>
        <p:nvSpPr>
          <p:cNvPr id="4" name="Text Placeholder 3">
            <a:extLst>
              <a:ext uri="{FF2B5EF4-FFF2-40B4-BE49-F238E27FC236}">
                <a16:creationId xmlns:a16="http://schemas.microsoft.com/office/drawing/2014/main" id="{202346E6-B8C4-A471-8019-5D90E740A569}"/>
              </a:ext>
            </a:extLst>
          </p:cNvPr>
          <p:cNvSpPr>
            <a:spLocks noGrp="1"/>
          </p:cNvSpPr>
          <p:nvPr>
            <p:ph type="body" sz="quarter" idx="10"/>
          </p:nvPr>
        </p:nvSpPr>
        <p:spPr/>
        <p:txBody>
          <a:bodyPr/>
          <a:lstStyle/>
          <a:p>
            <a:r>
              <a:rPr lang="en-US" sz="1900" b="1" dirty="0"/>
              <a:t>Marketing cost deductions</a:t>
            </a:r>
            <a:endParaRPr lang="en-US" sz="1900" dirty="0"/>
          </a:p>
          <a:p>
            <a:pPr lvl="1"/>
            <a:r>
              <a:rPr lang="en-US" sz="1700" dirty="0"/>
              <a:t>Producers of natural gas and casinghead gas who incur marketing costs for the gas produced may deduct these costs from the gross value when computing the gross value subject to gross production tax and petroleum excise tax. Okla. Stat. 68  §1002; Okla. Stat. 68  §1001.4(A); Okla. Admin. Code 710:45-9-100.</a:t>
            </a:r>
          </a:p>
          <a:p>
            <a:pPr lvl="1"/>
            <a:endParaRPr lang="en-US" sz="1700" dirty="0"/>
          </a:p>
          <a:p>
            <a:pPr lvl="1"/>
            <a:endParaRPr lang="en-US" sz="1600" dirty="0"/>
          </a:p>
          <a:p>
            <a:pPr lvl="1"/>
            <a:endParaRPr lang="en-US" sz="1600" dirty="0"/>
          </a:p>
          <a:p>
            <a:pPr lvl="1"/>
            <a:endParaRPr lang="en-US" sz="1600" dirty="0"/>
          </a:p>
          <a:p>
            <a:pPr lvl="1"/>
            <a:endParaRPr lang="en-US" sz="1600" dirty="0"/>
          </a:p>
          <a:p>
            <a:pPr lvl="1"/>
            <a:endParaRPr lang="en-US" sz="1600" dirty="0"/>
          </a:p>
          <a:p>
            <a:pPr marL="267327" lvl="1" indent="0">
              <a:buNone/>
            </a:pPr>
            <a:endParaRPr lang="en-US" sz="1600" dirty="0"/>
          </a:p>
          <a:p>
            <a:pPr marL="274320" lvl="1" indent="0">
              <a:buNone/>
            </a:pPr>
            <a:endParaRPr lang="en-US" sz="1600" dirty="0"/>
          </a:p>
          <a:p>
            <a:pPr marL="274320" lvl="1" indent="0">
              <a:buNone/>
            </a:pPr>
            <a:endParaRPr lang="en-US" sz="1700" dirty="0"/>
          </a:p>
          <a:p>
            <a:pPr lvl="1"/>
            <a:r>
              <a:rPr lang="en-US" sz="1700" dirty="0"/>
              <a:t>Any process that occurs beyond the mouth of the well that helps bring the gas to market is deductible.  </a:t>
            </a:r>
          </a:p>
          <a:p>
            <a:endParaRPr lang="en-US" dirty="0"/>
          </a:p>
        </p:txBody>
      </p:sp>
      <p:graphicFrame>
        <p:nvGraphicFramePr>
          <p:cNvPr id="6" name="Table 5">
            <a:extLst>
              <a:ext uri="{FF2B5EF4-FFF2-40B4-BE49-F238E27FC236}">
                <a16:creationId xmlns:a16="http://schemas.microsoft.com/office/drawing/2014/main" id="{124C020B-3646-A9D4-238C-B07B9DB2CA0C}"/>
              </a:ext>
            </a:extLst>
          </p:cNvPr>
          <p:cNvGraphicFramePr>
            <a:graphicFrameLocks noGrp="1"/>
          </p:cNvGraphicFramePr>
          <p:nvPr>
            <p:extLst>
              <p:ext uri="{D42A27DB-BD31-4B8C-83A1-F6EECF244321}">
                <p14:modId xmlns:p14="http://schemas.microsoft.com/office/powerpoint/2010/main" val="594469296"/>
              </p:ext>
            </p:extLst>
          </p:nvPr>
        </p:nvGraphicFramePr>
        <p:xfrm>
          <a:off x="1222408" y="3020578"/>
          <a:ext cx="10135402" cy="2175309"/>
        </p:xfrm>
        <a:graphic>
          <a:graphicData uri="http://schemas.openxmlformats.org/drawingml/2006/table">
            <a:tbl>
              <a:tblPr firstRow="1" bandRow="1">
                <a:tableStyleId>{5C22544A-7EE6-4342-B048-85BDC9FD1C3A}</a:tableStyleId>
              </a:tblPr>
              <a:tblGrid>
                <a:gridCol w="5067701">
                  <a:extLst>
                    <a:ext uri="{9D8B030D-6E8A-4147-A177-3AD203B41FA5}">
                      <a16:colId xmlns:a16="http://schemas.microsoft.com/office/drawing/2014/main" val="20000"/>
                    </a:ext>
                  </a:extLst>
                </a:gridCol>
                <a:gridCol w="5067701">
                  <a:extLst>
                    <a:ext uri="{9D8B030D-6E8A-4147-A177-3AD203B41FA5}">
                      <a16:colId xmlns:a16="http://schemas.microsoft.com/office/drawing/2014/main" val="20001"/>
                    </a:ext>
                  </a:extLst>
                </a:gridCol>
              </a:tblGrid>
              <a:tr h="367222">
                <a:tc>
                  <a:txBody>
                    <a:bodyPr/>
                    <a:lstStyle/>
                    <a:p>
                      <a:r>
                        <a:rPr lang="en-US" sz="1600" dirty="0">
                          <a:solidFill>
                            <a:schemeClr val="bg1"/>
                          </a:solidFill>
                        </a:rPr>
                        <a:t>Marketing costs include</a:t>
                      </a:r>
                    </a:p>
                  </a:txBody>
                  <a:tcP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a:txBody>
                    <a:bodyPr/>
                    <a:lstStyle/>
                    <a:p>
                      <a:r>
                        <a:rPr lang="en-US" sz="1600" dirty="0">
                          <a:solidFill>
                            <a:schemeClr val="bg1"/>
                          </a:solidFill>
                        </a:rPr>
                        <a:t>Marketing costs DO NOT include</a:t>
                      </a:r>
                    </a:p>
                  </a:txBody>
                  <a:tcP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extLst>
                  <a:ext uri="{0D108BD9-81ED-4DB2-BD59-A6C34878D82A}">
                    <a16:rowId xmlns:a16="http://schemas.microsoft.com/office/drawing/2014/main" val="10000"/>
                  </a:ext>
                </a:extLst>
              </a:tr>
              <a:tr h="412424">
                <a:tc>
                  <a:txBody>
                    <a:bodyPr/>
                    <a:lstStyle/>
                    <a:p>
                      <a:r>
                        <a:rPr lang="en-US" sz="1600" dirty="0">
                          <a:solidFill>
                            <a:schemeClr val="bg1"/>
                          </a:solidFill>
                        </a:rPr>
                        <a:t>Costs for compressing the gas sold</a:t>
                      </a:r>
                    </a:p>
                  </a:txBody>
                  <a:tcP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dirty="0">
                          <a:solidFill>
                            <a:schemeClr val="bg1"/>
                          </a:solidFill>
                        </a:rPr>
                        <a:t>Costs incurred in producing the gas</a:t>
                      </a:r>
                    </a:p>
                  </a:txBody>
                  <a:tcP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606392">
                <a:tc>
                  <a:txBody>
                    <a:bodyPr/>
                    <a:lstStyle/>
                    <a:p>
                      <a:r>
                        <a:rPr lang="en-US" sz="1600" dirty="0">
                          <a:solidFill>
                            <a:schemeClr val="bg1"/>
                          </a:solidFill>
                        </a:rPr>
                        <a:t>Costs for dehydrating</a:t>
                      </a:r>
                      <a:r>
                        <a:rPr lang="en-US" sz="1600" baseline="0" dirty="0">
                          <a:solidFill>
                            <a:schemeClr val="bg1"/>
                          </a:solidFill>
                        </a:rPr>
                        <a:t> the gas sold</a:t>
                      </a:r>
                      <a:endParaRPr lang="en-US" sz="1600" dirty="0">
                        <a:solidFill>
                          <a:schemeClr val="bg1"/>
                        </a:solidFill>
                      </a:endParaRPr>
                    </a:p>
                  </a:txBody>
                  <a:tcP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dirty="0">
                          <a:solidFill>
                            <a:schemeClr val="bg1"/>
                          </a:solidFill>
                        </a:rPr>
                        <a:t>Costs incurred in normal lease separation of the oil, gas or condensate</a:t>
                      </a:r>
                    </a:p>
                  </a:txBody>
                  <a:tcP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67222">
                <a:tc>
                  <a:txBody>
                    <a:bodyPr/>
                    <a:lstStyle/>
                    <a:p>
                      <a:r>
                        <a:rPr lang="en-US" sz="1600" dirty="0">
                          <a:solidFill>
                            <a:schemeClr val="bg1"/>
                          </a:solidFill>
                        </a:rPr>
                        <a:t>Costs for sweetening</a:t>
                      </a:r>
                      <a:r>
                        <a:rPr lang="en-US" sz="1600" baseline="0" dirty="0">
                          <a:solidFill>
                            <a:schemeClr val="bg1"/>
                          </a:solidFill>
                        </a:rPr>
                        <a:t> the gas</a:t>
                      </a:r>
                      <a:endParaRPr lang="en-US" sz="1600" dirty="0">
                        <a:solidFill>
                          <a:schemeClr val="bg1"/>
                        </a:solidFill>
                      </a:endParaRPr>
                    </a:p>
                  </a:txBody>
                  <a:tcP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dirty="0">
                          <a:solidFill>
                            <a:schemeClr val="bg1"/>
                          </a:solidFill>
                        </a:rPr>
                        <a:t>Insurance premiums</a:t>
                      </a:r>
                      <a:r>
                        <a:rPr lang="en-US" sz="1600" baseline="0" dirty="0">
                          <a:solidFill>
                            <a:schemeClr val="bg1"/>
                          </a:solidFill>
                        </a:rPr>
                        <a:t> on the marketing </a:t>
                      </a:r>
                      <a:endParaRPr lang="en-US" sz="1600" dirty="0">
                        <a:solidFill>
                          <a:schemeClr val="bg1"/>
                        </a:solidFill>
                      </a:endParaRPr>
                    </a:p>
                  </a:txBody>
                  <a:tcP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22049">
                <a:tc>
                  <a:txBody>
                    <a:bodyPr/>
                    <a:lstStyle/>
                    <a:p>
                      <a:r>
                        <a:rPr lang="en-US" sz="1600" dirty="0">
                          <a:solidFill>
                            <a:schemeClr val="bg1"/>
                          </a:solidFill>
                        </a:rPr>
                        <a:t>Costs for delivering</a:t>
                      </a:r>
                      <a:r>
                        <a:rPr lang="en-US" sz="1600" baseline="0" dirty="0">
                          <a:solidFill>
                            <a:schemeClr val="bg1"/>
                          </a:solidFill>
                        </a:rPr>
                        <a:t> the gas to the purchaser</a:t>
                      </a:r>
                      <a:endParaRPr lang="en-US" sz="1600" dirty="0">
                        <a:solidFill>
                          <a:schemeClr val="bg1"/>
                        </a:solidFill>
                      </a:endParaRPr>
                    </a:p>
                  </a:txBody>
                  <a:tcP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solidFill>
                          <a:schemeClr val="bg1"/>
                        </a:solidFill>
                      </a:endParaRPr>
                    </a:p>
                  </a:txBody>
                  <a:tcPr>
                    <a:lnL w="12700" cap="flat" cmpd="sng" algn="ctr">
                      <a:solidFill>
                        <a:schemeClr val="tx1">
                          <a:lumMod val="60000"/>
                          <a:lumOff val="40000"/>
                        </a:schemeClr>
                      </a:solidFill>
                      <a:prstDash val="solid"/>
                      <a:round/>
                      <a:headEnd type="none" w="med" len="med"/>
                      <a:tailEnd type="none" w="med" len="med"/>
                    </a:lnL>
                    <a:lnR w="12700" cap="flat" cmpd="sng" algn="ctr">
                      <a:solidFill>
                        <a:schemeClr val="tx1">
                          <a:lumMod val="60000"/>
                          <a:lumOff val="40000"/>
                        </a:schemeClr>
                      </a:solid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6958394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Google Shape;541;p21">
            <a:extLst>
              <a:ext uri="{FF2B5EF4-FFF2-40B4-BE49-F238E27FC236}">
                <a16:creationId xmlns:a16="http://schemas.microsoft.com/office/drawing/2014/main" id="{E265D536-9C75-4ABA-93F1-BCBA4F3B1104}"/>
              </a:ext>
            </a:extLst>
          </p:cNvPr>
          <p:cNvSpPr txBox="1">
            <a:spLocks/>
          </p:cNvSpPr>
          <p:nvPr/>
        </p:nvSpPr>
        <p:spPr>
          <a:xfrm>
            <a:off x="622842" y="1134671"/>
            <a:ext cx="3383101" cy="2220964"/>
          </a:xfrm>
          <a:prstGeom prst="rect">
            <a:avLst/>
          </a:prstGeom>
          <a:noFill/>
          <a:ln>
            <a:noFill/>
          </a:ln>
        </p:spPr>
        <p:txBody>
          <a:bodyPr spcFirstLastPara="1" wrap="square" lIns="0" tIns="36531" rIns="0" bIns="0" anchor="t" anchorCtr="0">
            <a:spAutoFit/>
          </a:bodyPr>
          <a:lstStyle/>
          <a:p>
            <a:pPr defTabSz="913943">
              <a:spcAft>
                <a:spcPts val="600"/>
              </a:spcAft>
              <a:defRPr/>
            </a:pPr>
            <a:r>
              <a:rPr lang="en-US" sz="1199" b="1" kern="0" dirty="0">
                <a:solidFill>
                  <a:srgbClr val="FFE600"/>
                </a:solidFill>
                <a:latin typeface="EYInterstate" panose="02000503020000020004" pitchFamily="2" charset="0"/>
                <a:ea typeface="Inter-Regular"/>
                <a:cs typeface="Inter-Regular"/>
                <a:sym typeface="Inter-Regular"/>
              </a:rPr>
              <a:t>EY </a:t>
            </a:r>
            <a:r>
              <a:rPr lang="en-US" sz="1199" kern="0" dirty="0">
                <a:solidFill>
                  <a:srgbClr val="FFE600"/>
                </a:solidFill>
                <a:latin typeface="EYInterstate" panose="02000503020000020004" pitchFamily="2" charset="0"/>
                <a:ea typeface="Inter-Regular"/>
                <a:cs typeface="Inter-Regular"/>
                <a:sym typeface="Inter-Regular"/>
              </a:rPr>
              <a:t>| Building a better working world</a:t>
            </a:r>
            <a:endParaRPr sz="1199" kern="0" dirty="0">
              <a:solidFill>
                <a:srgbClr val="FFE600"/>
              </a:solidFill>
              <a:latin typeface="EYInterstate" panose="02000503020000020004" pitchFamily="2" charset="0"/>
              <a:ea typeface="Inter-Regular"/>
              <a:cs typeface="Inter-Regular"/>
              <a:sym typeface="Inter-Regular"/>
            </a:endParaRPr>
          </a:p>
          <a:p>
            <a:pPr defTabSz="913943">
              <a:spcAft>
                <a:spcPts val="600"/>
              </a:spcAft>
              <a:defRPr/>
            </a:pPr>
            <a:r>
              <a:rPr lang="en-US" sz="1099" kern="0" dirty="0">
                <a:solidFill>
                  <a:srgbClr val="FFFFFF"/>
                </a:solidFill>
                <a:ea typeface="Inter-Regular"/>
                <a:cs typeface="Inter-Regular"/>
                <a:sym typeface="Inter-Regular"/>
              </a:rPr>
              <a:t>EY exists to build a better working world, helping create long-term value for clients, people and society and build trust in the capital markets.</a:t>
            </a:r>
            <a:endParaRPr sz="1099" kern="0" dirty="0">
              <a:solidFill>
                <a:srgbClr val="2E2E38"/>
              </a:solidFill>
            </a:endParaRPr>
          </a:p>
          <a:p>
            <a:pPr defTabSz="913943">
              <a:spcAft>
                <a:spcPts val="600"/>
              </a:spcAft>
              <a:defRPr/>
            </a:pPr>
            <a:r>
              <a:rPr lang="en-US" sz="1099" kern="0" dirty="0">
                <a:solidFill>
                  <a:srgbClr val="FFFFFF"/>
                </a:solidFill>
                <a:ea typeface="Inter-Regular"/>
                <a:cs typeface="Inter-Regular"/>
                <a:sym typeface="Inter-Regular"/>
              </a:rPr>
              <a:t>Enabled by data and technology, diverse EY teams in over 150 countries provide trust through assurance and help clients grow, transform and operate.</a:t>
            </a:r>
            <a:endParaRPr sz="1099" kern="0" dirty="0">
              <a:solidFill>
                <a:srgbClr val="2E2E38"/>
              </a:solidFill>
            </a:endParaRPr>
          </a:p>
          <a:p>
            <a:pPr defTabSz="913943">
              <a:spcAft>
                <a:spcPts val="600"/>
              </a:spcAft>
              <a:defRPr/>
            </a:pPr>
            <a:r>
              <a:rPr lang="en-US" sz="1099" kern="0" dirty="0">
                <a:solidFill>
                  <a:srgbClr val="FFFFFF"/>
                </a:solidFill>
                <a:ea typeface="Inter-Regular"/>
                <a:cs typeface="Inter-Regular"/>
                <a:sym typeface="Inter-Regular"/>
              </a:rPr>
              <a:t>Working across assurance, consulting, law, strategy, tax and transactions, EY teams ask better questions to find new answers for the complex issues facing our world today.</a:t>
            </a:r>
            <a:endParaRPr sz="1099" kern="0" dirty="0">
              <a:solidFill>
                <a:srgbClr val="2E2E38"/>
              </a:solidFill>
            </a:endParaRPr>
          </a:p>
        </p:txBody>
      </p:sp>
      <p:sp>
        <p:nvSpPr>
          <p:cNvPr id="3" name="Google Shape;541;p21">
            <a:extLst>
              <a:ext uri="{FF2B5EF4-FFF2-40B4-BE49-F238E27FC236}">
                <a16:creationId xmlns:a16="http://schemas.microsoft.com/office/drawing/2014/main" id="{289D5545-53E0-425A-86D8-FE2092962BFA}"/>
              </a:ext>
            </a:extLst>
          </p:cNvPr>
          <p:cNvSpPr txBox="1">
            <a:spLocks/>
          </p:cNvSpPr>
          <p:nvPr/>
        </p:nvSpPr>
        <p:spPr>
          <a:xfrm>
            <a:off x="8042358" y="1134670"/>
            <a:ext cx="3546529" cy="2914470"/>
          </a:xfrm>
          <a:prstGeom prst="rect">
            <a:avLst/>
          </a:prstGeom>
          <a:noFill/>
          <a:ln>
            <a:noFill/>
          </a:ln>
        </p:spPr>
        <p:txBody>
          <a:bodyPr spcFirstLastPara="1" wrap="square" lIns="0" tIns="36531" rIns="0" bIns="0" anchor="t" anchorCtr="0">
            <a:spAutoFit/>
          </a:bodyPr>
          <a:lstStyle/>
          <a:p>
            <a:pPr defTabSz="913943">
              <a:spcAft>
                <a:spcPts val="600"/>
              </a:spcAft>
              <a:defRPr/>
            </a:pPr>
            <a:r>
              <a:rPr lang="en-US" sz="800" kern="0" dirty="0">
                <a:solidFill>
                  <a:prstClr val="white"/>
                </a:solidFill>
                <a:ea typeface="Inter-Regular"/>
                <a:cs typeface="Inter-Regular"/>
                <a:sym typeface="Inter-Regular"/>
              </a:rPr>
              <a:t>EY refers to the global organization, and may refer to one or more, of the member firms of Ernst &amp; Young Global Limited, each of which is a separate legal entity. Ernst &amp; Young Global Limited, a UK company limited by guarantee, does not provide services to clients. Information about how EY collects and uses personal data and a description of the rights individuals have under data protection legislation are available via ey.com/privacy. EY member firms do not practice law where prohibited by local laws. For more information about our organization, please visit ey.com.</a:t>
            </a:r>
            <a:endParaRPr sz="800" kern="0" dirty="0">
              <a:solidFill>
                <a:prstClr val="white"/>
              </a:solidFill>
            </a:endParaRPr>
          </a:p>
          <a:p>
            <a:pPr defTabSz="913943">
              <a:spcAft>
                <a:spcPts val="600"/>
              </a:spcAft>
              <a:defRPr/>
            </a:pPr>
            <a:r>
              <a:rPr lang="en-US" sz="800" kern="0" dirty="0">
                <a:solidFill>
                  <a:prstClr val="white"/>
                </a:solidFill>
                <a:ea typeface="Inter-Regular"/>
                <a:cs typeface="Inter-Regular"/>
                <a:sym typeface="Inter-Regular"/>
              </a:rPr>
              <a:t>Ernst &amp; Young LLP is a client-serving member firm of Ernst &amp; Young Global Limited operating in the US.</a:t>
            </a:r>
            <a:endParaRPr sz="800" kern="0" dirty="0">
              <a:solidFill>
                <a:prstClr val="white"/>
              </a:solidFill>
            </a:endParaRPr>
          </a:p>
          <a:p>
            <a:pPr defTabSz="913943">
              <a:spcAft>
                <a:spcPts val="600"/>
              </a:spcAft>
              <a:defRPr/>
            </a:pPr>
            <a:r>
              <a:rPr lang="en-US" sz="800" kern="0" dirty="0">
                <a:solidFill>
                  <a:prstClr val="white"/>
                </a:solidFill>
                <a:ea typeface="Inter-Regular"/>
                <a:cs typeface="Inter-Regular"/>
                <a:sym typeface="Inter-Regular"/>
              </a:rPr>
              <a:t>© 2024 Ernst &amp; Young LLP.</a:t>
            </a:r>
            <a:br>
              <a:rPr lang="en-US" sz="800" kern="0" dirty="0">
                <a:solidFill>
                  <a:prstClr val="white"/>
                </a:solidFill>
                <a:ea typeface="Inter-Regular"/>
                <a:cs typeface="Inter-Regular"/>
                <a:sym typeface="Inter-Regular"/>
              </a:rPr>
            </a:br>
            <a:r>
              <a:rPr lang="en-US" sz="800" kern="0" dirty="0">
                <a:solidFill>
                  <a:prstClr val="white"/>
                </a:solidFill>
                <a:ea typeface="Inter-Regular"/>
                <a:cs typeface="Inter-Regular"/>
                <a:sym typeface="Inter-Regular"/>
              </a:rPr>
              <a:t>All Rights Reserved.</a:t>
            </a:r>
          </a:p>
          <a:p>
            <a:pPr>
              <a:spcAft>
                <a:spcPts val="600"/>
              </a:spcAft>
              <a:defRPr/>
            </a:pPr>
            <a:r>
              <a:rPr lang="en-US" sz="800" kern="0" dirty="0">
                <a:solidFill>
                  <a:prstClr val="white"/>
                </a:solidFill>
              </a:rPr>
              <a:t>SCORE no. </a:t>
            </a:r>
            <a:r>
              <a:rPr lang="en-US" sz="800" kern="0">
                <a:solidFill>
                  <a:prstClr val="white"/>
                </a:solidFill>
              </a:rPr>
              <a:t>24847-241US </a:t>
            </a:r>
            <a:br>
              <a:rPr lang="en-US" sz="800" kern="0">
                <a:solidFill>
                  <a:prstClr val="white"/>
                </a:solidFill>
                <a:sym typeface="Inter-Regular"/>
              </a:rPr>
            </a:br>
            <a:r>
              <a:rPr lang="en-US" sz="800" kern="0">
                <a:solidFill>
                  <a:prstClr val="white"/>
                </a:solidFill>
                <a:ea typeface="Inter-Regular"/>
                <a:cs typeface="Inter-Regular"/>
                <a:sym typeface="Inter-Regular"/>
              </a:rPr>
              <a:t>2410-10407-CS</a:t>
            </a:r>
            <a:br>
              <a:rPr lang="en-US" sz="800" kern="0">
                <a:solidFill>
                  <a:prstClr val="white"/>
                </a:solidFill>
                <a:ea typeface="Inter-Regular"/>
                <a:cs typeface="Inter-Regular"/>
                <a:sym typeface="Inter-Regular"/>
              </a:rPr>
            </a:br>
            <a:r>
              <a:rPr lang="en-US" sz="800" kern="0">
                <a:solidFill>
                  <a:prstClr val="white"/>
                </a:solidFill>
                <a:ea typeface="Inter-Regular"/>
                <a:cs typeface="Inter-Regular"/>
                <a:sym typeface="Inter-Regular"/>
              </a:rPr>
              <a:t>ED None</a:t>
            </a:r>
          </a:p>
          <a:p>
            <a:pPr defTabSz="913943">
              <a:spcAft>
                <a:spcPts val="600"/>
              </a:spcAft>
              <a:defRPr/>
            </a:pPr>
            <a:r>
              <a:rPr lang="en-IN" sz="700" kern="0">
                <a:solidFill>
                  <a:prstClr val="white"/>
                </a:solidFill>
              </a:rPr>
              <a:t>This </a:t>
            </a:r>
            <a:r>
              <a:rPr lang="en-IN" sz="700" kern="0" dirty="0">
                <a:solidFill>
                  <a:prstClr val="white"/>
                </a:solidFill>
              </a:rPr>
              <a:t>material has been prepared for general informational purposes only and is not intended to be relied upon as accounting, tax, legal or other professional advice. Please refer to your advisors for specific advice.</a:t>
            </a:r>
          </a:p>
          <a:p>
            <a:pPr defTabSz="913943">
              <a:spcAft>
                <a:spcPts val="600"/>
              </a:spcAft>
              <a:defRPr/>
            </a:pPr>
            <a:r>
              <a:rPr lang="en-US" sz="1099" kern="0" dirty="0">
                <a:solidFill>
                  <a:prstClr val="white"/>
                </a:solidFill>
                <a:ea typeface="Inter-Regular"/>
                <a:cs typeface="Inter-Regular"/>
                <a:sym typeface="Inter-Regular"/>
              </a:rPr>
              <a:t>ey.com</a:t>
            </a:r>
            <a:endParaRPr sz="1099" kern="0" dirty="0">
              <a:solidFill>
                <a:prstClr val="white"/>
              </a:solidFill>
            </a:endParaRPr>
          </a:p>
        </p:txBody>
      </p:sp>
    </p:spTree>
    <p:extLst>
      <p:ext uri="{BB962C8B-B14F-4D97-AF65-F5344CB8AC3E}">
        <p14:creationId xmlns:p14="http://schemas.microsoft.com/office/powerpoint/2010/main" val="215083220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2489" y="1048997"/>
            <a:ext cx="10972800" cy="590400"/>
          </a:xfrm>
        </p:spPr>
        <p:txBody>
          <a:bodyPr/>
          <a:lstStyle/>
          <a:p>
            <a:r>
              <a:rPr lang="en-US" dirty="0"/>
              <a:t>Disclaimer</a:t>
            </a:r>
          </a:p>
        </p:txBody>
      </p:sp>
      <p:sp>
        <p:nvSpPr>
          <p:cNvPr id="5" name="Rectangle 4"/>
          <p:cNvSpPr>
            <a:spLocks noGrp="1" noChangeArrowheads="1"/>
          </p:cNvSpPr>
          <p:nvPr>
            <p:ph idx="1"/>
          </p:nvPr>
        </p:nvSpPr>
        <p:spPr>
          <a:xfrm>
            <a:off x="542489" y="1639397"/>
            <a:ext cx="10972800" cy="4947920"/>
          </a:xfrm>
        </p:spPr>
        <p:txBody>
          <a:bodyPr/>
          <a:lstStyle/>
          <a:p>
            <a:r>
              <a:rPr lang="en-US" altLang="en-US" sz="1600" dirty="0"/>
              <a:t>This presentation is © 2024 Ernst &amp; Young LLP. All Rights Reserved. No part of this document may be reproduced, transmitted or otherwise distributed in any form or by any means, electronic or mechanical, including by photocopying, facsimile transmission, recording, rekeying or using any information storage and retrieval system, without written permission from Ernst &amp; Young LLP. Any reproduction, transmission or distribution of this form or any of the material herein is prohibited and is in violation of US and international law. Ernst &amp; Young LLP expressly disclaims any liability in connection with use of this presentation or its contents by any third party.</a:t>
            </a:r>
          </a:p>
          <a:p>
            <a:r>
              <a:rPr lang="en-US" altLang="en-US" sz="1600" dirty="0"/>
              <a:t>Views expressed in this presentation are those of the speakers and do not necessarily represent the views of </a:t>
            </a:r>
            <a:br>
              <a:rPr lang="en-US" altLang="en-US" sz="1600" dirty="0"/>
            </a:br>
            <a:r>
              <a:rPr lang="en-US" altLang="en-US" sz="1600" dirty="0"/>
              <a:t>Ernst &amp; Young LLP.</a:t>
            </a:r>
            <a:r>
              <a:rPr lang="en-US" altLang="en-US" sz="1600" baseline="30000" dirty="0">
                <a:solidFill>
                  <a:srgbClr val="FF0000"/>
                </a:solidFill>
              </a:rPr>
              <a:t> </a:t>
            </a:r>
            <a:endParaRPr lang="en-US" altLang="en-US" sz="1600" dirty="0"/>
          </a:p>
          <a:p>
            <a:r>
              <a:rPr lang="en-US" altLang="en-US" sz="1600" dirty="0"/>
              <a:t>This presentation is provided solely for the purpose of enhancing knowledge on tax matters. It does not provide accounting, tax, legal or other professional advice because it does not take into account any specific taxpayer’s facts and circumstances.</a:t>
            </a:r>
          </a:p>
          <a:p>
            <a:r>
              <a:rPr lang="en-US" altLang="en-US" sz="1600" dirty="0"/>
              <a:t>Neither EY nor any member firm thereof shall bear any responsibility whatsoever for the content, accuracy or security of any third-party websites that are linked (by way of hyperlink or otherwise) in this presentation.</a:t>
            </a:r>
          </a:p>
          <a:p>
            <a:pPr marL="0" indent="0">
              <a:buNone/>
            </a:pPr>
            <a:endParaRPr lang="en-US" altLang="en-US" sz="1100" dirty="0">
              <a:solidFill>
                <a:srgbClr val="FF0000"/>
              </a:solidFill>
            </a:endParaRPr>
          </a:p>
        </p:txBody>
      </p:sp>
    </p:spTree>
    <p:extLst>
      <p:ext uri="{BB962C8B-B14F-4D97-AF65-F5344CB8AC3E}">
        <p14:creationId xmlns:p14="http://schemas.microsoft.com/office/powerpoint/2010/main" val="36866317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7" name="Picture 66" descr="A blurry image of a computer screen&#10;&#10;Description automatically generated" hidden="1">
            <a:extLst>
              <a:ext uri="{FF2B5EF4-FFF2-40B4-BE49-F238E27FC236}">
                <a16:creationId xmlns:a16="http://schemas.microsoft.com/office/drawing/2014/main" id="{E5D444D5-1BBF-4304-B2E2-1A9D58EC55A9}"/>
              </a:ext>
            </a:extLst>
          </p:cNvPr>
          <p:cNvPicPr>
            <a:picLocks noChangeAspect="1"/>
          </p:cNvPicPr>
          <p:nvPr/>
        </p:nvPicPr>
        <p:blipFill rotWithShape="1">
          <a:blip r:embed="rId3">
            <a:extLst>
              <a:ext uri="{28A0092B-C50C-407E-A947-70E740481C1C}">
                <a14:useLocalDpi xmlns:a14="http://schemas.microsoft.com/office/drawing/2010/main" val="0"/>
              </a:ext>
            </a:extLst>
          </a:blip>
          <a:srcRect l="38652" r="18193"/>
          <a:stretch/>
        </p:blipFill>
        <p:spPr>
          <a:xfrm>
            <a:off x="7200900" y="0"/>
            <a:ext cx="4991100" cy="6858000"/>
          </a:xfrm>
          <a:prstGeom prst="chevron">
            <a:avLst>
              <a:gd name="adj" fmla="val 31652"/>
            </a:avLst>
          </a:prstGeom>
        </p:spPr>
      </p:pic>
      <p:pic>
        <p:nvPicPr>
          <p:cNvPr id="72" name="Picture 71" descr="A person holding a computer&#10;&#10;Description automatically generated" hidden="1">
            <a:extLst>
              <a:ext uri="{FF2B5EF4-FFF2-40B4-BE49-F238E27FC236}">
                <a16:creationId xmlns:a16="http://schemas.microsoft.com/office/drawing/2014/main" id="{705BED3B-6AB9-E733-D19C-4AA1A89C7166}"/>
              </a:ext>
            </a:extLst>
          </p:cNvPr>
          <p:cNvPicPr>
            <a:picLocks noChangeAspect="1"/>
          </p:cNvPicPr>
          <p:nvPr/>
        </p:nvPicPr>
        <p:blipFill rotWithShape="1">
          <a:blip r:embed="rId4">
            <a:extLst>
              <a:ext uri="{28A0092B-C50C-407E-A947-70E740481C1C}">
                <a14:useLocalDpi xmlns:a14="http://schemas.microsoft.com/office/drawing/2010/main" val="0"/>
              </a:ext>
            </a:extLst>
          </a:blip>
          <a:srcRect l="8856" r="36836"/>
          <a:stretch/>
        </p:blipFill>
        <p:spPr>
          <a:xfrm>
            <a:off x="6965576" y="1782476"/>
            <a:ext cx="5226424" cy="5075524"/>
          </a:xfrm>
          <a:prstGeom prst="rect">
            <a:avLst/>
          </a:prstGeom>
        </p:spPr>
      </p:pic>
      <p:pic>
        <p:nvPicPr>
          <p:cNvPr id="17" name="Picture 16" descr="A person wearing safety goggles and gloves&#10;&#10;Description automatically generated" hidden="1">
            <a:extLst>
              <a:ext uri="{FF2B5EF4-FFF2-40B4-BE49-F238E27FC236}">
                <a16:creationId xmlns:a16="http://schemas.microsoft.com/office/drawing/2014/main" id="{44D300B5-3150-6122-18A8-88C1D8627538}"/>
              </a:ext>
            </a:extLst>
          </p:cNvPr>
          <p:cNvPicPr>
            <a:picLocks noChangeAspect="1"/>
          </p:cNvPicPr>
          <p:nvPr/>
        </p:nvPicPr>
        <p:blipFill rotWithShape="1">
          <a:blip r:embed="rId5">
            <a:extLst>
              <a:ext uri="{BEBA8EAE-BF5A-486C-A8C5-ECC9F3942E4B}">
                <a14:imgProps xmlns:a14="http://schemas.microsoft.com/office/drawing/2010/main">
                  <a14:imgLayer r:embed="rId6">
                    <a14:imgEffect>
                      <a14:colorTemperature colorTemp="7600"/>
                    </a14:imgEffect>
                    <a14:imgEffect>
                      <a14:saturation sat="107000"/>
                    </a14:imgEffect>
                    <a14:imgEffect>
                      <a14:brightnessContrast bright="-4000" contrast="15000"/>
                    </a14:imgEffect>
                  </a14:imgLayer>
                </a14:imgProps>
              </a:ext>
              <a:ext uri="{28A0092B-C50C-407E-A947-70E740481C1C}">
                <a14:useLocalDpi xmlns:a14="http://schemas.microsoft.com/office/drawing/2010/main" val="0"/>
              </a:ext>
            </a:extLst>
          </a:blip>
          <a:srcRect l="16236" t="636"/>
          <a:stretch/>
        </p:blipFill>
        <p:spPr>
          <a:xfrm flipH="1">
            <a:off x="-6" y="0"/>
            <a:ext cx="12192001" cy="6858000"/>
          </a:xfrm>
          <a:prstGeom prst="rect">
            <a:avLst/>
          </a:prstGeom>
        </p:spPr>
      </p:pic>
      <p:pic>
        <p:nvPicPr>
          <p:cNvPr id="21" name="Picture 20" descr="A person looking at multiple screens&#10;&#10;Description automatically generated" hidden="1">
            <a:extLst>
              <a:ext uri="{FF2B5EF4-FFF2-40B4-BE49-F238E27FC236}">
                <a16:creationId xmlns:a16="http://schemas.microsoft.com/office/drawing/2014/main" id="{37DD91C0-7A5E-CC40-0253-AD06823E6895}"/>
              </a:ext>
            </a:extLst>
          </p:cNvPr>
          <p:cNvPicPr>
            <a:picLocks noChangeAspect="1"/>
          </p:cNvPicPr>
          <p:nvPr/>
        </p:nvPicPr>
        <p:blipFill rotWithShape="1">
          <a:blip r:embed="rId7">
            <a:extLst>
              <a:ext uri="{28A0092B-C50C-407E-A947-70E740481C1C}">
                <a14:useLocalDpi xmlns:a14="http://schemas.microsoft.com/office/drawing/2010/main" val="0"/>
              </a:ext>
            </a:extLst>
          </a:blip>
          <a:srcRect l="14129" t="15079" r="21900" b="20950"/>
          <a:stretch/>
        </p:blipFill>
        <p:spPr>
          <a:xfrm>
            <a:off x="2204" y="0"/>
            <a:ext cx="12189795" cy="6859241"/>
          </a:xfrm>
          <a:prstGeom prst="rect">
            <a:avLst/>
          </a:prstGeom>
        </p:spPr>
      </p:pic>
      <p:grpSp>
        <p:nvGrpSpPr>
          <p:cNvPr id="5" name="Group 4" hidden="1">
            <a:extLst>
              <a:ext uri="{FF2B5EF4-FFF2-40B4-BE49-F238E27FC236}">
                <a16:creationId xmlns:a16="http://schemas.microsoft.com/office/drawing/2014/main" id="{E7F63F5E-0607-F46C-0227-5B5D79BF45BC}"/>
              </a:ext>
            </a:extLst>
          </p:cNvPr>
          <p:cNvGrpSpPr/>
          <p:nvPr/>
        </p:nvGrpSpPr>
        <p:grpSpPr>
          <a:xfrm>
            <a:off x="609601" y="1640682"/>
            <a:ext cx="348456" cy="3923822"/>
            <a:chOff x="609601" y="1640682"/>
            <a:chExt cx="348456" cy="3923822"/>
          </a:xfrm>
        </p:grpSpPr>
        <p:cxnSp>
          <p:nvCxnSpPr>
            <p:cNvPr id="34" name="Straight Connector 33">
              <a:extLst>
                <a:ext uri="{FF2B5EF4-FFF2-40B4-BE49-F238E27FC236}">
                  <a16:creationId xmlns:a16="http://schemas.microsoft.com/office/drawing/2014/main" id="{A3758203-35C3-DAAF-42AD-5E08511ECEBD}"/>
                </a:ext>
              </a:extLst>
            </p:cNvPr>
            <p:cNvCxnSpPr>
              <a:cxnSpLocks/>
            </p:cNvCxnSpPr>
            <p:nvPr/>
          </p:nvCxnSpPr>
          <p:spPr>
            <a:xfrm>
              <a:off x="609601" y="1690688"/>
              <a:ext cx="164305" cy="0"/>
            </a:xfrm>
            <a:prstGeom prst="line">
              <a:avLst/>
            </a:prstGeom>
            <a:noFill/>
            <a:ln w="9525">
              <a:solidFill>
                <a:srgbClr val="00095B"/>
              </a:solidFill>
            </a:ln>
          </p:spPr>
          <p:style>
            <a:lnRef idx="2">
              <a:schemeClr val="accent1">
                <a:shade val="50000"/>
              </a:schemeClr>
            </a:lnRef>
            <a:fillRef idx="1">
              <a:schemeClr val="accent1"/>
            </a:fillRef>
            <a:effectRef idx="0">
              <a:schemeClr val="accent1"/>
            </a:effectRef>
            <a:fontRef idx="minor">
              <a:schemeClr val="lt1"/>
            </a:fontRef>
          </p:style>
        </p:cxnSp>
        <p:cxnSp>
          <p:nvCxnSpPr>
            <p:cNvPr id="35" name="Straight Connector 34">
              <a:extLst>
                <a:ext uri="{FF2B5EF4-FFF2-40B4-BE49-F238E27FC236}">
                  <a16:creationId xmlns:a16="http://schemas.microsoft.com/office/drawing/2014/main" id="{1EBF8063-B2DE-36FA-228D-5919F5570AED}"/>
                </a:ext>
              </a:extLst>
            </p:cNvPr>
            <p:cNvCxnSpPr>
              <a:cxnSpLocks/>
            </p:cNvCxnSpPr>
            <p:nvPr/>
          </p:nvCxnSpPr>
          <p:spPr>
            <a:xfrm>
              <a:off x="609601" y="2112168"/>
              <a:ext cx="290512" cy="0"/>
            </a:xfrm>
            <a:prstGeom prst="line">
              <a:avLst/>
            </a:prstGeom>
            <a:noFill/>
            <a:ln w="9525">
              <a:solidFill>
                <a:srgbClr val="00095B"/>
              </a:solidFill>
            </a:ln>
          </p:spPr>
          <p:style>
            <a:lnRef idx="2">
              <a:schemeClr val="accent1">
                <a:shade val="50000"/>
              </a:schemeClr>
            </a:lnRef>
            <a:fillRef idx="1">
              <a:schemeClr val="accent1"/>
            </a:fillRef>
            <a:effectRef idx="0">
              <a:schemeClr val="accent1"/>
            </a:effectRef>
            <a:fontRef idx="minor">
              <a:schemeClr val="lt1"/>
            </a:fontRef>
          </p:style>
        </p:cxnSp>
        <p:sp>
          <p:nvSpPr>
            <p:cNvPr id="37" name="Oval 36">
              <a:extLst>
                <a:ext uri="{FF2B5EF4-FFF2-40B4-BE49-F238E27FC236}">
                  <a16:creationId xmlns:a16="http://schemas.microsoft.com/office/drawing/2014/main" id="{E0D8B3A5-3178-26B3-0E7E-9E0C980212C2}"/>
                </a:ext>
              </a:extLst>
            </p:cNvPr>
            <p:cNvSpPr/>
            <p:nvPr/>
          </p:nvSpPr>
          <p:spPr>
            <a:xfrm>
              <a:off x="773906" y="1640682"/>
              <a:ext cx="100012" cy="100012"/>
            </a:xfrm>
            <a:prstGeom prst="ellipse">
              <a:avLst/>
            </a:prstGeom>
            <a:noFill/>
            <a:ln w="9525">
              <a:solidFill>
                <a:srgbClr val="00095B"/>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38" name="Oval 37">
              <a:extLst>
                <a:ext uri="{FF2B5EF4-FFF2-40B4-BE49-F238E27FC236}">
                  <a16:creationId xmlns:a16="http://schemas.microsoft.com/office/drawing/2014/main" id="{BDCE3E4B-5C04-78A5-4D49-2C98BCEFAD7B}"/>
                </a:ext>
              </a:extLst>
            </p:cNvPr>
            <p:cNvSpPr/>
            <p:nvPr/>
          </p:nvSpPr>
          <p:spPr>
            <a:xfrm>
              <a:off x="896145" y="2081212"/>
              <a:ext cx="61912" cy="61912"/>
            </a:xfrm>
            <a:prstGeom prst="ellipse">
              <a:avLst/>
            </a:prstGeom>
            <a:noFill/>
            <a:ln w="9525">
              <a:solidFill>
                <a:srgbClr val="00095B"/>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40" name="Straight Connector 39">
              <a:extLst>
                <a:ext uri="{FF2B5EF4-FFF2-40B4-BE49-F238E27FC236}">
                  <a16:creationId xmlns:a16="http://schemas.microsoft.com/office/drawing/2014/main" id="{C058EFB6-C1A5-4116-A7D1-CCF8440355FE}"/>
                </a:ext>
              </a:extLst>
            </p:cNvPr>
            <p:cNvCxnSpPr>
              <a:cxnSpLocks/>
            </p:cNvCxnSpPr>
            <p:nvPr/>
          </p:nvCxnSpPr>
          <p:spPr>
            <a:xfrm>
              <a:off x="609601" y="3422808"/>
              <a:ext cx="290512" cy="0"/>
            </a:xfrm>
            <a:prstGeom prst="line">
              <a:avLst/>
            </a:prstGeom>
            <a:noFill/>
            <a:ln w="9525">
              <a:solidFill>
                <a:srgbClr val="00095B"/>
              </a:solidFill>
            </a:ln>
          </p:spPr>
          <p:style>
            <a:lnRef idx="2">
              <a:schemeClr val="accent1">
                <a:shade val="50000"/>
              </a:schemeClr>
            </a:lnRef>
            <a:fillRef idx="1">
              <a:schemeClr val="accent1"/>
            </a:fillRef>
            <a:effectRef idx="0">
              <a:schemeClr val="accent1"/>
            </a:effectRef>
            <a:fontRef idx="minor">
              <a:schemeClr val="lt1"/>
            </a:fontRef>
          </p:style>
        </p:cxnSp>
        <p:sp>
          <p:nvSpPr>
            <p:cNvPr id="41" name="Oval 40">
              <a:extLst>
                <a:ext uri="{FF2B5EF4-FFF2-40B4-BE49-F238E27FC236}">
                  <a16:creationId xmlns:a16="http://schemas.microsoft.com/office/drawing/2014/main" id="{7EB8E0E8-BAA7-FB6B-EC7D-FBF921FFED80}"/>
                </a:ext>
              </a:extLst>
            </p:cNvPr>
            <p:cNvSpPr/>
            <p:nvPr/>
          </p:nvSpPr>
          <p:spPr>
            <a:xfrm>
              <a:off x="896145" y="3391852"/>
              <a:ext cx="61912" cy="61912"/>
            </a:xfrm>
            <a:prstGeom prst="ellipse">
              <a:avLst/>
            </a:prstGeom>
            <a:noFill/>
            <a:ln w="9525">
              <a:solidFill>
                <a:srgbClr val="00095B"/>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42" name="Straight Connector 41">
              <a:extLst>
                <a:ext uri="{FF2B5EF4-FFF2-40B4-BE49-F238E27FC236}">
                  <a16:creationId xmlns:a16="http://schemas.microsoft.com/office/drawing/2014/main" id="{0C960362-2F4B-2F0C-A8E3-771A3786D269}"/>
                </a:ext>
              </a:extLst>
            </p:cNvPr>
            <p:cNvCxnSpPr>
              <a:cxnSpLocks/>
            </p:cNvCxnSpPr>
            <p:nvPr/>
          </p:nvCxnSpPr>
          <p:spPr>
            <a:xfrm>
              <a:off x="609601" y="3824288"/>
              <a:ext cx="164305" cy="0"/>
            </a:xfrm>
            <a:prstGeom prst="line">
              <a:avLst/>
            </a:prstGeom>
            <a:noFill/>
            <a:ln w="9525">
              <a:solidFill>
                <a:srgbClr val="00095B"/>
              </a:solidFill>
            </a:ln>
          </p:spPr>
          <p:style>
            <a:lnRef idx="2">
              <a:schemeClr val="accent1">
                <a:shade val="50000"/>
              </a:schemeClr>
            </a:lnRef>
            <a:fillRef idx="1">
              <a:schemeClr val="accent1"/>
            </a:fillRef>
            <a:effectRef idx="0">
              <a:schemeClr val="accent1"/>
            </a:effectRef>
            <a:fontRef idx="minor">
              <a:schemeClr val="lt1"/>
            </a:fontRef>
          </p:style>
        </p:cxnSp>
        <p:sp>
          <p:nvSpPr>
            <p:cNvPr id="43" name="Oval 42">
              <a:extLst>
                <a:ext uri="{FF2B5EF4-FFF2-40B4-BE49-F238E27FC236}">
                  <a16:creationId xmlns:a16="http://schemas.microsoft.com/office/drawing/2014/main" id="{B133F11B-8B8D-D2CE-CF1C-BADBBC5CB980}"/>
                </a:ext>
              </a:extLst>
            </p:cNvPr>
            <p:cNvSpPr/>
            <p:nvPr/>
          </p:nvSpPr>
          <p:spPr>
            <a:xfrm>
              <a:off x="773906" y="3774282"/>
              <a:ext cx="100012" cy="100012"/>
            </a:xfrm>
            <a:prstGeom prst="ellipse">
              <a:avLst/>
            </a:prstGeom>
            <a:noFill/>
            <a:ln w="9525">
              <a:solidFill>
                <a:srgbClr val="00095B"/>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44" name="Straight Connector 43">
              <a:extLst>
                <a:ext uri="{FF2B5EF4-FFF2-40B4-BE49-F238E27FC236}">
                  <a16:creationId xmlns:a16="http://schemas.microsoft.com/office/drawing/2014/main" id="{DE57BF26-2177-8040-2E68-B519F328514E}"/>
                </a:ext>
              </a:extLst>
            </p:cNvPr>
            <p:cNvCxnSpPr>
              <a:cxnSpLocks/>
            </p:cNvCxnSpPr>
            <p:nvPr/>
          </p:nvCxnSpPr>
          <p:spPr>
            <a:xfrm>
              <a:off x="609601" y="5112068"/>
              <a:ext cx="164305" cy="0"/>
            </a:xfrm>
            <a:prstGeom prst="line">
              <a:avLst/>
            </a:prstGeom>
            <a:noFill/>
            <a:ln w="9525">
              <a:solidFill>
                <a:srgbClr val="00095B"/>
              </a:solidFill>
            </a:ln>
          </p:spPr>
          <p:style>
            <a:lnRef idx="2">
              <a:schemeClr val="accent1">
                <a:shade val="50000"/>
              </a:schemeClr>
            </a:lnRef>
            <a:fillRef idx="1">
              <a:schemeClr val="accent1"/>
            </a:fillRef>
            <a:effectRef idx="0">
              <a:schemeClr val="accent1"/>
            </a:effectRef>
            <a:fontRef idx="minor">
              <a:schemeClr val="lt1"/>
            </a:fontRef>
          </p:style>
        </p:cxnSp>
        <p:cxnSp>
          <p:nvCxnSpPr>
            <p:cNvPr id="45" name="Straight Connector 44">
              <a:extLst>
                <a:ext uri="{FF2B5EF4-FFF2-40B4-BE49-F238E27FC236}">
                  <a16:creationId xmlns:a16="http://schemas.microsoft.com/office/drawing/2014/main" id="{1607F246-DB63-0D87-A5CB-BD2C87B9FD33}"/>
                </a:ext>
              </a:extLst>
            </p:cNvPr>
            <p:cNvCxnSpPr>
              <a:cxnSpLocks/>
            </p:cNvCxnSpPr>
            <p:nvPr/>
          </p:nvCxnSpPr>
          <p:spPr>
            <a:xfrm>
              <a:off x="609601" y="5533548"/>
              <a:ext cx="290512" cy="0"/>
            </a:xfrm>
            <a:prstGeom prst="line">
              <a:avLst/>
            </a:prstGeom>
            <a:noFill/>
            <a:ln w="9525">
              <a:solidFill>
                <a:srgbClr val="00095B"/>
              </a:solidFill>
            </a:ln>
          </p:spPr>
          <p:style>
            <a:lnRef idx="2">
              <a:schemeClr val="accent1">
                <a:shade val="50000"/>
              </a:schemeClr>
            </a:lnRef>
            <a:fillRef idx="1">
              <a:schemeClr val="accent1"/>
            </a:fillRef>
            <a:effectRef idx="0">
              <a:schemeClr val="accent1"/>
            </a:effectRef>
            <a:fontRef idx="minor">
              <a:schemeClr val="lt1"/>
            </a:fontRef>
          </p:style>
        </p:cxnSp>
        <p:sp>
          <p:nvSpPr>
            <p:cNvPr id="51" name="Oval 50">
              <a:extLst>
                <a:ext uri="{FF2B5EF4-FFF2-40B4-BE49-F238E27FC236}">
                  <a16:creationId xmlns:a16="http://schemas.microsoft.com/office/drawing/2014/main" id="{1CCD2276-921E-EB7F-F06B-85DB8AA4601E}"/>
                </a:ext>
              </a:extLst>
            </p:cNvPr>
            <p:cNvSpPr/>
            <p:nvPr/>
          </p:nvSpPr>
          <p:spPr>
            <a:xfrm>
              <a:off x="773906" y="5062062"/>
              <a:ext cx="100012" cy="100012"/>
            </a:xfrm>
            <a:prstGeom prst="ellipse">
              <a:avLst/>
            </a:prstGeom>
            <a:noFill/>
            <a:ln w="9525">
              <a:solidFill>
                <a:srgbClr val="00095B"/>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52" name="Oval 51">
              <a:extLst>
                <a:ext uri="{FF2B5EF4-FFF2-40B4-BE49-F238E27FC236}">
                  <a16:creationId xmlns:a16="http://schemas.microsoft.com/office/drawing/2014/main" id="{E0685CFF-B690-B325-8475-14E4B34EE57E}"/>
                </a:ext>
              </a:extLst>
            </p:cNvPr>
            <p:cNvSpPr/>
            <p:nvPr/>
          </p:nvSpPr>
          <p:spPr>
            <a:xfrm>
              <a:off x="896145" y="5502592"/>
              <a:ext cx="61912" cy="61912"/>
            </a:xfrm>
            <a:prstGeom prst="ellipse">
              <a:avLst/>
            </a:prstGeom>
            <a:noFill/>
            <a:ln w="9525">
              <a:solidFill>
                <a:srgbClr val="00095B"/>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2E2E38"/>
                </a:solidFill>
                <a:effectLst/>
                <a:uLnTx/>
                <a:uFillTx/>
                <a:latin typeface="EYInterstate Light"/>
                <a:ea typeface="+mn-ea"/>
                <a:cs typeface="+mn-cs"/>
              </a:endParaRPr>
            </a:p>
          </p:txBody>
        </p:sp>
      </p:grpSp>
      <p:sp>
        <p:nvSpPr>
          <p:cNvPr id="68" name="Rectangle 67" hidden="1">
            <a:extLst>
              <a:ext uri="{FF2B5EF4-FFF2-40B4-BE49-F238E27FC236}">
                <a16:creationId xmlns:a16="http://schemas.microsoft.com/office/drawing/2014/main" id="{97F2BEC5-992B-5F0D-1D3C-61E6EEBB1B4D}"/>
              </a:ext>
            </a:extLst>
          </p:cNvPr>
          <p:cNvSpPr/>
          <p:nvPr/>
        </p:nvSpPr>
        <p:spPr>
          <a:xfrm>
            <a:off x="0" y="1649863"/>
            <a:ext cx="514350" cy="364674"/>
          </a:xfrm>
          <a:prstGeom prst="rect">
            <a:avLst/>
          </a:prstGeom>
          <a:solidFill>
            <a:srgbClr val="F4F5F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rIns="9144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2E2E38"/>
                </a:solidFill>
                <a:effectLst/>
                <a:uLnTx/>
                <a:uFillTx/>
                <a:latin typeface="EYInterstate Light"/>
                <a:ea typeface="+mn-ea"/>
                <a:cs typeface="+mn-cs"/>
              </a:rPr>
              <a:t>15 Mins </a:t>
            </a:r>
          </a:p>
        </p:txBody>
      </p:sp>
      <p:sp>
        <p:nvSpPr>
          <p:cNvPr id="69" name="Rectangle 68" hidden="1">
            <a:extLst>
              <a:ext uri="{FF2B5EF4-FFF2-40B4-BE49-F238E27FC236}">
                <a16:creationId xmlns:a16="http://schemas.microsoft.com/office/drawing/2014/main" id="{ED9DDB2C-B2DB-AC59-9F32-4B5E3557E77B}"/>
              </a:ext>
            </a:extLst>
          </p:cNvPr>
          <p:cNvSpPr/>
          <p:nvPr/>
        </p:nvSpPr>
        <p:spPr>
          <a:xfrm>
            <a:off x="0" y="2740057"/>
            <a:ext cx="514350" cy="364674"/>
          </a:xfrm>
          <a:prstGeom prst="rect">
            <a:avLst/>
          </a:prstGeom>
          <a:solidFill>
            <a:srgbClr val="F4F5F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rIns="9144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2E2E38"/>
                </a:solidFill>
                <a:effectLst/>
                <a:uLnTx/>
                <a:uFillTx/>
                <a:latin typeface="EYInterstate Light"/>
                <a:ea typeface="+mn-ea"/>
                <a:cs typeface="+mn-cs"/>
              </a:rPr>
              <a:t>30 Mins </a:t>
            </a:r>
          </a:p>
        </p:txBody>
      </p:sp>
      <p:sp>
        <p:nvSpPr>
          <p:cNvPr id="70" name="Rectangle 69" hidden="1">
            <a:extLst>
              <a:ext uri="{FF2B5EF4-FFF2-40B4-BE49-F238E27FC236}">
                <a16:creationId xmlns:a16="http://schemas.microsoft.com/office/drawing/2014/main" id="{501097CA-6757-11A2-A33C-8830EAA0E892}"/>
              </a:ext>
            </a:extLst>
          </p:cNvPr>
          <p:cNvSpPr/>
          <p:nvPr/>
        </p:nvSpPr>
        <p:spPr>
          <a:xfrm>
            <a:off x="0" y="3830253"/>
            <a:ext cx="514350" cy="364674"/>
          </a:xfrm>
          <a:prstGeom prst="rect">
            <a:avLst/>
          </a:prstGeom>
          <a:solidFill>
            <a:srgbClr val="F4F5F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rIns="9144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2E2E38"/>
                </a:solidFill>
                <a:effectLst/>
                <a:uLnTx/>
                <a:uFillTx/>
                <a:latin typeface="EYInterstate Light"/>
                <a:ea typeface="+mn-ea"/>
                <a:cs typeface="+mn-cs"/>
              </a:rPr>
              <a:t>30 Mins </a:t>
            </a:r>
          </a:p>
        </p:txBody>
      </p:sp>
      <p:sp>
        <p:nvSpPr>
          <p:cNvPr id="50" name="Rectangle 49">
            <a:extLst>
              <a:ext uri="{FF2B5EF4-FFF2-40B4-BE49-F238E27FC236}">
                <a16:creationId xmlns:a16="http://schemas.microsoft.com/office/drawing/2014/main" id="{903B884A-87D6-45BB-5E90-FCC0EEB72D09}"/>
              </a:ext>
            </a:extLst>
          </p:cNvPr>
          <p:cNvSpPr/>
          <p:nvPr/>
        </p:nvSpPr>
        <p:spPr>
          <a:xfrm>
            <a:off x="4388593" y="939599"/>
            <a:ext cx="5441207" cy="803835"/>
          </a:xfrm>
          <a:prstGeom prst="rect">
            <a:avLst/>
          </a:prstGeom>
          <a:noFill/>
          <a:ln w="12700" cap="sq" cmpd="sng" algn="ctr">
            <a:noFill/>
            <a:prstDash val="solid"/>
            <a:miter lim="800000"/>
            <a:tailEnd type="none"/>
          </a:ln>
          <a:effectLst/>
          <a:extLst>
            <a:ext uri="{909E8E84-426E-40DD-AFC4-6F175D3DCCD1}">
              <a14:hiddenFill xmlns:a14="http://schemas.microsoft.com/office/drawing/2010/main">
                <a:solidFill>
                  <a:srgbClr val="2E2E38">
                    <a:alpha val="80000"/>
                  </a:srgbClr>
                </a:solidFill>
              </a14:hiddenFill>
            </a:ext>
          </a:extLst>
        </p:spPr>
        <p:txBody>
          <a:bodyPr rot="0" spcFirstLastPara="0" vertOverflow="overflow" horzOverflow="overflow" vert="horz" wrap="square" lIns="640080" tIns="45720" rIns="91440" bIns="45720" numCol="1" spcCol="0" rtlCol="0" fromWordArt="0" anchor="ctr" anchorCtr="0" forceAA="0" compatLnSpc="1">
            <a:prstTxWarp prst="textNoShape">
              <a:avLst/>
            </a:prstTxWarp>
            <a:noAutofit/>
          </a:bodyPr>
          <a:lstStyle/>
          <a:p>
            <a:r>
              <a:rPr lang="en-IN" sz="1600" b="1" dirty="0">
                <a:solidFill>
                  <a:schemeClr val="bg1"/>
                </a:solidFill>
                <a:latin typeface="EYInterstate Light" panose="02000506000000020004" pitchFamily="2" charset="0"/>
              </a:rPr>
              <a:t>Overview of severance tax</a:t>
            </a:r>
          </a:p>
        </p:txBody>
      </p:sp>
      <p:sp>
        <p:nvSpPr>
          <p:cNvPr id="53" name="Oval 52">
            <a:extLst>
              <a:ext uri="{FF2B5EF4-FFF2-40B4-BE49-F238E27FC236}">
                <a16:creationId xmlns:a16="http://schemas.microsoft.com/office/drawing/2014/main" id="{D8FDC3D0-3D91-A779-4EDA-0CA15D6461D4}"/>
              </a:ext>
            </a:extLst>
          </p:cNvPr>
          <p:cNvSpPr>
            <a:spLocks/>
          </p:cNvSpPr>
          <p:nvPr/>
        </p:nvSpPr>
        <p:spPr>
          <a:xfrm>
            <a:off x="3928987" y="939599"/>
            <a:ext cx="803323" cy="803322"/>
          </a:xfrm>
          <a:prstGeom prst="ellipse">
            <a:avLst/>
          </a:prstGeom>
          <a:noFill/>
          <a:ln w="6350" cap="sq" cmpd="sng" algn="ctr">
            <a:solidFill>
              <a:srgbClr val="747480"/>
            </a:solid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en-IN" sz="2800" b="1" i="0" u="none" strike="noStrike" kern="0" cap="none" spc="0" normalizeH="0" baseline="0" noProof="0" dirty="0">
                <a:ln>
                  <a:noFill/>
                </a:ln>
                <a:solidFill>
                  <a:schemeClr val="bg1"/>
                </a:solidFill>
                <a:effectLst/>
                <a:uLnTx/>
                <a:uFillTx/>
              </a:rPr>
              <a:t>1</a:t>
            </a:r>
          </a:p>
        </p:txBody>
      </p:sp>
      <p:sp>
        <p:nvSpPr>
          <p:cNvPr id="48" name="Rectangle 47">
            <a:extLst>
              <a:ext uri="{FF2B5EF4-FFF2-40B4-BE49-F238E27FC236}">
                <a16:creationId xmlns:a16="http://schemas.microsoft.com/office/drawing/2014/main" id="{22B3D5A9-2D6E-F072-A0CD-B1631D3C5FA7}"/>
              </a:ext>
            </a:extLst>
          </p:cNvPr>
          <p:cNvSpPr/>
          <p:nvPr/>
        </p:nvSpPr>
        <p:spPr>
          <a:xfrm>
            <a:off x="4388593" y="2084272"/>
            <a:ext cx="5441207" cy="803835"/>
          </a:xfrm>
          <a:prstGeom prst="rect">
            <a:avLst/>
          </a:prstGeom>
          <a:noFill/>
          <a:ln w="12700" cap="sq" cmpd="sng" algn="ctr">
            <a:noFill/>
            <a:prstDash val="solid"/>
            <a:miter lim="800000"/>
            <a:tailEnd type="none"/>
          </a:ln>
          <a:effectLst/>
          <a:extLst>
            <a:ext uri="{909E8E84-426E-40DD-AFC4-6F175D3DCCD1}">
              <a14:hiddenFill xmlns:a14="http://schemas.microsoft.com/office/drawing/2010/main">
                <a:solidFill>
                  <a:srgbClr val="2E2E38">
                    <a:alpha val="80000"/>
                  </a:srgbClr>
                </a:solidFill>
              </a14:hiddenFill>
            </a:ext>
          </a:extLst>
        </p:spPr>
        <p:txBody>
          <a:bodyPr rot="0" spcFirstLastPara="0" vertOverflow="overflow" horzOverflow="overflow" vert="horz" wrap="square" lIns="640080" tIns="45720" rIns="91440" bIns="45720" numCol="1" spcCol="0" rtlCol="0" fromWordArt="0" anchor="ctr" anchorCtr="0" forceAA="0" compatLnSpc="1">
            <a:prstTxWarp prst="textNoShape">
              <a:avLst/>
            </a:prstTxWarp>
            <a:noAutofit/>
          </a:bodyPr>
          <a:lstStyle/>
          <a:p>
            <a:r>
              <a:rPr lang="en-US" sz="1600" b="1" dirty="0">
                <a:solidFill>
                  <a:schemeClr val="bg1"/>
                </a:solidFill>
                <a:latin typeface="EYInterstate Light" panose="02000506000000020004" pitchFamily="2" charset="0"/>
              </a:rPr>
              <a:t>Texas severance tax</a:t>
            </a:r>
          </a:p>
          <a:p>
            <a:pPr marL="231775" indent="-231775">
              <a:buClr>
                <a:srgbClr val="FFE600"/>
              </a:buClr>
              <a:buFont typeface="EYInterstate Light" panose="02000506000000020004" pitchFamily="2" charset="0"/>
              <a:buChar char="•"/>
            </a:pPr>
            <a:r>
              <a:rPr lang="en-US" sz="1400" dirty="0">
                <a:solidFill>
                  <a:schemeClr val="bg1"/>
                </a:solidFill>
                <a:latin typeface="EYInterstate Light" panose="02000506000000020004" pitchFamily="2" charset="0"/>
              </a:rPr>
              <a:t>Overview</a:t>
            </a:r>
          </a:p>
          <a:p>
            <a:pPr marL="231775" indent="-231775">
              <a:buClr>
                <a:srgbClr val="FFE600"/>
              </a:buClr>
              <a:buFont typeface="EYInterstate Light" panose="02000506000000020004" pitchFamily="2" charset="0"/>
              <a:buChar char="•"/>
            </a:pPr>
            <a:r>
              <a:rPr lang="en-US" sz="1400" dirty="0">
                <a:solidFill>
                  <a:schemeClr val="bg1"/>
                </a:solidFill>
                <a:latin typeface="EYInterstate Light" panose="02000506000000020004" pitchFamily="2" charset="0"/>
              </a:rPr>
              <a:t>Reporting requirements</a:t>
            </a:r>
          </a:p>
          <a:p>
            <a:pPr marL="231775" indent="-231775">
              <a:buClr>
                <a:srgbClr val="FFE600"/>
              </a:buClr>
              <a:buFont typeface="EYInterstate Light" panose="02000506000000020004" pitchFamily="2" charset="0"/>
              <a:buChar char="•"/>
            </a:pPr>
            <a:r>
              <a:rPr lang="en-US" sz="1400" dirty="0">
                <a:solidFill>
                  <a:schemeClr val="bg1"/>
                </a:solidFill>
                <a:latin typeface="EYInterstate Light" panose="02000506000000020004" pitchFamily="2" charset="0"/>
              </a:rPr>
              <a:t>Market value</a:t>
            </a:r>
          </a:p>
          <a:p>
            <a:pPr marL="231775" indent="-231775">
              <a:buClr>
                <a:srgbClr val="FFE600"/>
              </a:buClr>
              <a:buFont typeface="EYInterstate Light" panose="02000506000000020004" pitchFamily="2" charset="0"/>
              <a:buChar char="•"/>
            </a:pPr>
            <a:r>
              <a:rPr lang="en-US" sz="1400" dirty="0">
                <a:solidFill>
                  <a:schemeClr val="bg1"/>
                </a:solidFill>
                <a:latin typeface="EYInterstate Light" panose="02000506000000020004" pitchFamily="2" charset="0"/>
              </a:rPr>
              <a:t>Marketing costs</a:t>
            </a:r>
          </a:p>
        </p:txBody>
      </p:sp>
      <p:sp>
        <p:nvSpPr>
          <p:cNvPr id="49" name="Oval 48">
            <a:extLst>
              <a:ext uri="{FF2B5EF4-FFF2-40B4-BE49-F238E27FC236}">
                <a16:creationId xmlns:a16="http://schemas.microsoft.com/office/drawing/2014/main" id="{D37D39F2-C1E7-8A74-A5C0-8101FB2099FD}"/>
              </a:ext>
            </a:extLst>
          </p:cNvPr>
          <p:cNvSpPr>
            <a:spLocks/>
          </p:cNvSpPr>
          <p:nvPr/>
        </p:nvSpPr>
        <p:spPr>
          <a:xfrm>
            <a:off x="3928987" y="2084785"/>
            <a:ext cx="803323" cy="803322"/>
          </a:xfrm>
          <a:prstGeom prst="ellipse">
            <a:avLst/>
          </a:prstGeom>
          <a:noFill/>
          <a:ln w="6350" cap="sq" cmpd="sng" algn="ctr">
            <a:solidFill>
              <a:srgbClr val="747480"/>
            </a:solid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IN" sz="2800" b="1" kern="0" dirty="0">
                <a:solidFill>
                  <a:schemeClr val="bg1"/>
                </a:solidFill>
              </a:rPr>
              <a:t>2</a:t>
            </a:r>
          </a:p>
        </p:txBody>
      </p:sp>
      <p:sp>
        <p:nvSpPr>
          <p:cNvPr id="32" name="Rectangle 31">
            <a:extLst>
              <a:ext uri="{FF2B5EF4-FFF2-40B4-BE49-F238E27FC236}">
                <a16:creationId xmlns:a16="http://schemas.microsoft.com/office/drawing/2014/main" id="{1A6E4F20-8785-A36A-8305-D2212E8BC56E}"/>
              </a:ext>
            </a:extLst>
          </p:cNvPr>
          <p:cNvSpPr/>
          <p:nvPr/>
        </p:nvSpPr>
        <p:spPr>
          <a:xfrm>
            <a:off x="4388593" y="3372364"/>
            <a:ext cx="5441207" cy="803835"/>
          </a:xfrm>
          <a:prstGeom prst="rect">
            <a:avLst/>
          </a:prstGeom>
          <a:noFill/>
          <a:ln w="12700" cap="sq" cmpd="sng" algn="ctr">
            <a:noFill/>
            <a:prstDash val="solid"/>
            <a:miter lim="800000"/>
            <a:tailEnd type="none"/>
          </a:ln>
          <a:effectLst/>
          <a:extLst>
            <a:ext uri="{909E8E84-426E-40DD-AFC4-6F175D3DCCD1}">
              <a14:hiddenFill xmlns:a14="http://schemas.microsoft.com/office/drawing/2010/main">
                <a:solidFill>
                  <a:srgbClr val="2E2E38">
                    <a:alpha val="80000"/>
                  </a:srgbClr>
                </a:solidFill>
              </a14:hiddenFill>
            </a:ext>
          </a:extLst>
        </p:spPr>
        <p:txBody>
          <a:bodyPr rot="0" spcFirstLastPara="0" vertOverflow="overflow" horzOverflow="overflow" vert="horz" wrap="square" lIns="640080" tIns="45720" rIns="91440" bIns="45720" numCol="1" spcCol="0" rtlCol="0" fromWordArt="0" anchor="ctr" anchorCtr="0" forceAA="0" compatLnSpc="1">
            <a:prstTxWarp prst="textNoShape">
              <a:avLst/>
            </a:prstTxWarp>
            <a:noAutofit/>
          </a:bodyPr>
          <a:lstStyle/>
          <a:p>
            <a:r>
              <a:rPr lang="en-CA" sz="1600" b="1" dirty="0">
                <a:solidFill>
                  <a:schemeClr val="bg1"/>
                </a:solidFill>
                <a:latin typeface="EYInterstate Light" panose="02000506000000020004" pitchFamily="2" charset="0"/>
              </a:rPr>
              <a:t>Oklahoma severance tax</a:t>
            </a:r>
          </a:p>
          <a:p>
            <a:pPr marL="231775" indent="-231775">
              <a:buClr>
                <a:srgbClr val="FFE600"/>
              </a:buClr>
              <a:buFont typeface="EYInterstate Light" panose="02000506000000020004" pitchFamily="2" charset="0"/>
              <a:buChar char="•"/>
            </a:pPr>
            <a:r>
              <a:rPr lang="en-US" sz="1400" dirty="0">
                <a:solidFill>
                  <a:schemeClr val="bg1"/>
                </a:solidFill>
                <a:latin typeface="EYInterstate Light" panose="02000506000000020004" pitchFamily="2" charset="0"/>
              </a:rPr>
              <a:t>Overview</a:t>
            </a:r>
          </a:p>
          <a:p>
            <a:pPr marL="231775" indent="-231775">
              <a:buClr>
                <a:srgbClr val="FFE600"/>
              </a:buClr>
              <a:buFont typeface="EYInterstate Light" panose="02000506000000020004" pitchFamily="2" charset="0"/>
              <a:buChar char="•"/>
            </a:pPr>
            <a:r>
              <a:rPr lang="en-US" sz="1400" dirty="0">
                <a:solidFill>
                  <a:schemeClr val="bg1"/>
                </a:solidFill>
                <a:latin typeface="EYInterstate Light" panose="02000506000000020004" pitchFamily="2" charset="0"/>
              </a:rPr>
              <a:t>Legislative changes</a:t>
            </a:r>
          </a:p>
          <a:p>
            <a:pPr marL="231775" indent="-231775">
              <a:buClr>
                <a:srgbClr val="FFE600"/>
              </a:buClr>
              <a:buFont typeface="EYInterstate Light" panose="02000506000000020004" pitchFamily="2" charset="0"/>
              <a:buChar char="•"/>
            </a:pPr>
            <a:r>
              <a:rPr lang="en-US" sz="1400" dirty="0">
                <a:solidFill>
                  <a:schemeClr val="bg1"/>
                </a:solidFill>
                <a:latin typeface="EYInterstate Light" panose="02000506000000020004" pitchFamily="2" charset="0"/>
              </a:rPr>
              <a:t>Marketing costs</a:t>
            </a:r>
          </a:p>
        </p:txBody>
      </p:sp>
      <p:sp>
        <p:nvSpPr>
          <p:cNvPr id="46" name="Oval 45">
            <a:extLst>
              <a:ext uri="{FF2B5EF4-FFF2-40B4-BE49-F238E27FC236}">
                <a16:creationId xmlns:a16="http://schemas.microsoft.com/office/drawing/2014/main" id="{CB64C794-AA6E-C6FD-A9DB-FE7EB88E840D}"/>
              </a:ext>
            </a:extLst>
          </p:cNvPr>
          <p:cNvSpPr>
            <a:spLocks/>
          </p:cNvSpPr>
          <p:nvPr/>
        </p:nvSpPr>
        <p:spPr>
          <a:xfrm>
            <a:off x="3928987" y="3372877"/>
            <a:ext cx="803323" cy="803322"/>
          </a:xfrm>
          <a:prstGeom prst="ellipse">
            <a:avLst/>
          </a:prstGeom>
          <a:noFill/>
          <a:ln w="6350" cap="sq" cmpd="sng" algn="ctr">
            <a:solidFill>
              <a:srgbClr val="747480"/>
            </a:solid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IN" sz="2800" b="1" kern="0" dirty="0">
                <a:solidFill>
                  <a:schemeClr val="bg1"/>
                </a:solidFill>
              </a:rPr>
              <a:t>3</a:t>
            </a:r>
          </a:p>
        </p:txBody>
      </p:sp>
      <p:sp>
        <p:nvSpPr>
          <p:cNvPr id="30" name="Rectangle 29">
            <a:extLst>
              <a:ext uri="{FF2B5EF4-FFF2-40B4-BE49-F238E27FC236}">
                <a16:creationId xmlns:a16="http://schemas.microsoft.com/office/drawing/2014/main" id="{AF0C955C-C209-A703-EFEC-822EB741CF95}"/>
              </a:ext>
            </a:extLst>
          </p:cNvPr>
          <p:cNvSpPr/>
          <p:nvPr/>
        </p:nvSpPr>
        <p:spPr>
          <a:xfrm>
            <a:off x="4388593" y="4535478"/>
            <a:ext cx="5441207" cy="803835"/>
          </a:xfrm>
          <a:prstGeom prst="rect">
            <a:avLst/>
          </a:prstGeom>
          <a:noFill/>
          <a:ln w="12700" cap="sq" cmpd="sng" algn="ctr">
            <a:noFill/>
            <a:prstDash val="solid"/>
            <a:miter lim="800000"/>
            <a:tailEnd type="none"/>
          </a:ln>
          <a:effectLst/>
          <a:extLst>
            <a:ext uri="{909E8E84-426E-40DD-AFC4-6F175D3DCCD1}">
              <a14:hiddenFill xmlns:a14="http://schemas.microsoft.com/office/drawing/2010/main">
                <a:solidFill>
                  <a:srgbClr val="2E2E38">
                    <a:alpha val="80000"/>
                  </a:srgbClr>
                </a:solidFill>
              </a14:hiddenFill>
            </a:ext>
          </a:extLst>
        </p:spPr>
        <p:txBody>
          <a:bodyPr rot="0" spcFirstLastPara="0" vertOverflow="overflow" horzOverflow="overflow" vert="horz" wrap="square" lIns="640080" tIns="45720" rIns="91440" bIns="45720" numCol="1" spcCol="0" rtlCol="0" fromWordArt="0" anchor="ctr" anchorCtr="0" forceAA="0" compatLnSpc="1">
            <a:prstTxWarp prst="textNoShape">
              <a:avLst/>
            </a:prstTxWarp>
            <a:noAutofit/>
          </a:bodyPr>
          <a:lstStyle/>
          <a:p>
            <a:r>
              <a:rPr lang="en-CA" sz="1600" b="1" dirty="0">
                <a:solidFill>
                  <a:schemeClr val="bg1"/>
                </a:solidFill>
                <a:latin typeface="EYInterstate Light" panose="02000506000000020004" pitchFamily="2" charset="0"/>
              </a:rPr>
              <a:t>Tax reimbursement language</a:t>
            </a:r>
          </a:p>
        </p:txBody>
      </p:sp>
      <p:sp>
        <p:nvSpPr>
          <p:cNvPr id="31" name="Oval 30">
            <a:extLst>
              <a:ext uri="{FF2B5EF4-FFF2-40B4-BE49-F238E27FC236}">
                <a16:creationId xmlns:a16="http://schemas.microsoft.com/office/drawing/2014/main" id="{2D6F1536-77E2-8E33-E7E5-B558C7ADEBC7}"/>
              </a:ext>
            </a:extLst>
          </p:cNvPr>
          <p:cNvSpPr>
            <a:spLocks/>
          </p:cNvSpPr>
          <p:nvPr/>
        </p:nvSpPr>
        <p:spPr>
          <a:xfrm>
            <a:off x="3928987" y="4535991"/>
            <a:ext cx="803323" cy="803322"/>
          </a:xfrm>
          <a:prstGeom prst="ellipse">
            <a:avLst/>
          </a:prstGeom>
          <a:noFill/>
          <a:ln w="6350" cap="sq" cmpd="sng" algn="ctr">
            <a:solidFill>
              <a:srgbClr val="747480"/>
            </a:solid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IN" sz="2800" b="1" kern="0" dirty="0">
                <a:solidFill>
                  <a:schemeClr val="bg1"/>
                </a:solidFill>
              </a:rPr>
              <a:t>4</a:t>
            </a:r>
          </a:p>
        </p:txBody>
      </p:sp>
      <p:sp>
        <p:nvSpPr>
          <p:cNvPr id="20" name="Rectangle 19">
            <a:extLst>
              <a:ext uri="{FF2B5EF4-FFF2-40B4-BE49-F238E27FC236}">
                <a16:creationId xmlns:a16="http://schemas.microsoft.com/office/drawing/2014/main" id="{72BC00BA-0DF2-A932-908D-C3E0057580AC}"/>
              </a:ext>
            </a:extLst>
          </p:cNvPr>
          <p:cNvSpPr/>
          <p:nvPr/>
        </p:nvSpPr>
        <p:spPr>
          <a:xfrm>
            <a:off x="4388593" y="5516483"/>
            <a:ext cx="5441207" cy="803835"/>
          </a:xfrm>
          <a:prstGeom prst="rect">
            <a:avLst/>
          </a:prstGeom>
          <a:noFill/>
          <a:ln w="12700" cap="sq" cmpd="sng" algn="ctr">
            <a:noFill/>
            <a:prstDash val="solid"/>
            <a:miter lim="800000"/>
            <a:tailEnd type="none"/>
          </a:ln>
          <a:effectLst/>
        </p:spPr>
        <p:txBody>
          <a:bodyPr rot="0" spcFirstLastPara="0" vertOverflow="overflow" horzOverflow="overflow" vert="horz" wrap="square" lIns="640080" tIns="45720" rIns="91440" bIns="45720" numCol="1" spcCol="0" rtlCol="0" fromWordArt="0" anchor="ctr" anchorCtr="0" forceAA="0" compatLnSpc="1">
            <a:prstTxWarp prst="textNoShape">
              <a:avLst/>
            </a:prstTxWarp>
            <a:noAutofit/>
          </a:bodyPr>
          <a:lstStyle/>
          <a:p>
            <a:r>
              <a:rPr lang="en-CA" sz="1600" b="1" dirty="0">
                <a:solidFill>
                  <a:schemeClr val="bg1"/>
                </a:solidFill>
                <a:latin typeface="EYInterstate Light" panose="02000506000000020004" pitchFamily="2" charset="0"/>
              </a:rPr>
              <a:t>Texas exemptions</a:t>
            </a:r>
          </a:p>
        </p:txBody>
      </p:sp>
      <p:sp>
        <p:nvSpPr>
          <p:cNvPr id="26" name="Oval 25">
            <a:extLst>
              <a:ext uri="{FF2B5EF4-FFF2-40B4-BE49-F238E27FC236}">
                <a16:creationId xmlns:a16="http://schemas.microsoft.com/office/drawing/2014/main" id="{195B8258-8C40-130A-9E03-E86BCC238BD3}"/>
              </a:ext>
            </a:extLst>
          </p:cNvPr>
          <p:cNvSpPr>
            <a:spLocks/>
          </p:cNvSpPr>
          <p:nvPr/>
        </p:nvSpPr>
        <p:spPr>
          <a:xfrm>
            <a:off x="3928987" y="5520342"/>
            <a:ext cx="803323" cy="803322"/>
          </a:xfrm>
          <a:prstGeom prst="ellipse">
            <a:avLst/>
          </a:prstGeom>
          <a:noFill/>
          <a:ln w="6350" cap="sq" cmpd="sng" algn="ctr">
            <a:solidFill>
              <a:srgbClr val="747480"/>
            </a:solid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IN" sz="2800" b="1" kern="0" dirty="0">
                <a:solidFill>
                  <a:schemeClr val="bg1"/>
                </a:solidFill>
              </a:rPr>
              <a:t>5</a:t>
            </a:r>
          </a:p>
        </p:txBody>
      </p:sp>
      <p:sp>
        <p:nvSpPr>
          <p:cNvPr id="33" name="Text Placeholder 32">
            <a:extLst>
              <a:ext uri="{FF2B5EF4-FFF2-40B4-BE49-F238E27FC236}">
                <a16:creationId xmlns:a16="http://schemas.microsoft.com/office/drawing/2014/main" id="{143C2794-7AFA-C333-CADB-5FFA25AA2976}"/>
              </a:ext>
            </a:extLst>
          </p:cNvPr>
          <p:cNvSpPr>
            <a:spLocks noGrp="1"/>
          </p:cNvSpPr>
          <p:nvPr>
            <p:ph type="body" sz="quarter" idx="10"/>
          </p:nvPr>
        </p:nvSpPr>
        <p:spPr>
          <a:xfrm rot="16200000">
            <a:off x="80221" y="2945066"/>
            <a:ext cx="4226130" cy="1202318"/>
          </a:xfrm>
        </p:spPr>
        <p:txBody>
          <a:bodyPr/>
          <a:lstStyle/>
          <a:p>
            <a:pPr>
              <a:spcBef>
                <a:spcPts val="0"/>
              </a:spcBef>
            </a:pPr>
            <a:r>
              <a:rPr lang="en-IN" dirty="0"/>
              <a:t>Today’s</a:t>
            </a:r>
          </a:p>
          <a:p>
            <a:pPr>
              <a:spcBef>
                <a:spcPts val="0"/>
              </a:spcBef>
            </a:pPr>
            <a:r>
              <a:rPr lang="en-IN" dirty="0"/>
              <a:t>agenda</a:t>
            </a:r>
          </a:p>
        </p:txBody>
      </p:sp>
      <p:sp>
        <p:nvSpPr>
          <p:cNvPr id="47" name="Oval 46">
            <a:extLst>
              <a:ext uri="{FF2B5EF4-FFF2-40B4-BE49-F238E27FC236}">
                <a16:creationId xmlns:a16="http://schemas.microsoft.com/office/drawing/2014/main" id="{F5334475-FA31-166D-469F-0DF6816DE3B1}"/>
              </a:ext>
            </a:extLst>
          </p:cNvPr>
          <p:cNvSpPr/>
          <p:nvPr/>
        </p:nvSpPr>
        <p:spPr>
          <a:xfrm>
            <a:off x="4681130" y="4886215"/>
            <a:ext cx="102360" cy="102360"/>
          </a:xfrm>
          <a:prstGeom prst="ellipse">
            <a:avLst/>
          </a:prstGeom>
          <a:solidFill>
            <a:srgbClr val="2E2E38"/>
          </a:solidFill>
          <a:ln w="9525" cap="flat"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sp>
        <p:nvSpPr>
          <p:cNvPr id="54" name="Oval 53">
            <a:extLst>
              <a:ext uri="{FF2B5EF4-FFF2-40B4-BE49-F238E27FC236}">
                <a16:creationId xmlns:a16="http://schemas.microsoft.com/office/drawing/2014/main" id="{3B22F00A-B866-A825-34C6-BA4CFAD1D7AF}"/>
              </a:ext>
            </a:extLst>
          </p:cNvPr>
          <p:cNvSpPr/>
          <p:nvPr/>
        </p:nvSpPr>
        <p:spPr>
          <a:xfrm>
            <a:off x="4681130" y="5870823"/>
            <a:ext cx="102360" cy="102360"/>
          </a:xfrm>
          <a:prstGeom prst="ellipse">
            <a:avLst/>
          </a:prstGeom>
          <a:solidFill>
            <a:srgbClr val="2E2E38"/>
          </a:solidFill>
          <a:ln w="9525" cap="flat"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sp>
        <p:nvSpPr>
          <p:cNvPr id="55" name="Oval 54">
            <a:extLst>
              <a:ext uri="{FF2B5EF4-FFF2-40B4-BE49-F238E27FC236}">
                <a16:creationId xmlns:a16="http://schemas.microsoft.com/office/drawing/2014/main" id="{CCA48EE8-77CF-A94B-3BDB-C3262D492810}"/>
              </a:ext>
            </a:extLst>
          </p:cNvPr>
          <p:cNvSpPr/>
          <p:nvPr/>
        </p:nvSpPr>
        <p:spPr>
          <a:xfrm>
            <a:off x="4681130" y="3723101"/>
            <a:ext cx="102360" cy="102360"/>
          </a:xfrm>
          <a:prstGeom prst="ellipse">
            <a:avLst/>
          </a:prstGeom>
          <a:solidFill>
            <a:srgbClr val="2E2E38"/>
          </a:solidFill>
          <a:ln w="9525" cap="flat"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sp>
        <p:nvSpPr>
          <p:cNvPr id="56" name="Oval 55">
            <a:extLst>
              <a:ext uri="{FF2B5EF4-FFF2-40B4-BE49-F238E27FC236}">
                <a16:creationId xmlns:a16="http://schemas.microsoft.com/office/drawing/2014/main" id="{8671D7AB-5BB0-353A-083A-FBD6DF83C39D}"/>
              </a:ext>
            </a:extLst>
          </p:cNvPr>
          <p:cNvSpPr/>
          <p:nvPr/>
        </p:nvSpPr>
        <p:spPr>
          <a:xfrm>
            <a:off x="4681130" y="2435009"/>
            <a:ext cx="102360" cy="102360"/>
          </a:xfrm>
          <a:prstGeom prst="ellipse">
            <a:avLst/>
          </a:prstGeom>
          <a:solidFill>
            <a:srgbClr val="2E2E38"/>
          </a:solidFill>
          <a:ln w="9525" cap="flat"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sp>
        <p:nvSpPr>
          <p:cNvPr id="57" name="Oval 56">
            <a:extLst>
              <a:ext uri="{FF2B5EF4-FFF2-40B4-BE49-F238E27FC236}">
                <a16:creationId xmlns:a16="http://schemas.microsoft.com/office/drawing/2014/main" id="{02C9FB49-447F-BDB0-1D11-467810E6E28A}"/>
              </a:ext>
            </a:extLst>
          </p:cNvPr>
          <p:cNvSpPr/>
          <p:nvPr/>
        </p:nvSpPr>
        <p:spPr>
          <a:xfrm>
            <a:off x="4681130" y="1290080"/>
            <a:ext cx="102360" cy="102360"/>
          </a:xfrm>
          <a:prstGeom prst="ellipse">
            <a:avLst/>
          </a:prstGeom>
          <a:solidFill>
            <a:srgbClr val="2E2E38"/>
          </a:solidFill>
          <a:ln w="9525" cap="flat"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spTree>
    <p:extLst>
      <p:ext uri="{BB962C8B-B14F-4D97-AF65-F5344CB8AC3E}">
        <p14:creationId xmlns:p14="http://schemas.microsoft.com/office/powerpoint/2010/main" val="34809729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64E766-B816-3456-600B-73284DC3FE75}"/>
              </a:ext>
            </a:extLst>
          </p:cNvPr>
          <p:cNvSpPr>
            <a:spLocks noGrp="1"/>
          </p:cNvSpPr>
          <p:nvPr>
            <p:ph type="title"/>
          </p:nvPr>
        </p:nvSpPr>
        <p:spPr>
          <a:xfrm>
            <a:off x="609601" y="814388"/>
            <a:ext cx="10972800" cy="590400"/>
          </a:xfrm>
        </p:spPr>
        <p:txBody>
          <a:bodyPr/>
          <a:lstStyle/>
          <a:p>
            <a:r>
              <a:rPr lang="en-CA" dirty="0"/>
              <a:t>Overview of severance tax</a:t>
            </a:r>
          </a:p>
        </p:txBody>
      </p:sp>
      <p:sp>
        <p:nvSpPr>
          <p:cNvPr id="6" name="Text Placeholder 5">
            <a:extLst>
              <a:ext uri="{FF2B5EF4-FFF2-40B4-BE49-F238E27FC236}">
                <a16:creationId xmlns:a16="http://schemas.microsoft.com/office/drawing/2014/main" id="{3FF67D3B-8F98-A4E1-3EBA-6E24367719F8}"/>
              </a:ext>
            </a:extLst>
          </p:cNvPr>
          <p:cNvSpPr>
            <a:spLocks noGrp="1"/>
          </p:cNvSpPr>
          <p:nvPr>
            <p:ph type="body" sz="quarter" idx="10"/>
          </p:nvPr>
        </p:nvSpPr>
        <p:spPr>
          <a:xfrm>
            <a:off x="609600" y="1662113"/>
            <a:ext cx="5486400" cy="4967287"/>
          </a:xfrm>
        </p:spPr>
        <p:txBody>
          <a:bodyPr/>
          <a:lstStyle/>
          <a:p>
            <a:r>
              <a:rPr lang="en-US" altLang="en-US" dirty="0"/>
              <a:t>Severance tax is a state tax imposed on the production of oil, natural gas and other natural resources. </a:t>
            </a:r>
            <a:endParaRPr lang="en-US" dirty="0"/>
          </a:p>
          <a:p>
            <a:r>
              <a:rPr lang="en-US" altLang="en-US" dirty="0"/>
              <a:t>Severance tax rules can vary significantly by state.</a:t>
            </a:r>
          </a:p>
          <a:p>
            <a:r>
              <a:rPr lang="en-US" altLang="en-US" dirty="0"/>
              <a:t>The tax is typically calculated based on the resource value.</a:t>
            </a:r>
          </a:p>
          <a:p>
            <a:r>
              <a:rPr lang="en-US" altLang="en-US" dirty="0"/>
              <a:t>States charge severance tax because of the idea that the resources extracted from the ground will not be replenished.</a:t>
            </a:r>
          </a:p>
          <a:p>
            <a:r>
              <a:rPr lang="en-US" altLang="en-US" dirty="0"/>
              <a:t>There is a variety of exemptions imposing lower tax rates, or no taxes at all, on certain types of oil and gas production.</a:t>
            </a:r>
            <a:endParaRPr lang="en-IN" dirty="0"/>
          </a:p>
        </p:txBody>
      </p:sp>
      <p:grpSp>
        <p:nvGrpSpPr>
          <p:cNvPr id="5" name="Group 4">
            <a:extLst>
              <a:ext uri="{FF2B5EF4-FFF2-40B4-BE49-F238E27FC236}">
                <a16:creationId xmlns:a16="http://schemas.microsoft.com/office/drawing/2014/main" id="{2A5CEE7E-2EE3-612B-3BBB-99D4BADD1F5B}"/>
              </a:ext>
            </a:extLst>
          </p:cNvPr>
          <p:cNvGrpSpPr/>
          <p:nvPr/>
        </p:nvGrpSpPr>
        <p:grpSpPr>
          <a:xfrm>
            <a:off x="7058663" y="1838200"/>
            <a:ext cx="4263882" cy="2672314"/>
            <a:chOff x="2718157" y="3581869"/>
            <a:chExt cx="4263882" cy="2672314"/>
          </a:xfrm>
        </p:grpSpPr>
        <p:sp>
          <p:nvSpPr>
            <p:cNvPr id="7" name="Freeform 6">
              <a:extLst>
                <a:ext uri="{FF2B5EF4-FFF2-40B4-BE49-F238E27FC236}">
                  <a16:creationId xmlns:a16="http://schemas.microsoft.com/office/drawing/2014/main" id="{4BFC92D8-B3D4-4D65-317A-8C2EBAADB4EB}"/>
                </a:ext>
              </a:extLst>
            </p:cNvPr>
            <p:cNvSpPr>
              <a:spLocks/>
            </p:cNvSpPr>
            <p:nvPr/>
          </p:nvSpPr>
          <p:spPr bwMode="auto">
            <a:xfrm>
              <a:off x="3572583" y="3690653"/>
              <a:ext cx="819625" cy="506464"/>
            </a:xfrm>
            <a:custGeom>
              <a:avLst/>
              <a:gdLst/>
              <a:ahLst/>
              <a:cxnLst>
                <a:cxn ang="0">
                  <a:pos x="4" y="234"/>
                </a:cxn>
                <a:cxn ang="0">
                  <a:pos x="22" y="265"/>
                </a:cxn>
                <a:cxn ang="0">
                  <a:pos x="29" y="290"/>
                </a:cxn>
                <a:cxn ang="0">
                  <a:pos x="28" y="303"/>
                </a:cxn>
                <a:cxn ang="0">
                  <a:pos x="24" y="332"/>
                </a:cxn>
                <a:cxn ang="0">
                  <a:pos x="28" y="352"/>
                </a:cxn>
                <a:cxn ang="0">
                  <a:pos x="46" y="381"/>
                </a:cxn>
                <a:cxn ang="0">
                  <a:pos x="86" y="444"/>
                </a:cxn>
                <a:cxn ang="0">
                  <a:pos x="117" y="499"/>
                </a:cxn>
                <a:cxn ang="0">
                  <a:pos x="131" y="522"/>
                </a:cxn>
                <a:cxn ang="0">
                  <a:pos x="155" y="542"/>
                </a:cxn>
                <a:cxn ang="0">
                  <a:pos x="186" y="555"/>
                </a:cxn>
                <a:cxn ang="0">
                  <a:pos x="186" y="564"/>
                </a:cxn>
                <a:cxn ang="0">
                  <a:pos x="160" y="639"/>
                </a:cxn>
                <a:cxn ang="0">
                  <a:pos x="135" y="708"/>
                </a:cxn>
                <a:cxn ang="0">
                  <a:pos x="122" y="758"/>
                </a:cxn>
                <a:cxn ang="0">
                  <a:pos x="122" y="780"/>
                </a:cxn>
                <a:cxn ang="0">
                  <a:pos x="135" y="800"/>
                </a:cxn>
                <a:cxn ang="0">
                  <a:pos x="151" y="804"/>
                </a:cxn>
                <a:cxn ang="0">
                  <a:pos x="169" y="798"/>
                </a:cxn>
                <a:cxn ang="0">
                  <a:pos x="191" y="784"/>
                </a:cxn>
                <a:cxn ang="0">
                  <a:pos x="204" y="782"/>
                </a:cxn>
                <a:cxn ang="0">
                  <a:pos x="215" y="800"/>
                </a:cxn>
                <a:cxn ang="0">
                  <a:pos x="224" y="831"/>
                </a:cxn>
                <a:cxn ang="0">
                  <a:pos x="233" y="889"/>
                </a:cxn>
                <a:cxn ang="0">
                  <a:pos x="249" y="916"/>
                </a:cxn>
                <a:cxn ang="0">
                  <a:pos x="253" y="929"/>
                </a:cxn>
                <a:cxn ang="0">
                  <a:pos x="247" y="949"/>
                </a:cxn>
                <a:cxn ang="0">
                  <a:pos x="247" y="962"/>
                </a:cxn>
                <a:cxn ang="0">
                  <a:pos x="262" y="982"/>
                </a:cxn>
                <a:cxn ang="0">
                  <a:pos x="282" y="992"/>
                </a:cxn>
                <a:cxn ang="0">
                  <a:pos x="291" y="1000"/>
                </a:cxn>
                <a:cxn ang="0">
                  <a:pos x="296" y="1012"/>
                </a:cxn>
                <a:cxn ang="0">
                  <a:pos x="300" y="1060"/>
                </a:cxn>
                <a:cxn ang="0">
                  <a:pos x="307" y="1078"/>
                </a:cxn>
                <a:cxn ang="0">
                  <a:pos x="318" y="1085"/>
                </a:cxn>
                <a:cxn ang="0">
                  <a:pos x="343" y="1081"/>
                </a:cxn>
                <a:cxn ang="0">
                  <a:pos x="369" y="1078"/>
                </a:cxn>
                <a:cxn ang="0">
                  <a:pos x="429" y="1080"/>
                </a:cxn>
                <a:cxn ang="0">
                  <a:pos x="467" y="1078"/>
                </a:cxn>
                <a:cxn ang="0">
                  <a:pos x="499" y="1085"/>
                </a:cxn>
                <a:cxn ang="0">
                  <a:pos x="534" y="1092"/>
                </a:cxn>
                <a:cxn ang="0">
                  <a:pos x="547" y="1089"/>
                </a:cxn>
                <a:cxn ang="0">
                  <a:pos x="554" y="1076"/>
                </a:cxn>
                <a:cxn ang="0">
                  <a:pos x="558" y="1060"/>
                </a:cxn>
                <a:cxn ang="0">
                  <a:pos x="567" y="1054"/>
                </a:cxn>
                <a:cxn ang="0">
                  <a:pos x="578" y="1063"/>
                </a:cxn>
                <a:cxn ang="0">
                  <a:pos x="596" y="1103"/>
                </a:cxn>
                <a:cxn ang="0">
                  <a:pos x="605" y="1123"/>
                </a:cxn>
                <a:cxn ang="0">
                  <a:pos x="627" y="1003"/>
                </a:cxn>
                <a:cxn ang="0">
                  <a:pos x="1167" y="1081"/>
                </a:cxn>
                <a:cxn ang="0">
                  <a:pos x="1338" y="1101"/>
                </a:cxn>
                <a:cxn ang="0">
                  <a:pos x="1713" y="1136"/>
                </a:cxn>
                <a:cxn ang="0">
                  <a:pos x="1733" y="976"/>
                </a:cxn>
                <a:cxn ang="0">
                  <a:pos x="1762" y="651"/>
                </a:cxn>
                <a:cxn ang="0">
                  <a:pos x="1723" y="258"/>
                </a:cxn>
                <a:cxn ang="0">
                  <a:pos x="1358" y="214"/>
                </a:cxn>
                <a:cxn ang="0">
                  <a:pos x="931" y="158"/>
                </a:cxn>
                <a:cxn ang="0">
                  <a:pos x="492" y="85"/>
                </a:cxn>
                <a:cxn ang="0">
                  <a:pos x="146" y="20"/>
                </a:cxn>
              </a:cxnLst>
              <a:rect l="0" t="0" r="r" b="b"/>
              <a:pathLst>
                <a:path w="1792" h="1136">
                  <a:moveTo>
                    <a:pt x="46" y="0"/>
                  </a:moveTo>
                  <a:lnTo>
                    <a:pt x="0" y="225"/>
                  </a:lnTo>
                  <a:lnTo>
                    <a:pt x="4" y="234"/>
                  </a:lnTo>
                  <a:lnTo>
                    <a:pt x="8" y="241"/>
                  </a:lnTo>
                  <a:lnTo>
                    <a:pt x="19" y="256"/>
                  </a:lnTo>
                  <a:lnTo>
                    <a:pt x="22" y="265"/>
                  </a:lnTo>
                  <a:lnTo>
                    <a:pt x="26" y="272"/>
                  </a:lnTo>
                  <a:lnTo>
                    <a:pt x="29" y="281"/>
                  </a:lnTo>
                  <a:lnTo>
                    <a:pt x="29" y="290"/>
                  </a:lnTo>
                  <a:lnTo>
                    <a:pt x="29" y="292"/>
                  </a:lnTo>
                  <a:lnTo>
                    <a:pt x="29" y="297"/>
                  </a:lnTo>
                  <a:lnTo>
                    <a:pt x="28" y="303"/>
                  </a:lnTo>
                  <a:lnTo>
                    <a:pt x="26" y="312"/>
                  </a:lnTo>
                  <a:lnTo>
                    <a:pt x="24" y="323"/>
                  </a:lnTo>
                  <a:lnTo>
                    <a:pt x="24" y="332"/>
                  </a:lnTo>
                  <a:lnTo>
                    <a:pt x="24" y="341"/>
                  </a:lnTo>
                  <a:lnTo>
                    <a:pt x="26" y="346"/>
                  </a:lnTo>
                  <a:lnTo>
                    <a:pt x="28" y="352"/>
                  </a:lnTo>
                  <a:lnTo>
                    <a:pt x="31" y="359"/>
                  </a:lnTo>
                  <a:lnTo>
                    <a:pt x="35" y="366"/>
                  </a:lnTo>
                  <a:lnTo>
                    <a:pt x="46" y="381"/>
                  </a:lnTo>
                  <a:lnTo>
                    <a:pt x="57" y="394"/>
                  </a:lnTo>
                  <a:lnTo>
                    <a:pt x="66" y="408"/>
                  </a:lnTo>
                  <a:lnTo>
                    <a:pt x="86" y="444"/>
                  </a:lnTo>
                  <a:lnTo>
                    <a:pt x="97" y="463"/>
                  </a:lnTo>
                  <a:lnTo>
                    <a:pt x="108" y="481"/>
                  </a:lnTo>
                  <a:lnTo>
                    <a:pt x="117" y="499"/>
                  </a:lnTo>
                  <a:lnTo>
                    <a:pt x="120" y="508"/>
                  </a:lnTo>
                  <a:lnTo>
                    <a:pt x="126" y="515"/>
                  </a:lnTo>
                  <a:lnTo>
                    <a:pt x="131" y="522"/>
                  </a:lnTo>
                  <a:lnTo>
                    <a:pt x="138" y="530"/>
                  </a:lnTo>
                  <a:lnTo>
                    <a:pt x="146" y="537"/>
                  </a:lnTo>
                  <a:lnTo>
                    <a:pt x="155" y="542"/>
                  </a:lnTo>
                  <a:lnTo>
                    <a:pt x="169" y="548"/>
                  </a:lnTo>
                  <a:lnTo>
                    <a:pt x="178" y="551"/>
                  </a:lnTo>
                  <a:lnTo>
                    <a:pt x="186" y="555"/>
                  </a:lnTo>
                  <a:lnTo>
                    <a:pt x="186" y="559"/>
                  </a:lnTo>
                  <a:lnTo>
                    <a:pt x="187" y="561"/>
                  </a:lnTo>
                  <a:lnTo>
                    <a:pt x="186" y="564"/>
                  </a:lnTo>
                  <a:lnTo>
                    <a:pt x="184" y="571"/>
                  </a:lnTo>
                  <a:lnTo>
                    <a:pt x="178" y="588"/>
                  </a:lnTo>
                  <a:lnTo>
                    <a:pt x="160" y="639"/>
                  </a:lnTo>
                  <a:lnTo>
                    <a:pt x="149" y="664"/>
                  </a:lnTo>
                  <a:lnTo>
                    <a:pt x="142" y="691"/>
                  </a:lnTo>
                  <a:lnTo>
                    <a:pt x="135" y="708"/>
                  </a:lnTo>
                  <a:lnTo>
                    <a:pt x="127" y="728"/>
                  </a:lnTo>
                  <a:lnTo>
                    <a:pt x="122" y="747"/>
                  </a:lnTo>
                  <a:lnTo>
                    <a:pt x="122" y="758"/>
                  </a:lnTo>
                  <a:lnTo>
                    <a:pt x="120" y="767"/>
                  </a:lnTo>
                  <a:lnTo>
                    <a:pt x="122" y="775"/>
                  </a:lnTo>
                  <a:lnTo>
                    <a:pt x="122" y="780"/>
                  </a:lnTo>
                  <a:lnTo>
                    <a:pt x="124" y="787"/>
                  </a:lnTo>
                  <a:lnTo>
                    <a:pt x="131" y="796"/>
                  </a:lnTo>
                  <a:lnTo>
                    <a:pt x="135" y="800"/>
                  </a:lnTo>
                  <a:lnTo>
                    <a:pt x="140" y="802"/>
                  </a:lnTo>
                  <a:lnTo>
                    <a:pt x="146" y="804"/>
                  </a:lnTo>
                  <a:lnTo>
                    <a:pt x="151" y="804"/>
                  </a:lnTo>
                  <a:lnTo>
                    <a:pt x="158" y="804"/>
                  </a:lnTo>
                  <a:lnTo>
                    <a:pt x="164" y="802"/>
                  </a:lnTo>
                  <a:lnTo>
                    <a:pt x="169" y="798"/>
                  </a:lnTo>
                  <a:lnTo>
                    <a:pt x="175" y="795"/>
                  </a:lnTo>
                  <a:lnTo>
                    <a:pt x="184" y="789"/>
                  </a:lnTo>
                  <a:lnTo>
                    <a:pt x="191" y="784"/>
                  </a:lnTo>
                  <a:lnTo>
                    <a:pt x="195" y="782"/>
                  </a:lnTo>
                  <a:lnTo>
                    <a:pt x="198" y="782"/>
                  </a:lnTo>
                  <a:lnTo>
                    <a:pt x="204" y="782"/>
                  </a:lnTo>
                  <a:lnTo>
                    <a:pt x="207" y="787"/>
                  </a:lnTo>
                  <a:lnTo>
                    <a:pt x="213" y="795"/>
                  </a:lnTo>
                  <a:lnTo>
                    <a:pt x="215" y="800"/>
                  </a:lnTo>
                  <a:lnTo>
                    <a:pt x="216" y="806"/>
                  </a:lnTo>
                  <a:lnTo>
                    <a:pt x="220" y="818"/>
                  </a:lnTo>
                  <a:lnTo>
                    <a:pt x="224" y="831"/>
                  </a:lnTo>
                  <a:lnTo>
                    <a:pt x="227" y="860"/>
                  </a:lnTo>
                  <a:lnTo>
                    <a:pt x="229" y="875"/>
                  </a:lnTo>
                  <a:lnTo>
                    <a:pt x="233" y="889"/>
                  </a:lnTo>
                  <a:lnTo>
                    <a:pt x="238" y="902"/>
                  </a:lnTo>
                  <a:lnTo>
                    <a:pt x="244" y="911"/>
                  </a:lnTo>
                  <a:lnTo>
                    <a:pt x="249" y="916"/>
                  </a:lnTo>
                  <a:lnTo>
                    <a:pt x="251" y="922"/>
                  </a:lnTo>
                  <a:lnTo>
                    <a:pt x="253" y="925"/>
                  </a:lnTo>
                  <a:lnTo>
                    <a:pt x="253" y="929"/>
                  </a:lnTo>
                  <a:lnTo>
                    <a:pt x="253" y="936"/>
                  </a:lnTo>
                  <a:lnTo>
                    <a:pt x="251" y="942"/>
                  </a:lnTo>
                  <a:lnTo>
                    <a:pt x="247" y="949"/>
                  </a:lnTo>
                  <a:lnTo>
                    <a:pt x="247" y="956"/>
                  </a:lnTo>
                  <a:lnTo>
                    <a:pt x="247" y="958"/>
                  </a:lnTo>
                  <a:lnTo>
                    <a:pt x="247" y="962"/>
                  </a:lnTo>
                  <a:lnTo>
                    <a:pt x="251" y="967"/>
                  </a:lnTo>
                  <a:lnTo>
                    <a:pt x="255" y="974"/>
                  </a:lnTo>
                  <a:lnTo>
                    <a:pt x="262" y="982"/>
                  </a:lnTo>
                  <a:lnTo>
                    <a:pt x="269" y="987"/>
                  </a:lnTo>
                  <a:lnTo>
                    <a:pt x="276" y="991"/>
                  </a:lnTo>
                  <a:lnTo>
                    <a:pt x="282" y="992"/>
                  </a:lnTo>
                  <a:lnTo>
                    <a:pt x="287" y="996"/>
                  </a:lnTo>
                  <a:lnTo>
                    <a:pt x="289" y="998"/>
                  </a:lnTo>
                  <a:lnTo>
                    <a:pt x="291" y="1000"/>
                  </a:lnTo>
                  <a:lnTo>
                    <a:pt x="293" y="1002"/>
                  </a:lnTo>
                  <a:lnTo>
                    <a:pt x="294" y="1007"/>
                  </a:lnTo>
                  <a:lnTo>
                    <a:pt x="296" y="1012"/>
                  </a:lnTo>
                  <a:lnTo>
                    <a:pt x="298" y="1027"/>
                  </a:lnTo>
                  <a:lnTo>
                    <a:pt x="300" y="1049"/>
                  </a:lnTo>
                  <a:lnTo>
                    <a:pt x="300" y="1060"/>
                  </a:lnTo>
                  <a:lnTo>
                    <a:pt x="302" y="1067"/>
                  </a:lnTo>
                  <a:lnTo>
                    <a:pt x="303" y="1074"/>
                  </a:lnTo>
                  <a:lnTo>
                    <a:pt x="307" y="1078"/>
                  </a:lnTo>
                  <a:lnTo>
                    <a:pt x="309" y="1081"/>
                  </a:lnTo>
                  <a:lnTo>
                    <a:pt x="313" y="1083"/>
                  </a:lnTo>
                  <a:lnTo>
                    <a:pt x="318" y="1085"/>
                  </a:lnTo>
                  <a:lnTo>
                    <a:pt x="322" y="1085"/>
                  </a:lnTo>
                  <a:lnTo>
                    <a:pt x="333" y="1085"/>
                  </a:lnTo>
                  <a:lnTo>
                    <a:pt x="343" y="1081"/>
                  </a:lnTo>
                  <a:lnTo>
                    <a:pt x="351" y="1080"/>
                  </a:lnTo>
                  <a:lnTo>
                    <a:pt x="356" y="1078"/>
                  </a:lnTo>
                  <a:lnTo>
                    <a:pt x="369" y="1078"/>
                  </a:lnTo>
                  <a:lnTo>
                    <a:pt x="372" y="1078"/>
                  </a:lnTo>
                  <a:lnTo>
                    <a:pt x="401" y="1080"/>
                  </a:lnTo>
                  <a:lnTo>
                    <a:pt x="429" y="1080"/>
                  </a:lnTo>
                  <a:lnTo>
                    <a:pt x="445" y="1080"/>
                  </a:lnTo>
                  <a:lnTo>
                    <a:pt x="465" y="1078"/>
                  </a:lnTo>
                  <a:lnTo>
                    <a:pt x="467" y="1078"/>
                  </a:lnTo>
                  <a:lnTo>
                    <a:pt x="474" y="1080"/>
                  </a:lnTo>
                  <a:lnTo>
                    <a:pt x="481" y="1080"/>
                  </a:lnTo>
                  <a:lnTo>
                    <a:pt x="499" y="1085"/>
                  </a:lnTo>
                  <a:lnTo>
                    <a:pt x="518" y="1090"/>
                  </a:lnTo>
                  <a:lnTo>
                    <a:pt x="527" y="1092"/>
                  </a:lnTo>
                  <a:lnTo>
                    <a:pt x="534" y="1092"/>
                  </a:lnTo>
                  <a:lnTo>
                    <a:pt x="539" y="1092"/>
                  </a:lnTo>
                  <a:lnTo>
                    <a:pt x="545" y="1090"/>
                  </a:lnTo>
                  <a:lnTo>
                    <a:pt x="547" y="1089"/>
                  </a:lnTo>
                  <a:lnTo>
                    <a:pt x="548" y="1087"/>
                  </a:lnTo>
                  <a:lnTo>
                    <a:pt x="552" y="1081"/>
                  </a:lnTo>
                  <a:lnTo>
                    <a:pt x="554" y="1076"/>
                  </a:lnTo>
                  <a:lnTo>
                    <a:pt x="556" y="1069"/>
                  </a:lnTo>
                  <a:lnTo>
                    <a:pt x="556" y="1063"/>
                  </a:lnTo>
                  <a:lnTo>
                    <a:pt x="558" y="1060"/>
                  </a:lnTo>
                  <a:lnTo>
                    <a:pt x="561" y="1056"/>
                  </a:lnTo>
                  <a:lnTo>
                    <a:pt x="565" y="1054"/>
                  </a:lnTo>
                  <a:lnTo>
                    <a:pt x="567" y="1054"/>
                  </a:lnTo>
                  <a:lnTo>
                    <a:pt x="570" y="1056"/>
                  </a:lnTo>
                  <a:lnTo>
                    <a:pt x="574" y="1060"/>
                  </a:lnTo>
                  <a:lnTo>
                    <a:pt x="578" y="1063"/>
                  </a:lnTo>
                  <a:lnTo>
                    <a:pt x="585" y="1076"/>
                  </a:lnTo>
                  <a:lnTo>
                    <a:pt x="590" y="1089"/>
                  </a:lnTo>
                  <a:lnTo>
                    <a:pt x="596" y="1103"/>
                  </a:lnTo>
                  <a:lnTo>
                    <a:pt x="599" y="1112"/>
                  </a:lnTo>
                  <a:lnTo>
                    <a:pt x="601" y="1120"/>
                  </a:lnTo>
                  <a:lnTo>
                    <a:pt x="605" y="1123"/>
                  </a:lnTo>
                  <a:lnTo>
                    <a:pt x="608" y="1110"/>
                  </a:lnTo>
                  <a:lnTo>
                    <a:pt x="608" y="1101"/>
                  </a:lnTo>
                  <a:lnTo>
                    <a:pt x="627" y="1003"/>
                  </a:lnTo>
                  <a:lnTo>
                    <a:pt x="822" y="1032"/>
                  </a:lnTo>
                  <a:lnTo>
                    <a:pt x="999" y="1058"/>
                  </a:lnTo>
                  <a:lnTo>
                    <a:pt x="1167" y="1081"/>
                  </a:lnTo>
                  <a:lnTo>
                    <a:pt x="1207" y="1087"/>
                  </a:lnTo>
                  <a:lnTo>
                    <a:pt x="1249" y="1092"/>
                  </a:lnTo>
                  <a:lnTo>
                    <a:pt x="1338" y="1101"/>
                  </a:lnTo>
                  <a:lnTo>
                    <a:pt x="1516" y="1120"/>
                  </a:lnTo>
                  <a:lnTo>
                    <a:pt x="1657" y="1132"/>
                  </a:lnTo>
                  <a:lnTo>
                    <a:pt x="1713" y="1136"/>
                  </a:lnTo>
                  <a:lnTo>
                    <a:pt x="1719" y="1094"/>
                  </a:lnTo>
                  <a:lnTo>
                    <a:pt x="1726" y="1036"/>
                  </a:lnTo>
                  <a:lnTo>
                    <a:pt x="1733" y="976"/>
                  </a:lnTo>
                  <a:lnTo>
                    <a:pt x="1741" y="927"/>
                  </a:lnTo>
                  <a:lnTo>
                    <a:pt x="1748" y="831"/>
                  </a:lnTo>
                  <a:lnTo>
                    <a:pt x="1762" y="651"/>
                  </a:lnTo>
                  <a:lnTo>
                    <a:pt x="1792" y="277"/>
                  </a:lnTo>
                  <a:lnTo>
                    <a:pt x="1792" y="265"/>
                  </a:lnTo>
                  <a:lnTo>
                    <a:pt x="1723" y="258"/>
                  </a:lnTo>
                  <a:lnTo>
                    <a:pt x="1619" y="247"/>
                  </a:lnTo>
                  <a:lnTo>
                    <a:pt x="1494" y="230"/>
                  </a:lnTo>
                  <a:lnTo>
                    <a:pt x="1358" y="214"/>
                  </a:lnTo>
                  <a:lnTo>
                    <a:pt x="1098" y="181"/>
                  </a:lnTo>
                  <a:lnTo>
                    <a:pt x="997" y="167"/>
                  </a:lnTo>
                  <a:lnTo>
                    <a:pt x="931" y="158"/>
                  </a:lnTo>
                  <a:lnTo>
                    <a:pt x="786" y="136"/>
                  </a:lnTo>
                  <a:lnTo>
                    <a:pt x="637" y="111"/>
                  </a:lnTo>
                  <a:lnTo>
                    <a:pt x="492" y="85"/>
                  </a:lnTo>
                  <a:lnTo>
                    <a:pt x="358" y="62"/>
                  </a:lnTo>
                  <a:lnTo>
                    <a:pt x="240" y="38"/>
                  </a:lnTo>
                  <a:lnTo>
                    <a:pt x="146" y="20"/>
                  </a:lnTo>
                  <a:lnTo>
                    <a:pt x="78" y="7"/>
                  </a:lnTo>
                  <a:lnTo>
                    <a:pt x="46" y="0"/>
                  </a:lnTo>
                  <a:close/>
                </a:path>
              </a:pathLst>
            </a:custGeom>
            <a:solidFill>
              <a:srgbClr val="FFE600"/>
            </a:solidFill>
            <a:ln w="6350" cap="flat" cmpd="sng" algn="ctr">
              <a:solidFill>
                <a:srgbClr val="2E2E38"/>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FFD200"/>
                </a:solidFill>
                <a:effectLst/>
                <a:uLnTx/>
                <a:uFillTx/>
                <a:cs typeface="Times New Roman" panose="02020603050405020304" pitchFamily="18" charset="0"/>
              </a:endParaRPr>
            </a:p>
          </p:txBody>
        </p:sp>
        <p:sp>
          <p:nvSpPr>
            <p:cNvPr id="8" name="Freeform 8">
              <a:extLst>
                <a:ext uri="{FF2B5EF4-FFF2-40B4-BE49-F238E27FC236}">
                  <a16:creationId xmlns:a16="http://schemas.microsoft.com/office/drawing/2014/main" id="{C149B598-D956-B600-B638-B371611487D1}"/>
                </a:ext>
              </a:extLst>
            </p:cNvPr>
            <p:cNvSpPr>
              <a:spLocks/>
            </p:cNvSpPr>
            <p:nvPr/>
          </p:nvSpPr>
          <p:spPr bwMode="auto">
            <a:xfrm>
              <a:off x="6590083" y="4395065"/>
              <a:ext cx="146526" cy="80249"/>
            </a:xfrm>
            <a:custGeom>
              <a:avLst/>
              <a:gdLst/>
              <a:ahLst/>
              <a:cxnLst>
                <a:cxn ang="0">
                  <a:pos x="229" y="54"/>
                </a:cxn>
                <a:cxn ang="0">
                  <a:pos x="240" y="45"/>
                </a:cxn>
                <a:cxn ang="0">
                  <a:pos x="256" y="29"/>
                </a:cxn>
                <a:cxn ang="0">
                  <a:pos x="271" y="18"/>
                </a:cxn>
                <a:cxn ang="0">
                  <a:pos x="289" y="12"/>
                </a:cxn>
                <a:cxn ang="0">
                  <a:pos x="298" y="11"/>
                </a:cxn>
                <a:cxn ang="0">
                  <a:pos x="312" y="3"/>
                </a:cxn>
                <a:cxn ang="0">
                  <a:pos x="320" y="0"/>
                </a:cxn>
                <a:cxn ang="0">
                  <a:pos x="316" y="11"/>
                </a:cxn>
                <a:cxn ang="0">
                  <a:pos x="309" y="23"/>
                </a:cxn>
                <a:cxn ang="0">
                  <a:pos x="287" y="41"/>
                </a:cxn>
                <a:cxn ang="0">
                  <a:pos x="263" y="56"/>
                </a:cxn>
                <a:cxn ang="0">
                  <a:pos x="252" y="61"/>
                </a:cxn>
                <a:cxn ang="0">
                  <a:pos x="243" y="67"/>
                </a:cxn>
                <a:cxn ang="0">
                  <a:pos x="240" y="72"/>
                </a:cxn>
                <a:cxn ang="0">
                  <a:pos x="229" y="81"/>
                </a:cxn>
                <a:cxn ang="0">
                  <a:pos x="209" y="90"/>
                </a:cxn>
                <a:cxn ang="0">
                  <a:pos x="191" y="99"/>
                </a:cxn>
                <a:cxn ang="0">
                  <a:pos x="180" y="107"/>
                </a:cxn>
                <a:cxn ang="0">
                  <a:pos x="173" y="109"/>
                </a:cxn>
                <a:cxn ang="0">
                  <a:pos x="158" y="119"/>
                </a:cxn>
                <a:cxn ang="0">
                  <a:pos x="145" y="129"/>
                </a:cxn>
                <a:cxn ang="0">
                  <a:pos x="115" y="143"/>
                </a:cxn>
                <a:cxn ang="0">
                  <a:pos x="86" y="156"/>
                </a:cxn>
                <a:cxn ang="0">
                  <a:pos x="71" y="161"/>
                </a:cxn>
                <a:cxn ang="0">
                  <a:pos x="58" y="165"/>
                </a:cxn>
                <a:cxn ang="0">
                  <a:pos x="47" y="172"/>
                </a:cxn>
                <a:cxn ang="0">
                  <a:pos x="44" y="172"/>
                </a:cxn>
                <a:cxn ang="0">
                  <a:pos x="44" y="167"/>
                </a:cxn>
                <a:cxn ang="0">
                  <a:pos x="40" y="163"/>
                </a:cxn>
                <a:cxn ang="0">
                  <a:pos x="35" y="165"/>
                </a:cxn>
                <a:cxn ang="0">
                  <a:pos x="27" y="172"/>
                </a:cxn>
                <a:cxn ang="0">
                  <a:pos x="17" y="178"/>
                </a:cxn>
                <a:cxn ang="0">
                  <a:pos x="7" y="178"/>
                </a:cxn>
                <a:cxn ang="0">
                  <a:pos x="2" y="170"/>
                </a:cxn>
                <a:cxn ang="0">
                  <a:pos x="2" y="158"/>
                </a:cxn>
                <a:cxn ang="0">
                  <a:pos x="4" y="152"/>
                </a:cxn>
                <a:cxn ang="0">
                  <a:pos x="9" y="147"/>
                </a:cxn>
                <a:cxn ang="0">
                  <a:pos x="31" y="129"/>
                </a:cxn>
                <a:cxn ang="0">
                  <a:pos x="46" y="119"/>
                </a:cxn>
                <a:cxn ang="0">
                  <a:pos x="51" y="109"/>
                </a:cxn>
                <a:cxn ang="0">
                  <a:pos x="55" y="99"/>
                </a:cxn>
                <a:cxn ang="0">
                  <a:pos x="58" y="96"/>
                </a:cxn>
                <a:cxn ang="0">
                  <a:pos x="62" y="94"/>
                </a:cxn>
                <a:cxn ang="0">
                  <a:pos x="69" y="98"/>
                </a:cxn>
                <a:cxn ang="0">
                  <a:pos x="75" y="99"/>
                </a:cxn>
                <a:cxn ang="0">
                  <a:pos x="80" y="98"/>
                </a:cxn>
                <a:cxn ang="0">
                  <a:pos x="86" y="90"/>
                </a:cxn>
                <a:cxn ang="0">
                  <a:pos x="95" y="85"/>
                </a:cxn>
                <a:cxn ang="0">
                  <a:pos x="102" y="85"/>
                </a:cxn>
                <a:cxn ang="0">
                  <a:pos x="109" y="85"/>
                </a:cxn>
                <a:cxn ang="0">
                  <a:pos x="127" y="74"/>
                </a:cxn>
                <a:cxn ang="0">
                  <a:pos x="140" y="65"/>
                </a:cxn>
                <a:cxn ang="0">
                  <a:pos x="165" y="58"/>
                </a:cxn>
                <a:cxn ang="0">
                  <a:pos x="200" y="41"/>
                </a:cxn>
                <a:cxn ang="0">
                  <a:pos x="231" y="20"/>
                </a:cxn>
                <a:cxn ang="0">
                  <a:pos x="242" y="14"/>
                </a:cxn>
                <a:cxn ang="0">
                  <a:pos x="242" y="18"/>
                </a:cxn>
                <a:cxn ang="0">
                  <a:pos x="231" y="36"/>
                </a:cxn>
                <a:cxn ang="0">
                  <a:pos x="220" y="54"/>
                </a:cxn>
              </a:cxnLst>
              <a:rect l="0" t="0" r="r" b="b"/>
              <a:pathLst>
                <a:path w="320" h="179">
                  <a:moveTo>
                    <a:pt x="223" y="56"/>
                  </a:moveTo>
                  <a:lnTo>
                    <a:pt x="229" y="54"/>
                  </a:lnTo>
                  <a:lnTo>
                    <a:pt x="234" y="50"/>
                  </a:lnTo>
                  <a:lnTo>
                    <a:pt x="240" y="45"/>
                  </a:lnTo>
                  <a:lnTo>
                    <a:pt x="245" y="40"/>
                  </a:lnTo>
                  <a:lnTo>
                    <a:pt x="256" y="29"/>
                  </a:lnTo>
                  <a:lnTo>
                    <a:pt x="263" y="20"/>
                  </a:lnTo>
                  <a:lnTo>
                    <a:pt x="271" y="18"/>
                  </a:lnTo>
                  <a:lnTo>
                    <a:pt x="276" y="14"/>
                  </a:lnTo>
                  <a:lnTo>
                    <a:pt x="289" y="12"/>
                  </a:lnTo>
                  <a:lnTo>
                    <a:pt x="294" y="11"/>
                  </a:lnTo>
                  <a:lnTo>
                    <a:pt x="298" y="11"/>
                  </a:lnTo>
                  <a:lnTo>
                    <a:pt x="305" y="7"/>
                  </a:lnTo>
                  <a:lnTo>
                    <a:pt x="312" y="3"/>
                  </a:lnTo>
                  <a:lnTo>
                    <a:pt x="316" y="0"/>
                  </a:lnTo>
                  <a:lnTo>
                    <a:pt x="320" y="0"/>
                  </a:lnTo>
                  <a:lnTo>
                    <a:pt x="320" y="5"/>
                  </a:lnTo>
                  <a:lnTo>
                    <a:pt x="316" y="11"/>
                  </a:lnTo>
                  <a:lnTo>
                    <a:pt x="312" y="18"/>
                  </a:lnTo>
                  <a:lnTo>
                    <a:pt x="309" y="23"/>
                  </a:lnTo>
                  <a:lnTo>
                    <a:pt x="298" y="34"/>
                  </a:lnTo>
                  <a:lnTo>
                    <a:pt x="287" y="41"/>
                  </a:lnTo>
                  <a:lnTo>
                    <a:pt x="276" y="49"/>
                  </a:lnTo>
                  <a:lnTo>
                    <a:pt x="263" y="56"/>
                  </a:lnTo>
                  <a:lnTo>
                    <a:pt x="258" y="60"/>
                  </a:lnTo>
                  <a:lnTo>
                    <a:pt x="252" y="61"/>
                  </a:lnTo>
                  <a:lnTo>
                    <a:pt x="247" y="63"/>
                  </a:lnTo>
                  <a:lnTo>
                    <a:pt x="243" y="67"/>
                  </a:lnTo>
                  <a:lnTo>
                    <a:pt x="242" y="70"/>
                  </a:lnTo>
                  <a:lnTo>
                    <a:pt x="240" y="72"/>
                  </a:lnTo>
                  <a:lnTo>
                    <a:pt x="236" y="78"/>
                  </a:lnTo>
                  <a:lnTo>
                    <a:pt x="229" y="81"/>
                  </a:lnTo>
                  <a:lnTo>
                    <a:pt x="223" y="85"/>
                  </a:lnTo>
                  <a:lnTo>
                    <a:pt x="209" y="90"/>
                  </a:lnTo>
                  <a:lnTo>
                    <a:pt x="196" y="94"/>
                  </a:lnTo>
                  <a:lnTo>
                    <a:pt x="191" y="99"/>
                  </a:lnTo>
                  <a:lnTo>
                    <a:pt x="184" y="105"/>
                  </a:lnTo>
                  <a:lnTo>
                    <a:pt x="180" y="107"/>
                  </a:lnTo>
                  <a:lnTo>
                    <a:pt x="176" y="109"/>
                  </a:lnTo>
                  <a:lnTo>
                    <a:pt x="173" y="109"/>
                  </a:lnTo>
                  <a:lnTo>
                    <a:pt x="169" y="110"/>
                  </a:lnTo>
                  <a:lnTo>
                    <a:pt x="158" y="119"/>
                  </a:lnTo>
                  <a:lnTo>
                    <a:pt x="153" y="125"/>
                  </a:lnTo>
                  <a:lnTo>
                    <a:pt x="145" y="129"/>
                  </a:lnTo>
                  <a:lnTo>
                    <a:pt x="131" y="136"/>
                  </a:lnTo>
                  <a:lnTo>
                    <a:pt x="115" y="143"/>
                  </a:lnTo>
                  <a:lnTo>
                    <a:pt x="100" y="148"/>
                  </a:lnTo>
                  <a:lnTo>
                    <a:pt x="86" y="156"/>
                  </a:lnTo>
                  <a:lnTo>
                    <a:pt x="78" y="159"/>
                  </a:lnTo>
                  <a:lnTo>
                    <a:pt x="71" y="161"/>
                  </a:lnTo>
                  <a:lnTo>
                    <a:pt x="64" y="163"/>
                  </a:lnTo>
                  <a:lnTo>
                    <a:pt x="58" y="165"/>
                  </a:lnTo>
                  <a:lnTo>
                    <a:pt x="51" y="168"/>
                  </a:lnTo>
                  <a:lnTo>
                    <a:pt x="47" y="172"/>
                  </a:lnTo>
                  <a:lnTo>
                    <a:pt x="46" y="172"/>
                  </a:lnTo>
                  <a:lnTo>
                    <a:pt x="44" y="172"/>
                  </a:lnTo>
                  <a:lnTo>
                    <a:pt x="42" y="168"/>
                  </a:lnTo>
                  <a:lnTo>
                    <a:pt x="44" y="167"/>
                  </a:lnTo>
                  <a:lnTo>
                    <a:pt x="44" y="163"/>
                  </a:lnTo>
                  <a:lnTo>
                    <a:pt x="40" y="163"/>
                  </a:lnTo>
                  <a:lnTo>
                    <a:pt x="37" y="163"/>
                  </a:lnTo>
                  <a:lnTo>
                    <a:pt x="35" y="165"/>
                  </a:lnTo>
                  <a:lnTo>
                    <a:pt x="33" y="167"/>
                  </a:lnTo>
                  <a:lnTo>
                    <a:pt x="27" y="172"/>
                  </a:lnTo>
                  <a:lnTo>
                    <a:pt x="20" y="178"/>
                  </a:lnTo>
                  <a:lnTo>
                    <a:pt x="17" y="178"/>
                  </a:lnTo>
                  <a:lnTo>
                    <a:pt x="13" y="179"/>
                  </a:lnTo>
                  <a:lnTo>
                    <a:pt x="7" y="178"/>
                  </a:lnTo>
                  <a:lnTo>
                    <a:pt x="4" y="176"/>
                  </a:lnTo>
                  <a:lnTo>
                    <a:pt x="2" y="170"/>
                  </a:lnTo>
                  <a:lnTo>
                    <a:pt x="0" y="163"/>
                  </a:lnTo>
                  <a:lnTo>
                    <a:pt x="2" y="158"/>
                  </a:lnTo>
                  <a:lnTo>
                    <a:pt x="4" y="154"/>
                  </a:lnTo>
                  <a:lnTo>
                    <a:pt x="4" y="152"/>
                  </a:lnTo>
                  <a:lnTo>
                    <a:pt x="6" y="150"/>
                  </a:lnTo>
                  <a:lnTo>
                    <a:pt x="9" y="147"/>
                  </a:lnTo>
                  <a:lnTo>
                    <a:pt x="24" y="136"/>
                  </a:lnTo>
                  <a:lnTo>
                    <a:pt x="31" y="129"/>
                  </a:lnTo>
                  <a:lnTo>
                    <a:pt x="38" y="123"/>
                  </a:lnTo>
                  <a:lnTo>
                    <a:pt x="46" y="119"/>
                  </a:lnTo>
                  <a:lnTo>
                    <a:pt x="49" y="112"/>
                  </a:lnTo>
                  <a:lnTo>
                    <a:pt x="51" y="109"/>
                  </a:lnTo>
                  <a:lnTo>
                    <a:pt x="53" y="103"/>
                  </a:lnTo>
                  <a:lnTo>
                    <a:pt x="55" y="99"/>
                  </a:lnTo>
                  <a:lnTo>
                    <a:pt x="56" y="98"/>
                  </a:lnTo>
                  <a:lnTo>
                    <a:pt x="58" y="96"/>
                  </a:lnTo>
                  <a:lnTo>
                    <a:pt x="60" y="94"/>
                  </a:lnTo>
                  <a:lnTo>
                    <a:pt x="62" y="94"/>
                  </a:lnTo>
                  <a:lnTo>
                    <a:pt x="66" y="96"/>
                  </a:lnTo>
                  <a:lnTo>
                    <a:pt x="69" y="98"/>
                  </a:lnTo>
                  <a:lnTo>
                    <a:pt x="73" y="99"/>
                  </a:lnTo>
                  <a:lnTo>
                    <a:pt x="75" y="99"/>
                  </a:lnTo>
                  <a:lnTo>
                    <a:pt x="76" y="99"/>
                  </a:lnTo>
                  <a:lnTo>
                    <a:pt x="80" y="98"/>
                  </a:lnTo>
                  <a:lnTo>
                    <a:pt x="82" y="94"/>
                  </a:lnTo>
                  <a:lnTo>
                    <a:pt x="86" y="90"/>
                  </a:lnTo>
                  <a:lnTo>
                    <a:pt x="89" y="87"/>
                  </a:lnTo>
                  <a:lnTo>
                    <a:pt x="95" y="85"/>
                  </a:lnTo>
                  <a:lnTo>
                    <a:pt x="100" y="85"/>
                  </a:lnTo>
                  <a:lnTo>
                    <a:pt x="102" y="85"/>
                  </a:lnTo>
                  <a:lnTo>
                    <a:pt x="105" y="85"/>
                  </a:lnTo>
                  <a:lnTo>
                    <a:pt x="109" y="85"/>
                  </a:lnTo>
                  <a:lnTo>
                    <a:pt x="118" y="81"/>
                  </a:lnTo>
                  <a:lnTo>
                    <a:pt x="127" y="74"/>
                  </a:lnTo>
                  <a:lnTo>
                    <a:pt x="136" y="69"/>
                  </a:lnTo>
                  <a:lnTo>
                    <a:pt x="140" y="65"/>
                  </a:lnTo>
                  <a:lnTo>
                    <a:pt x="145" y="63"/>
                  </a:lnTo>
                  <a:lnTo>
                    <a:pt x="165" y="58"/>
                  </a:lnTo>
                  <a:lnTo>
                    <a:pt x="184" y="50"/>
                  </a:lnTo>
                  <a:lnTo>
                    <a:pt x="200" y="41"/>
                  </a:lnTo>
                  <a:lnTo>
                    <a:pt x="220" y="29"/>
                  </a:lnTo>
                  <a:lnTo>
                    <a:pt x="231" y="20"/>
                  </a:lnTo>
                  <a:lnTo>
                    <a:pt x="236" y="16"/>
                  </a:lnTo>
                  <a:lnTo>
                    <a:pt x="242" y="14"/>
                  </a:lnTo>
                  <a:lnTo>
                    <a:pt x="242" y="16"/>
                  </a:lnTo>
                  <a:lnTo>
                    <a:pt x="242" y="18"/>
                  </a:lnTo>
                  <a:lnTo>
                    <a:pt x="236" y="27"/>
                  </a:lnTo>
                  <a:lnTo>
                    <a:pt x="231" y="36"/>
                  </a:lnTo>
                  <a:lnTo>
                    <a:pt x="216" y="52"/>
                  </a:lnTo>
                  <a:lnTo>
                    <a:pt x="220" y="54"/>
                  </a:lnTo>
                  <a:lnTo>
                    <a:pt x="223" y="56"/>
                  </a:lnTo>
                  <a:close/>
                </a:path>
              </a:pathLst>
            </a:custGeom>
            <a:solidFill>
              <a:srgbClr val="2E2E38"/>
            </a:solidFill>
            <a:ln w="3175" cap="flat" cmpd="sng" algn="ctr">
              <a:solidFill>
                <a:srgbClr val="747480"/>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646464"/>
                </a:solidFill>
                <a:effectLst/>
                <a:uLnTx/>
                <a:uFillTx/>
                <a:cs typeface="Times New Roman" panose="02020603050405020304" pitchFamily="18" charset="0"/>
              </a:endParaRPr>
            </a:p>
          </p:txBody>
        </p:sp>
        <p:sp>
          <p:nvSpPr>
            <p:cNvPr id="9" name="Line 12">
              <a:extLst>
                <a:ext uri="{FF2B5EF4-FFF2-40B4-BE49-F238E27FC236}">
                  <a16:creationId xmlns:a16="http://schemas.microsoft.com/office/drawing/2014/main" id="{370E1E9A-794F-BBD1-495A-55FE058CB74F}"/>
                </a:ext>
              </a:extLst>
            </p:cNvPr>
            <p:cNvSpPr>
              <a:spLocks noChangeShapeType="1"/>
            </p:cNvSpPr>
            <p:nvPr/>
          </p:nvSpPr>
          <p:spPr bwMode="auto">
            <a:xfrm>
              <a:off x="5356526" y="4497608"/>
              <a:ext cx="915" cy="894"/>
            </a:xfrm>
            <a:prstGeom prst="line">
              <a:avLst/>
            </a:prstGeom>
            <a:noFill/>
            <a:ln w="3175">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646464"/>
                </a:solidFill>
                <a:effectLst/>
                <a:uLnTx/>
                <a:uFillTx/>
                <a:cs typeface="Times New Roman" panose="02020603050405020304" pitchFamily="18" charset="0"/>
              </a:endParaRPr>
            </a:p>
          </p:txBody>
        </p:sp>
        <p:sp>
          <p:nvSpPr>
            <p:cNvPr id="10" name="Freeform 13">
              <a:extLst>
                <a:ext uri="{FF2B5EF4-FFF2-40B4-BE49-F238E27FC236}">
                  <a16:creationId xmlns:a16="http://schemas.microsoft.com/office/drawing/2014/main" id="{E4623440-36B9-7744-32B9-5097ED0DDA48}"/>
                </a:ext>
              </a:extLst>
            </p:cNvPr>
            <p:cNvSpPr>
              <a:spLocks/>
            </p:cNvSpPr>
            <p:nvPr/>
          </p:nvSpPr>
          <p:spPr bwMode="auto">
            <a:xfrm>
              <a:off x="4952666" y="4651864"/>
              <a:ext cx="529323" cy="453856"/>
            </a:xfrm>
            <a:custGeom>
              <a:avLst/>
              <a:gdLst/>
              <a:ahLst/>
              <a:cxnLst>
                <a:cxn ang="0">
                  <a:pos x="430" y="14"/>
                </a:cxn>
                <a:cxn ang="0">
                  <a:pos x="5" y="20"/>
                </a:cxn>
                <a:cxn ang="0">
                  <a:pos x="7" y="63"/>
                </a:cxn>
                <a:cxn ang="0">
                  <a:pos x="39" y="101"/>
                </a:cxn>
                <a:cxn ang="0">
                  <a:pos x="56" y="136"/>
                </a:cxn>
                <a:cxn ang="0">
                  <a:pos x="98" y="174"/>
                </a:cxn>
                <a:cxn ang="0">
                  <a:pos x="132" y="196"/>
                </a:cxn>
                <a:cxn ang="0">
                  <a:pos x="127" y="218"/>
                </a:cxn>
                <a:cxn ang="0">
                  <a:pos x="107" y="239"/>
                </a:cxn>
                <a:cxn ang="0">
                  <a:pos x="112" y="263"/>
                </a:cxn>
                <a:cxn ang="0">
                  <a:pos x="148" y="319"/>
                </a:cxn>
                <a:cxn ang="0">
                  <a:pos x="176" y="346"/>
                </a:cxn>
                <a:cxn ang="0">
                  <a:pos x="196" y="929"/>
                </a:cxn>
                <a:cxn ang="0">
                  <a:pos x="979" y="904"/>
                </a:cxn>
                <a:cxn ang="0">
                  <a:pos x="990" y="929"/>
                </a:cxn>
                <a:cxn ang="0">
                  <a:pos x="987" y="951"/>
                </a:cxn>
                <a:cxn ang="0">
                  <a:pos x="972" y="974"/>
                </a:cxn>
                <a:cxn ang="0">
                  <a:pos x="958" y="987"/>
                </a:cxn>
                <a:cxn ang="0">
                  <a:pos x="961" y="1016"/>
                </a:cxn>
                <a:cxn ang="0">
                  <a:pos x="1061" y="1009"/>
                </a:cxn>
                <a:cxn ang="0">
                  <a:pos x="1074" y="976"/>
                </a:cxn>
                <a:cxn ang="0">
                  <a:pos x="1087" y="965"/>
                </a:cxn>
                <a:cxn ang="0">
                  <a:pos x="1081" y="945"/>
                </a:cxn>
                <a:cxn ang="0">
                  <a:pos x="1110" y="893"/>
                </a:cxn>
                <a:cxn ang="0">
                  <a:pos x="1117" y="858"/>
                </a:cxn>
                <a:cxn ang="0">
                  <a:pos x="1132" y="858"/>
                </a:cxn>
                <a:cxn ang="0">
                  <a:pos x="1146" y="856"/>
                </a:cxn>
                <a:cxn ang="0">
                  <a:pos x="1146" y="827"/>
                </a:cxn>
                <a:cxn ang="0">
                  <a:pos x="1155" y="806"/>
                </a:cxn>
                <a:cxn ang="0">
                  <a:pos x="1145" y="775"/>
                </a:cxn>
                <a:cxn ang="0">
                  <a:pos x="1116" y="771"/>
                </a:cxn>
                <a:cxn ang="0">
                  <a:pos x="1092" y="744"/>
                </a:cxn>
                <a:cxn ang="0">
                  <a:pos x="1085" y="704"/>
                </a:cxn>
                <a:cxn ang="0">
                  <a:pos x="1092" y="684"/>
                </a:cxn>
                <a:cxn ang="0">
                  <a:pos x="1050" y="611"/>
                </a:cxn>
                <a:cxn ang="0">
                  <a:pos x="1014" y="584"/>
                </a:cxn>
                <a:cxn ang="0">
                  <a:pos x="965" y="553"/>
                </a:cxn>
                <a:cxn ang="0">
                  <a:pos x="934" y="517"/>
                </a:cxn>
                <a:cxn ang="0">
                  <a:pos x="938" y="444"/>
                </a:cxn>
                <a:cxn ang="0">
                  <a:pos x="947" y="390"/>
                </a:cxn>
                <a:cxn ang="0">
                  <a:pos x="925" y="355"/>
                </a:cxn>
                <a:cxn ang="0">
                  <a:pos x="896" y="354"/>
                </a:cxn>
                <a:cxn ang="0">
                  <a:pos x="872" y="375"/>
                </a:cxn>
                <a:cxn ang="0">
                  <a:pos x="856" y="350"/>
                </a:cxn>
                <a:cxn ang="0">
                  <a:pos x="836" y="283"/>
                </a:cxn>
                <a:cxn ang="0">
                  <a:pos x="785" y="248"/>
                </a:cxn>
                <a:cxn ang="0">
                  <a:pos x="742" y="208"/>
                </a:cxn>
                <a:cxn ang="0">
                  <a:pos x="715" y="145"/>
                </a:cxn>
                <a:cxn ang="0">
                  <a:pos x="705" y="74"/>
                </a:cxn>
                <a:cxn ang="0">
                  <a:pos x="702" y="38"/>
                </a:cxn>
                <a:cxn ang="0">
                  <a:pos x="660" y="3"/>
                </a:cxn>
              </a:cxnLst>
              <a:rect l="0" t="0" r="r" b="b"/>
              <a:pathLst>
                <a:path w="1155" h="1016">
                  <a:moveTo>
                    <a:pt x="644" y="0"/>
                  </a:moveTo>
                  <a:lnTo>
                    <a:pt x="631" y="2"/>
                  </a:lnTo>
                  <a:lnTo>
                    <a:pt x="617" y="2"/>
                  </a:lnTo>
                  <a:lnTo>
                    <a:pt x="504" y="11"/>
                  </a:lnTo>
                  <a:lnTo>
                    <a:pt x="430" y="14"/>
                  </a:lnTo>
                  <a:lnTo>
                    <a:pt x="377" y="16"/>
                  </a:lnTo>
                  <a:lnTo>
                    <a:pt x="290" y="18"/>
                  </a:lnTo>
                  <a:lnTo>
                    <a:pt x="199" y="18"/>
                  </a:lnTo>
                  <a:lnTo>
                    <a:pt x="0" y="18"/>
                  </a:lnTo>
                  <a:lnTo>
                    <a:pt x="5" y="20"/>
                  </a:lnTo>
                  <a:lnTo>
                    <a:pt x="3" y="29"/>
                  </a:lnTo>
                  <a:lnTo>
                    <a:pt x="1" y="38"/>
                  </a:lnTo>
                  <a:lnTo>
                    <a:pt x="3" y="47"/>
                  </a:lnTo>
                  <a:lnTo>
                    <a:pt x="5" y="54"/>
                  </a:lnTo>
                  <a:lnTo>
                    <a:pt x="7" y="63"/>
                  </a:lnTo>
                  <a:lnTo>
                    <a:pt x="10" y="71"/>
                  </a:lnTo>
                  <a:lnTo>
                    <a:pt x="14" y="78"/>
                  </a:lnTo>
                  <a:lnTo>
                    <a:pt x="18" y="83"/>
                  </a:lnTo>
                  <a:lnTo>
                    <a:pt x="29" y="92"/>
                  </a:lnTo>
                  <a:lnTo>
                    <a:pt x="39" y="101"/>
                  </a:lnTo>
                  <a:lnTo>
                    <a:pt x="43" y="107"/>
                  </a:lnTo>
                  <a:lnTo>
                    <a:pt x="49" y="112"/>
                  </a:lnTo>
                  <a:lnTo>
                    <a:pt x="52" y="123"/>
                  </a:lnTo>
                  <a:lnTo>
                    <a:pt x="54" y="132"/>
                  </a:lnTo>
                  <a:lnTo>
                    <a:pt x="56" y="136"/>
                  </a:lnTo>
                  <a:lnTo>
                    <a:pt x="56" y="139"/>
                  </a:lnTo>
                  <a:lnTo>
                    <a:pt x="63" y="150"/>
                  </a:lnTo>
                  <a:lnTo>
                    <a:pt x="74" y="159"/>
                  </a:lnTo>
                  <a:lnTo>
                    <a:pt x="85" y="169"/>
                  </a:lnTo>
                  <a:lnTo>
                    <a:pt x="98" y="174"/>
                  </a:lnTo>
                  <a:lnTo>
                    <a:pt x="110" y="181"/>
                  </a:lnTo>
                  <a:lnTo>
                    <a:pt x="119" y="187"/>
                  </a:lnTo>
                  <a:lnTo>
                    <a:pt x="127" y="190"/>
                  </a:lnTo>
                  <a:lnTo>
                    <a:pt x="130" y="194"/>
                  </a:lnTo>
                  <a:lnTo>
                    <a:pt x="132" y="196"/>
                  </a:lnTo>
                  <a:lnTo>
                    <a:pt x="132" y="199"/>
                  </a:lnTo>
                  <a:lnTo>
                    <a:pt x="134" y="201"/>
                  </a:lnTo>
                  <a:lnTo>
                    <a:pt x="132" y="208"/>
                  </a:lnTo>
                  <a:lnTo>
                    <a:pt x="130" y="212"/>
                  </a:lnTo>
                  <a:lnTo>
                    <a:pt x="127" y="218"/>
                  </a:lnTo>
                  <a:lnTo>
                    <a:pt x="123" y="223"/>
                  </a:lnTo>
                  <a:lnTo>
                    <a:pt x="119" y="227"/>
                  </a:lnTo>
                  <a:lnTo>
                    <a:pt x="112" y="234"/>
                  </a:lnTo>
                  <a:lnTo>
                    <a:pt x="108" y="236"/>
                  </a:lnTo>
                  <a:lnTo>
                    <a:pt x="107" y="239"/>
                  </a:lnTo>
                  <a:lnTo>
                    <a:pt x="105" y="241"/>
                  </a:lnTo>
                  <a:lnTo>
                    <a:pt x="105" y="245"/>
                  </a:lnTo>
                  <a:lnTo>
                    <a:pt x="105" y="248"/>
                  </a:lnTo>
                  <a:lnTo>
                    <a:pt x="107" y="252"/>
                  </a:lnTo>
                  <a:lnTo>
                    <a:pt x="112" y="263"/>
                  </a:lnTo>
                  <a:lnTo>
                    <a:pt x="125" y="288"/>
                  </a:lnTo>
                  <a:lnTo>
                    <a:pt x="132" y="301"/>
                  </a:lnTo>
                  <a:lnTo>
                    <a:pt x="137" y="308"/>
                  </a:lnTo>
                  <a:lnTo>
                    <a:pt x="143" y="314"/>
                  </a:lnTo>
                  <a:lnTo>
                    <a:pt x="148" y="319"/>
                  </a:lnTo>
                  <a:lnTo>
                    <a:pt x="154" y="325"/>
                  </a:lnTo>
                  <a:lnTo>
                    <a:pt x="159" y="330"/>
                  </a:lnTo>
                  <a:lnTo>
                    <a:pt x="165" y="337"/>
                  </a:lnTo>
                  <a:lnTo>
                    <a:pt x="170" y="343"/>
                  </a:lnTo>
                  <a:lnTo>
                    <a:pt x="176" y="346"/>
                  </a:lnTo>
                  <a:lnTo>
                    <a:pt x="183" y="350"/>
                  </a:lnTo>
                  <a:lnTo>
                    <a:pt x="188" y="354"/>
                  </a:lnTo>
                  <a:lnTo>
                    <a:pt x="194" y="816"/>
                  </a:lnTo>
                  <a:lnTo>
                    <a:pt x="196" y="916"/>
                  </a:lnTo>
                  <a:lnTo>
                    <a:pt x="196" y="929"/>
                  </a:lnTo>
                  <a:lnTo>
                    <a:pt x="210" y="929"/>
                  </a:lnTo>
                  <a:lnTo>
                    <a:pt x="618" y="920"/>
                  </a:lnTo>
                  <a:lnTo>
                    <a:pt x="711" y="916"/>
                  </a:lnTo>
                  <a:lnTo>
                    <a:pt x="831" y="911"/>
                  </a:lnTo>
                  <a:lnTo>
                    <a:pt x="979" y="904"/>
                  </a:lnTo>
                  <a:lnTo>
                    <a:pt x="979" y="905"/>
                  </a:lnTo>
                  <a:lnTo>
                    <a:pt x="979" y="911"/>
                  </a:lnTo>
                  <a:lnTo>
                    <a:pt x="981" y="914"/>
                  </a:lnTo>
                  <a:lnTo>
                    <a:pt x="987" y="922"/>
                  </a:lnTo>
                  <a:lnTo>
                    <a:pt x="990" y="929"/>
                  </a:lnTo>
                  <a:lnTo>
                    <a:pt x="994" y="936"/>
                  </a:lnTo>
                  <a:lnTo>
                    <a:pt x="994" y="940"/>
                  </a:lnTo>
                  <a:lnTo>
                    <a:pt x="994" y="943"/>
                  </a:lnTo>
                  <a:lnTo>
                    <a:pt x="992" y="947"/>
                  </a:lnTo>
                  <a:lnTo>
                    <a:pt x="987" y="951"/>
                  </a:lnTo>
                  <a:lnTo>
                    <a:pt x="981" y="954"/>
                  </a:lnTo>
                  <a:lnTo>
                    <a:pt x="978" y="958"/>
                  </a:lnTo>
                  <a:lnTo>
                    <a:pt x="974" y="962"/>
                  </a:lnTo>
                  <a:lnTo>
                    <a:pt x="972" y="969"/>
                  </a:lnTo>
                  <a:lnTo>
                    <a:pt x="972" y="974"/>
                  </a:lnTo>
                  <a:lnTo>
                    <a:pt x="972" y="978"/>
                  </a:lnTo>
                  <a:lnTo>
                    <a:pt x="969" y="982"/>
                  </a:lnTo>
                  <a:lnTo>
                    <a:pt x="965" y="983"/>
                  </a:lnTo>
                  <a:lnTo>
                    <a:pt x="961" y="985"/>
                  </a:lnTo>
                  <a:lnTo>
                    <a:pt x="958" y="987"/>
                  </a:lnTo>
                  <a:lnTo>
                    <a:pt x="954" y="992"/>
                  </a:lnTo>
                  <a:lnTo>
                    <a:pt x="950" y="1002"/>
                  </a:lnTo>
                  <a:lnTo>
                    <a:pt x="949" y="1009"/>
                  </a:lnTo>
                  <a:lnTo>
                    <a:pt x="947" y="1016"/>
                  </a:lnTo>
                  <a:lnTo>
                    <a:pt x="961" y="1016"/>
                  </a:lnTo>
                  <a:lnTo>
                    <a:pt x="965" y="1016"/>
                  </a:lnTo>
                  <a:lnTo>
                    <a:pt x="990" y="1016"/>
                  </a:lnTo>
                  <a:lnTo>
                    <a:pt x="1014" y="1014"/>
                  </a:lnTo>
                  <a:lnTo>
                    <a:pt x="1039" y="1011"/>
                  </a:lnTo>
                  <a:lnTo>
                    <a:pt x="1061" y="1009"/>
                  </a:lnTo>
                  <a:lnTo>
                    <a:pt x="1063" y="1002"/>
                  </a:lnTo>
                  <a:lnTo>
                    <a:pt x="1065" y="994"/>
                  </a:lnTo>
                  <a:lnTo>
                    <a:pt x="1072" y="980"/>
                  </a:lnTo>
                  <a:lnTo>
                    <a:pt x="1072" y="978"/>
                  </a:lnTo>
                  <a:lnTo>
                    <a:pt x="1074" y="976"/>
                  </a:lnTo>
                  <a:lnTo>
                    <a:pt x="1079" y="974"/>
                  </a:lnTo>
                  <a:lnTo>
                    <a:pt x="1083" y="972"/>
                  </a:lnTo>
                  <a:lnTo>
                    <a:pt x="1085" y="971"/>
                  </a:lnTo>
                  <a:lnTo>
                    <a:pt x="1087" y="969"/>
                  </a:lnTo>
                  <a:lnTo>
                    <a:pt x="1087" y="965"/>
                  </a:lnTo>
                  <a:lnTo>
                    <a:pt x="1087" y="960"/>
                  </a:lnTo>
                  <a:lnTo>
                    <a:pt x="1085" y="956"/>
                  </a:lnTo>
                  <a:lnTo>
                    <a:pt x="1081" y="951"/>
                  </a:lnTo>
                  <a:lnTo>
                    <a:pt x="1081" y="947"/>
                  </a:lnTo>
                  <a:lnTo>
                    <a:pt x="1081" y="945"/>
                  </a:lnTo>
                  <a:lnTo>
                    <a:pt x="1083" y="940"/>
                  </a:lnTo>
                  <a:lnTo>
                    <a:pt x="1085" y="934"/>
                  </a:lnTo>
                  <a:lnTo>
                    <a:pt x="1094" y="920"/>
                  </a:lnTo>
                  <a:lnTo>
                    <a:pt x="1108" y="898"/>
                  </a:lnTo>
                  <a:lnTo>
                    <a:pt x="1110" y="893"/>
                  </a:lnTo>
                  <a:lnTo>
                    <a:pt x="1112" y="887"/>
                  </a:lnTo>
                  <a:lnTo>
                    <a:pt x="1112" y="874"/>
                  </a:lnTo>
                  <a:lnTo>
                    <a:pt x="1114" y="869"/>
                  </a:lnTo>
                  <a:lnTo>
                    <a:pt x="1116" y="864"/>
                  </a:lnTo>
                  <a:lnTo>
                    <a:pt x="1117" y="858"/>
                  </a:lnTo>
                  <a:lnTo>
                    <a:pt x="1119" y="856"/>
                  </a:lnTo>
                  <a:lnTo>
                    <a:pt x="1121" y="856"/>
                  </a:lnTo>
                  <a:lnTo>
                    <a:pt x="1125" y="855"/>
                  </a:lnTo>
                  <a:lnTo>
                    <a:pt x="1128" y="856"/>
                  </a:lnTo>
                  <a:lnTo>
                    <a:pt x="1132" y="858"/>
                  </a:lnTo>
                  <a:lnTo>
                    <a:pt x="1136" y="862"/>
                  </a:lnTo>
                  <a:lnTo>
                    <a:pt x="1137" y="862"/>
                  </a:lnTo>
                  <a:lnTo>
                    <a:pt x="1141" y="862"/>
                  </a:lnTo>
                  <a:lnTo>
                    <a:pt x="1145" y="858"/>
                  </a:lnTo>
                  <a:lnTo>
                    <a:pt x="1146" y="856"/>
                  </a:lnTo>
                  <a:lnTo>
                    <a:pt x="1148" y="853"/>
                  </a:lnTo>
                  <a:lnTo>
                    <a:pt x="1148" y="845"/>
                  </a:lnTo>
                  <a:lnTo>
                    <a:pt x="1148" y="840"/>
                  </a:lnTo>
                  <a:lnTo>
                    <a:pt x="1146" y="833"/>
                  </a:lnTo>
                  <a:lnTo>
                    <a:pt x="1146" y="827"/>
                  </a:lnTo>
                  <a:lnTo>
                    <a:pt x="1146" y="825"/>
                  </a:lnTo>
                  <a:lnTo>
                    <a:pt x="1150" y="822"/>
                  </a:lnTo>
                  <a:lnTo>
                    <a:pt x="1155" y="813"/>
                  </a:lnTo>
                  <a:lnTo>
                    <a:pt x="1155" y="809"/>
                  </a:lnTo>
                  <a:lnTo>
                    <a:pt x="1155" y="806"/>
                  </a:lnTo>
                  <a:lnTo>
                    <a:pt x="1155" y="802"/>
                  </a:lnTo>
                  <a:lnTo>
                    <a:pt x="1154" y="795"/>
                  </a:lnTo>
                  <a:lnTo>
                    <a:pt x="1148" y="784"/>
                  </a:lnTo>
                  <a:lnTo>
                    <a:pt x="1146" y="780"/>
                  </a:lnTo>
                  <a:lnTo>
                    <a:pt x="1145" y="775"/>
                  </a:lnTo>
                  <a:lnTo>
                    <a:pt x="1139" y="776"/>
                  </a:lnTo>
                  <a:lnTo>
                    <a:pt x="1134" y="778"/>
                  </a:lnTo>
                  <a:lnTo>
                    <a:pt x="1128" y="776"/>
                  </a:lnTo>
                  <a:lnTo>
                    <a:pt x="1125" y="776"/>
                  </a:lnTo>
                  <a:lnTo>
                    <a:pt x="1116" y="771"/>
                  </a:lnTo>
                  <a:lnTo>
                    <a:pt x="1112" y="767"/>
                  </a:lnTo>
                  <a:lnTo>
                    <a:pt x="1107" y="764"/>
                  </a:lnTo>
                  <a:lnTo>
                    <a:pt x="1103" y="758"/>
                  </a:lnTo>
                  <a:lnTo>
                    <a:pt x="1099" y="753"/>
                  </a:lnTo>
                  <a:lnTo>
                    <a:pt x="1092" y="744"/>
                  </a:lnTo>
                  <a:lnTo>
                    <a:pt x="1088" y="733"/>
                  </a:lnTo>
                  <a:lnTo>
                    <a:pt x="1085" y="722"/>
                  </a:lnTo>
                  <a:lnTo>
                    <a:pt x="1083" y="713"/>
                  </a:lnTo>
                  <a:lnTo>
                    <a:pt x="1083" y="708"/>
                  </a:lnTo>
                  <a:lnTo>
                    <a:pt x="1085" y="704"/>
                  </a:lnTo>
                  <a:lnTo>
                    <a:pt x="1087" y="702"/>
                  </a:lnTo>
                  <a:lnTo>
                    <a:pt x="1088" y="700"/>
                  </a:lnTo>
                  <a:lnTo>
                    <a:pt x="1092" y="698"/>
                  </a:lnTo>
                  <a:lnTo>
                    <a:pt x="1092" y="691"/>
                  </a:lnTo>
                  <a:lnTo>
                    <a:pt x="1092" y="684"/>
                  </a:lnTo>
                  <a:lnTo>
                    <a:pt x="1087" y="668"/>
                  </a:lnTo>
                  <a:lnTo>
                    <a:pt x="1081" y="653"/>
                  </a:lnTo>
                  <a:lnTo>
                    <a:pt x="1072" y="639"/>
                  </a:lnTo>
                  <a:lnTo>
                    <a:pt x="1061" y="624"/>
                  </a:lnTo>
                  <a:lnTo>
                    <a:pt x="1050" y="611"/>
                  </a:lnTo>
                  <a:lnTo>
                    <a:pt x="1045" y="604"/>
                  </a:lnTo>
                  <a:lnTo>
                    <a:pt x="1039" y="600"/>
                  </a:lnTo>
                  <a:lnTo>
                    <a:pt x="1032" y="595"/>
                  </a:lnTo>
                  <a:lnTo>
                    <a:pt x="1027" y="591"/>
                  </a:lnTo>
                  <a:lnTo>
                    <a:pt x="1014" y="584"/>
                  </a:lnTo>
                  <a:lnTo>
                    <a:pt x="1001" y="580"/>
                  </a:lnTo>
                  <a:lnTo>
                    <a:pt x="989" y="573"/>
                  </a:lnTo>
                  <a:lnTo>
                    <a:pt x="983" y="570"/>
                  </a:lnTo>
                  <a:lnTo>
                    <a:pt x="978" y="566"/>
                  </a:lnTo>
                  <a:lnTo>
                    <a:pt x="965" y="553"/>
                  </a:lnTo>
                  <a:lnTo>
                    <a:pt x="952" y="542"/>
                  </a:lnTo>
                  <a:lnTo>
                    <a:pt x="947" y="537"/>
                  </a:lnTo>
                  <a:lnTo>
                    <a:pt x="941" y="531"/>
                  </a:lnTo>
                  <a:lnTo>
                    <a:pt x="938" y="524"/>
                  </a:lnTo>
                  <a:lnTo>
                    <a:pt x="934" y="517"/>
                  </a:lnTo>
                  <a:lnTo>
                    <a:pt x="930" y="502"/>
                  </a:lnTo>
                  <a:lnTo>
                    <a:pt x="929" y="488"/>
                  </a:lnTo>
                  <a:lnTo>
                    <a:pt x="929" y="477"/>
                  </a:lnTo>
                  <a:lnTo>
                    <a:pt x="930" y="466"/>
                  </a:lnTo>
                  <a:lnTo>
                    <a:pt x="938" y="444"/>
                  </a:lnTo>
                  <a:lnTo>
                    <a:pt x="943" y="423"/>
                  </a:lnTo>
                  <a:lnTo>
                    <a:pt x="947" y="410"/>
                  </a:lnTo>
                  <a:lnTo>
                    <a:pt x="947" y="399"/>
                  </a:lnTo>
                  <a:lnTo>
                    <a:pt x="947" y="397"/>
                  </a:lnTo>
                  <a:lnTo>
                    <a:pt x="947" y="390"/>
                  </a:lnTo>
                  <a:lnTo>
                    <a:pt x="945" y="383"/>
                  </a:lnTo>
                  <a:lnTo>
                    <a:pt x="941" y="374"/>
                  </a:lnTo>
                  <a:lnTo>
                    <a:pt x="936" y="366"/>
                  </a:lnTo>
                  <a:lnTo>
                    <a:pt x="930" y="361"/>
                  </a:lnTo>
                  <a:lnTo>
                    <a:pt x="925" y="355"/>
                  </a:lnTo>
                  <a:lnTo>
                    <a:pt x="918" y="352"/>
                  </a:lnTo>
                  <a:lnTo>
                    <a:pt x="909" y="350"/>
                  </a:lnTo>
                  <a:lnTo>
                    <a:pt x="907" y="350"/>
                  </a:lnTo>
                  <a:lnTo>
                    <a:pt x="901" y="352"/>
                  </a:lnTo>
                  <a:lnTo>
                    <a:pt x="896" y="354"/>
                  </a:lnTo>
                  <a:lnTo>
                    <a:pt x="891" y="359"/>
                  </a:lnTo>
                  <a:lnTo>
                    <a:pt x="887" y="363"/>
                  </a:lnTo>
                  <a:lnTo>
                    <a:pt x="880" y="372"/>
                  </a:lnTo>
                  <a:lnTo>
                    <a:pt x="876" y="374"/>
                  </a:lnTo>
                  <a:lnTo>
                    <a:pt x="872" y="375"/>
                  </a:lnTo>
                  <a:lnTo>
                    <a:pt x="871" y="374"/>
                  </a:lnTo>
                  <a:lnTo>
                    <a:pt x="867" y="372"/>
                  </a:lnTo>
                  <a:lnTo>
                    <a:pt x="863" y="366"/>
                  </a:lnTo>
                  <a:lnTo>
                    <a:pt x="860" y="359"/>
                  </a:lnTo>
                  <a:lnTo>
                    <a:pt x="856" y="350"/>
                  </a:lnTo>
                  <a:lnTo>
                    <a:pt x="852" y="341"/>
                  </a:lnTo>
                  <a:lnTo>
                    <a:pt x="849" y="321"/>
                  </a:lnTo>
                  <a:lnTo>
                    <a:pt x="843" y="301"/>
                  </a:lnTo>
                  <a:lnTo>
                    <a:pt x="840" y="292"/>
                  </a:lnTo>
                  <a:lnTo>
                    <a:pt x="836" y="283"/>
                  </a:lnTo>
                  <a:lnTo>
                    <a:pt x="829" y="276"/>
                  </a:lnTo>
                  <a:lnTo>
                    <a:pt x="822" y="268"/>
                  </a:lnTo>
                  <a:lnTo>
                    <a:pt x="813" y="263"/>
                  </a:lnTo>
                  <a:lnTo>
                    <a:pt x="803" y="257"/>
                  </a:lnTo>
                  <a:lnTo>
                    <a:pt x="785" y="248"/>
                  </a:lnTo>
                  <a:lnTo>
                    <a:pt x="769" y="239"/>
                  </a:lnTo>
                  <a:lnTo>
                    <a:pt x="762" y="234"/>
                  </a:lnTo>
                  <a:lnTo>
                    <a:pt x="754" y="227"/>
                  </a:lnTo>
                  <a:lnTo>
                    <a:pt x="749" y="218"/>
                  </a:lnTo>
                  <a:lnTo>
                    <a:pt x="742" y="208"/>
                  </a:lnTo>
                  <a:lnTo>
                    <a:pt x="735" y="196"/>
                  </a:lnTo>
                  <a:lnTo>
                    <a:pt x="729" y="185"/>
                  </a:lnTo>
                  <a:lnTo>
                    <a:pt x="724" y="172"/>
                  </a:lnTo>
                  <a:lnTo>
                    <a:pt x="718" y="158"/>
                  </a:lnTo>
                  <a:lnTo>
                    <a:pt x="715" y="145"/>
                  </a:lnTo>
                  <a:lnTo>
                    <a:pt x="711" y="132"/>
                  </a:lnTo>
                  <a:lnTo>
                    <a:pt x="707" y="120"/>
                  </a:lnTo>
                  <a:lnTo>
                    <a:pt x="705" y="107"/>
                  </a:lnTo>
                  <a:lnTo>
                    <a:pt x="705" y="87"/>
                  </a:lnTo>
                  <a:lnTo>
                    <a:pt x="705" y="74"/>
                  </a:lnTo>
                  <a:lnTo>
                    <a:pt x="707" y="67"/>
                  </a:lnTo>
                  <a:lnTo>
                    <a:pt x="707" y="61"/>
                  </a:lnTo>
                  <a:lnTo>
                    <a:pt x="711" y="54"/>
                  </a:lnTo>
                  <a:lnTo>
                    <a:pt x="716" y="47"/>
                  </a:lnTo>
                  <a:lnTo>
                    <a:pt x="702" y="38"/>
                  </a:lnTo>
                  <a:lnTo>
                    <a:pt x="686" y="25"/>
                  </a:lnTo>
                  <a:lnTo>
                    <a:pt x="675" y="14"/>
                  </a:lnTo>
                  <a:lnTo>
                    <a:pt x="671" y="11"/>
                  </a:lnTo>
                  <a:lnTo>
                    <a:pt x="667" y="7"/>
                  </a:lnTo>
                  <a:lnTo>
                    <a:pt x="660" y="3"/>
                  </a:lnTo>
                  <a:lnTo>
                    <a:pt x="653" y="0"/>
                  </a:lnTo>
                  <a:lnTo>
                    <a:pt x="644" y="0"/>
                  </a:lnTo>
                  <a:close/>
                </a:path>
              </a:pathLst>
            </a:custGeom>
            <a:solidFill>
              <a:srgbClr val="2E2E38"/>
            </a:solidFill>
            <a:ln w="3175" cap="flat" cmpd="sng" algn="ctr">
              <a:solidFill>
                <a:srgbClr val="747480"/>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646464"/>
                </a:solidFill>
                <a:effectLst/>
                <a:uLnTx/>
                <a:uFillTx/>
                <a:cs typeface="Times New Roman" panose="02020603050405020304" pitchFamily="18" charset="0"/>
              </a:endParaRPr>
            </a:p>
          </p:txBody>
        </p:sp>
        <p:sp>
          <p:nvSpPr>
            <p:cNvPr id="11" name="Line 15">
              <a:extLst>
                <a:ext uri="{FF2B5EF4-FFF2-40B4-BE49-F238E27FC236}">
                  <a16:creationId xmlns:a16="http://schemas.microsoft.com/office/drawing/2014/main" id="{694138C5-DBB0-A3BA-51D7-704C09630B79}"/>
                </a:ext>
              </a:extLst>
            </p:cNvPr>
            <p:cNvSpPr>
              <a:spLocks noChangeShapeType="1"/>
            </p:cNvSpPr>
            <p:nvPr/>
          </p:nvSpPr>
          <p:spPr bwMode="auto">
            <a:xfrm>
              <a:off x="5403231" y="5085213"/>
              <a:ext cx="915" cy="894"/>
            </a:xfrm>
            <a:prstGeom prst="line">
              <a:avLst/>
            </a:prstGeom>
            <a:noFill/>
            <a:ln w="3175">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646464"/>
                </a:solidFill>
                <a:effectLst/>
                <a:uLnTx/>
                <a:uFillTx/>
                <a:cs typeface="Times New Roman" panose="02020603050405020304" pitchFamily="18" charset="0"/>
              </a:endParaRPr>
            </a:p>
          </p:txBody>
        </p:sp>
        <p:sp>
          <p:nvSpPr>
            <p:cNvPr id="12" name="Freeform 16">
              <a:extLst>
                <a:ext uri="{FF2B5EF4-FFF2-40B4-BE49-F238E27FC236}">
                  <a16:creationId xmlns:a16="http://schemas.microsoft.com/office/drawing/2014/main" id="{98A0D0A1-12AB-E313-C092-5804B6F6CA61}"/>
                </a:ext>
              </a:extLst>
            </p:cNvPr>
            <p:cNvSpPr>
              <a:spLocks noEditPoints="1"/>
            </p:cNvSpPr>
            <p:nvPr/>
          </p:nvSpPr>
          <p:spPr bwMode="auto">
            <a:xfrm>
              <a:off x="5769542" y="4432515"/>
              <a:ext cx="338840" cy="375392"/>
            </a:xfrm>
            <a:custGeom>
              <a:avLst/>
              <a:gdLst/>
              <a:ahLst/>
              <a:cxnLst>
                <a:cxn ang="0">
                  <a:pos x="583" y="65"/>
                </a:cxn>
                <a:cxn ang="0">
                  <a:pos x="561" y="85"/>
                </a:cxn>
                <a:cxn ang="0">
                  <a:pos x="505" y="140"/>
                </a:cxn>
                <a:cxn ang="0">
                  <a:pos x="489" y="142"/>
                </a:cxn>
                <a:cxn ang="0">
                  <a:pos x="432" y="158"/>
                </a:cxn>
                <a:cxn ang="0">
                  <a:pos x="391" y="178"/>
                </a:cxn>
                <a:cxn ang="0">
                  <a:pos x="360" y="176"/>
                </a:cxn>
                <a:cxn ang="0">
                  <a:pos x="345" y="167"/>
                </a:cxn>
                <a:cxn ang="0">
                  <a:pos x="351" y="156"/>
                </a:cxn>
                <a:cxn ang="0">
                  <a:pos x="342" y="145"/>
                </a:cxn>
                <a:cxn ang="0">
                  <a:pos x="325" y="149"/>
                </a:cxn>
                <a:cxn ang="0">
                  <a:pos x="323" y="158"/>
                </a:cxn>
                <a:cxn ang="0">
                  <a:pos x="289" y="143"/>
                </a:cxn>
                <a:cxn ang="0">
                  <a:pos x="242" y="138"/>
                </a:cxn>
                <a:cxn ang="0">
                  <a:pos x="224" y="131"/>
                </a:cxn>
                <a:cxn ang="0">
                  <a:pos x="71" y="733"/>
                </a:cxn>
                <a:cxn ang="0">
                  <a:pos x="87" y="742"/>
                </a:cxn>
                <a:cxn ang="0">
                  <a:pos x="117" y="729"/>
                </a:cxn>
                <a:cxn ang="0">
                  <a:pos x="136" y="733"/>
                </a:cxn>
                <a:cxn ang="0">
                  <a:pos x="147" y="744"/>
                </a:cxn>
                <a:cxn ang="0">
                  <a:pos x="158" y="768"/>
                </a:cxn>
                <a:cxn ang="0">
                  <a:pos x="171" y="788"/>
                </a:cxn>
                <a:cxn ang="0">
                  <a:pos x="204" y="793"/>
                </a:cxn>
                <a:cxn ang="0">
                  <a:pos x="238" y="800"/>
                </a:cxn>
                <a:cxn ang="0">
                  <a:pos x="253" y="813"/>
                </a:cxn>
                <a:cxn ang="0">
                  <a:pos x="273" y="815"/>
                </a:cxn>
                <a:cxn ang="0">
                  <a:pos x="291" y="804"/>
                </a:cxn>
                <a:cxn ang="0">
                  <a:pos x="329" y="811"/>
                </a:cxn>
                <a:cxn ang="0">
                  <a:pos x="369" y="802"/>
                </a:cxn>
                <a:cxn ang="0">
                  <a:pos x="398" y="791"/>
                </a:cxn>
                <a:cxn ang="0">
                  <a:pos x="421" y="802"/>
                </a:cxn>
                <a:cxn ang="0">
                  <a:pos x="454" y="837"/>
                </a:cxn>
                <a:cxn ang="0">
                  <a:pos x="476" y="838"/>
                </a:cxn>
                <a:cxn ang="0">
                  <a:pos x="501" y="822"/>
                </a:cxn>
                <a:cxn ang="0">
                  <a:pos x="503" y="808"/>
                </a:cxn>
                <a:cxn ang="0">
                  <a:pos x="518" y="798"/>
                </a:cxn>
                <a:cxn ang="0">
                  <a:pos x="527" y="769"/>
                </a:cxn>
                <a:cxn ang="0">
                  <a:pos x="525" y="729"/>
                </a:cxn>
                <a:cxn ang="0">
                  <a:pos x="536" y="706"/>
                </a:cxn>
                <a:cxn ang="0">
                  <a:pos x="554" y="700"/>
                </a:cxn>
                <a:cxn ang="0">
                  <a:pos x="559" y="711"/>
                </a:cxn>
                <a:cxn ang="0">
                  <a:pos x="565" y="719"/>
                </a:cxn>
                <a:cxn ang="0">
                  <a:pos x="577" y="700"/>
                </a:cxn>
                <a:cxn ang="0">
                  <a:pos x="585" y="657"/>
                </a:cxn>
                <a:cxn ang="0">
                  <a:pos x="597" y="630"/>
                </a:cxn>
                <a:cxn ang="0">
                  <a:pos x="608" y="617"/>
                </a:cxn>
                <a:cxn ang="0">
                  <a:pos x="621" y="599"/>
                </a:cxn>
                <a:cxn ang="0">
                  <a:pos x="650" y="595"/>
                </a:cxn>
                <a:cxn ang="0">
                  <a:pos x="688" y="555"/>
                </a:cxn>
                <a:cxn ang="0">
                  <a:pos x="714" y="514"/>
                </a:cxn>
                <a:cxn ang="0">
                  <a:pos x="724" y="419"/>
                </a:cxn>
                <a:cxn ang="0">
                  <a:pos x="719" y="359"/>
                </a:cxn>
                <a:cxn ang="0">
                  <a:pos x="715" y="308"/>
                </a:cxn>
                <a:cxn ang="0">
                  <a:pos x="694" y="0"/>
                </a:cxn>
                <a:cxn ang="0">
                  <a:pos x="456" y="826"/>
                </a:cxn>
                <a:cxn ang="0">
                  <a:pos x="465" y="827"/>
                </a:cxn>
              </a:cxnLst>
              <a:rect l="0" t="0" r="r" b="b"/>
              <a:pathLst>
                <a:path w="741" h="840">
                  <a:moveTo>
                    <a:pt x="694" y="0"/>
                  </a:moveTo>
                  <a:lnTo>
                    <a:pt x="637" y="33"/>
                  </a:lnTo>
                  <a:lnTo>
                    <a:pt x="610" y="49"/>
                  </a:lnTo>
                  <a:lnTo>
                    <a:pt x="583" y="65"/>
                  </a:lnTo>
                  <a:lnTo>
                    <a:pt x="577" y="71"/>
                  </a:lnTo>
                  <a:lnTo>
                    <a:pt x="572" y="74"/>
                  </a:lnTo>
                  <a:lnTo>
                    <a:pt x="567" y="80"/>
                  </a:lnTo>
                  <a:lnTo>
                    <a:pt x="561" y="85"/>
                  </a:lnTo>
                  <a:lnTo>
                    <a:pt x="539" y="111"/>
                  </a:lnTo>
                  <a:lnTo>
                    <a:pt x="528" y="123"/>
                  </a:lnTo>
                  <a:lnTo>
                    <a:pt x="518" y="132"/>
                  </a:lnTo>
                  <a:lnTo>
                    <a:pt x="505" y="140"/>
                  </a:lnTo>
                  <a:lnTo>
                    <a:pt x="499" y="142"/>
                  </a:lnTo>
                  <a:lnTo>
                    <a:pt x="492" y="142"/>
                  </a:lnTo>
                  <a:lnTo>
                    <a:pt x="490" y="142"/>
                  </a:lnTo>
                  <a:lnTo>
                    <a:pt x="489" y="142"/>
                  </a:lnTo>
                  <a:lnTo>
                    <a:pt x="483" y="143"/>
                  </a:lnTo>
                  <a:lnTo>
                    <a:pt x="476" y="143"/>
                  </a:lnTo>
                  <a:lnTo>
                    <a:pt x="461" y="147"/>
                  </a:lnTo>
                  <a:lnTo>
                    <a:pt x="432" y="158"/>
                  </a:lnTo>
                  <a:lnTo>
                    <a:pt x="421" y="163"/>
                  </a:lnTo>
                  <a:lnTo>
                    <a:pt x="409" y="171"/>
                  </a:lnTo>
                  <a:lnTo>
                    <a:pt x="396" y="176"/>
                  </a:lnTo>
                  <a:lnTo>
                    <a:pt x="391" y="178"/>
                  </a:lnTo>
                  <a:lnTo>
                    <a:pt x="385" y="178"/>
                  </a:lnTo>
                  <a:lnTo>
                    <a:pt x="381" y="178"/>
                  </a:lnTo>
                  <a:lnTo>
                    <a:pt x="372" y="178"/>
                  </a:lnTo>
                  <a:lnTo>
                    <a:pt x="360" y="176"/>
                  </a:lnTo>
                  <a:lnTo>
                    <a:pt x="354" y="174"/>
                  </a:lnTo>
                  <a:lnTo>
                    <a:pt x="351" y="171"/>
                  </a:lnTo>
                  <a:lnTo>
                    <a:pt x="347" y="169"/>
                  </a:lnTo>
                  <a:lnTo>
                    <a:pt x="345" y="167"/>
                  </a:lnTo>
                  <a:lnTo>
                    <a:pt x="345" y="165"/>
                  </a:lnTo>
                  <a:lnTo>
                    <a:pt x="347" y="161"/>
                  </a:lnTo>
                  <a:lnTo>
                    <a:pt x="349" y="158"/>
                  </a:lnTo>
                  <a:lnTo>
                    <a:pt x="351" y="156"/>
                  </a:lnTo>
                  <a:lnTo>
                    <a:pt x="352" y="152"/>
                  </a:lnTo>
                  <a:lnTo>
                    <a:pt x="351" y="151"/>
                  </a:lnTo>
                  <a:lnTo>
                    <a:pt x="349" y="147"/>
                  </a:lnTo>
                  <a:lnTo>
                    <a:pt x="342" y="145"/>
                  </a:lnTo>
                  <a:lnTo>
                    <a:pt x="332" y="145"/>
                  </a:lnTo>
                  <a:lnTo>
                    <a:pt x="327" y="145"/>
                  </a:lnTo>
                  <a:lnTo>
                    <a:pt x="325" y="147"/>
                  </a:lnTo>
                  <a:lnTo>
                    <a:pt x="325" y="149"/>
                  </a:lnTo>
                  <a:lnTo>
                    <a:pt x="327" y="156"/>
                  </a:lnTo>
                  <a:lnTo>
                    <a:pt x="327" y="158"/>
                  </a:lnTo>
                  <a:lnTo>
                    <a:pt x="325" y="158"/>
                  </a:lnTo>
                  <a:lnTo>
                    <a:pt x="323" y="158"/>
                  </a:lnTo>
                  <a:lnTo>
                    <a:pt x="320" y="158"/>
                  </a:lnTo>
                  <a:lnTo>
                    <a:pt x="316" y="156"/>
                  </a:lnTo>
                  <a:lnTo>
                    <a:pt x="305" y="152"/>
                  </a:lnTo>
                  <a:lnTo>
                    <a:pt x="289" y="143"/>
                  </a:lnTo>
                  <a:lnTo>
                    <a:pt x="282" y="142"/>
                  </a:lnTo>
                  <a:lnTo>
                    <a:pt x="274" y="142"/>
                  </a:lnTo>
                  <a:lnTo>
                    <a:pt x="258" y="140"/>
                  </a:lnTo>
                  <a:lnTo>
                    <a:pt x="242" y="138"/>
                  </a:lnTo>
                  <a:lnTo>
                    <a:pt x="234" y="138"/>
                  </a:lnTo>
                  <a:lnTo>
                    <a:pt x="233" y="136"/>
                  </a:lnTo>
                  <a:lnTo>
                    <a:pt x="229" y="134"/>
                  </a:lnTo>
                  <a:lnTo>
                    <a:pt x="224" y="131"/>
                  </a:lnTo>
                  <a:lnTo>
                    <a:pt x="222" y="127"/>
                  </a:lnTo>
                  <a:lnTo>
                    <a:pt x="0" y="149"/>
                  </a:lnTo>
                  <a:lnTo>
                    <a:pt x="2" y="163"/>
                  </a:lnTo>
                  <a:lnTo>
                    <a:pt x="71" y="733"/>
                  </a:lnTo>
                  <a:lnTo>
                    <a:pt x="75" y="737"/>
                  </a:lnTo>
                  <a:lnTo>
                    <a:pt x="78" y="740"/>
                  </a:lnTo>
                  <a:lnTo>
                    <a:pt x="82" y="742"/>
                  </a:lnTo>
                  <a:lnTo>
                    <a:pt x="87" y="742"/>
                  </a:lnTo>
                  <a:lnTo>
                    <a:pt x="91" y="740"/>
                  </a:lnTo>
                  <a:lnTo>
                    <a:pt x="97" y="740"/>
                  </a:lnTo>
                  <a:lnTo>
                    <a:pt x="107" y="735"/>
                  </a:lnTo>
                  <a:lnTo>
                    <a:pt x="117" y="729"/>
                  </a:lnTo>
                  <a:lnTo>
                    <a:pt x="122" y="728"/>
                  </a:lnTo>
                  <a:lnTo>
                    <a:pt x="127" y="726"/>
                  </a:lnTo>
                  <a:lnTo>
                    <a:pt x="135" y="728"/>
                  </a:lnTo>
                  <a:lnTo>
                    <a:pt x="136" y="733"/>
                  </a:lnTo>
                  <a:lnTo>
                    <a:pt x="138" y="737"/>
                  </a:lnTo>
                  <a:lnTo>
                    <a:pt x="140" y="739"/>
                  </a:lnTo>
                  <a:lnTo>
                    <a:pt x="142" y="740"/>
                  </a:lnTo>
                  <a:lnTo>
                    <a:pt x="147" y="744"/>
                  </a:lnTo>
                  <a:lnTo>
                    <a:pt x="149" y="748"/>
                  </a:lnTo>
                  <a:lnTo>
                    <a:pt x="153" y="751"/>
                  </a:lnTo>
                  <a:lnTo>
                    <a:pt x="155" y="759"/>
                  </a:lnTo>
                  <a:lnTo>
                    <a:pt x="158" y="768"/>
                  </a:lnTo>
                  <a:lnTo>
                    <a:pt x="160" y="775"/>
                  </a:lnTo>
                  <a:lnTo>
                    <a:pt x="165" y="782"/>
                  </a:lnTo>
                  <a:lnTo>
                    <a:pt x="169" y="786"/>
                  </a:lnTo>
                  <a:lnTo>
                    <a:pt x="171" y="788"/>
                  </a:lnTo>
                  <a:lnTo>
                    <a:pt x="178" y="791"/>
                  </a:lnTo>
                  <a:lnTo>
                    <a:pt x="184" y="793"/>
                  </a:lnTo>
                  <a:lnTo>
                    <a:pt x="191" y="793"/>
                  </a:lnTo>
                  <a:lnTo>
                    <a:pt x="204" y="793"/>
                  </a:lnTo>
                  <a:lnTo>
                    <a:pt x="214" y="793"/>
                  </a:lnTo>
                  <a:lnTo>
                    <a:pt x="224" y="793"/>
                  </a:lnTo>
                  <a:lnTo>
                    <a:pt x="231" y="795"/>
                  </a:lnTo>
                  <a:lnTo>
                    <a:pt x="238" y="800"/>
                  </a:lnTo>
                  <a:lnTo>
                    <a:pt x="244" y="806"/>
                  </a:lnTo>
                  <a:lnTo>
                    <a:pt x="245" y="809"/>
                  </a:lnTo>
                  <a:lnTo>
                    <a:pt x="249" y="811"/>
                  </a:lnTo>
                  <a:lnTo>
                    <a:pt x="253" y="813"/>
                  </a:lnTo>
                  <a:lnTo>
                    <a:pt x="258" y="815"/>
                  </a:lnTo>
                  <a:lnTo>
                    <a:pt x="265" y="815"/>
                  </a:lnTo>
                  <a:lnTo>
                    <a:pt x="269" y="815"/>
                  </a:lnTo>
                  <a:lnTo>
                    <a:pt x="273" y="815"/>
                  </a:lnTo>
                  <a:lnTo>
                    <a:pt x="278" y="811"/>
                  </a:lnTo>
                  <a:lnTo>
                    <a:pt x="282" y="806"/>
                  </a:lnTo>
                  <a:lnTo>
                    <a:pt x="285" y="804"/>
                  </a:lnTo>
                  <a:lnTo>
                    <a:pt x="291" y="804"/>
                  </a:lnTo>
                  <a:lnTo>
                    <a:pt x="296" y="804"/>
                  </a:lnTo>
                  <a:lnTo>
                    <a:pt x="307" y="804"/>
                  </a:lnTo>
                  <a:lnTo>
                    <a:pt x="318" y="808"/>
                  </a:lnTo>
                  <a:lnTo>
                    <a:pt x="329" y="811"/>
                  </a:lnTo>
                  <a:lnTo>
                    <a:pt x="340" y="811"/>
                  </a:lnTo>
                  <a:lnTo>
                    <a:pt x="349" y="811"/>
                  </a:lnTo>
                  <a:lnTo>
                    <a:pt x="356" y="809"/>
                  </a:lnTo>
                  <a:lnTo>
                    <a:pt x="369" y="802"/>
                  </a:lnTo>
                  <a:lnTo>
                    <a:pt x="380" y="797"/>
                  </a:lnTo>
                  <a:lnTo>
                    <a:pt x="389" y="791"/>
                  </a:lnTo>
                  <a:lnTo>
                    <a:pt x="392" y="791"/>
                  </a:lnTo>
                  <a:lnTo>
                    <a:pt x="398" y="791"/>
                  </a:lnTo>
                  <a:lnTo>
                    <a:pt x="403" y="791"/>
                  </a:lnTo>
                  <a:lnTo>
                    <a:pt x="409" y="793"/>
                  </a:lnTo>
                  <a:lnTo>
                    <a:pt x="414" y="797"/>
                  </a:lnTo>
                  <a:lnTo>
                    <a:pt x="421" y="802"/>
                  </a:lnTo>
                  <a:lnTo>
                    <a:pt x="430" y="813"/>
                  </a:lnTo>
                  <a:lnTo>
                    <a:pt x="441" y="826"/>
                  </a:lnTo>
                  <a:lnTo>
                    <a:pt x="447" y="831"/>
                  </a:lnTo>
                  <a:lnTo>
                    <a:pt x="454" y="837"/>
                  </a:lnTo>
                  <a:lnTo>
                    <a:pt x="459" y="840"/>
                  </a:lnTo>
                  <a:lnTo>
                    <a:pt x="469" y="840"/>
                  </a:lnTo>
                  <a:lnTo>
                    <a:pt x="472" y="840"/>
                  </a:lnTo>
                  <a:lnTo>
                    <a:pt x="476" y="838"/>
                  </a:lnTo>
                  <a:lnTo>
                    <a:pt x="485" y="835"/>
                  </a:lnTo>
                  <a:lnTo>
                    <a:pt x="494" y="829"/>
                  </a:lnTo>
                  <a:lnTo>
                    <a:pt x="499" y="824"/>
                  </a:lnTo>
                  <a:lnTo>
                    <a:pt x="501" y="822"/>
                  </a:lnTo>
                  <a:lnTo>
                    <a:pt x="501" y="820"/>
                  </a:lnTo>
                  <a:lnTo>
                    <a:pt x="501" y="815"/>
                  </a:lnTo>
                  <a:lnTo>
                    <a:pt x="503" y="809"/>
                  </a:lnTo>
                  <a:lnTo>
                    <a:pt x="503" y="808"/>
                  </a:lnTo>
                  <a:lnTo>
                    <a:pt x="503" y="806"/>
                  </a:lnTo>
                  <a:lnTo>
                    <a:pt x="508" y="804"/>
                  </a:lnTo>
                  <a:lnTo>
                    <a:pt x="514" y="800"/>
                  </a:lnTo>
                  <a:lnTo>
                    <a:pt x="518" y="798"/>
                  </a:lnTo>
                  <a:lnTo>
                    <a:pt x="521" y="795"/>
                  </a:lnTo>
                  <a:lnTo>
                    <a:pt x="523" y="789"/>
                  </a:lnTo>
                  <a:lnTo>
                    <a:pt x="527" y="782"/>
                  </a:lnTo>
                  <a:lnTo>
                    <a:pt x="527" y="769"/>
                  </a:lnTo>
                  <a:lnTo>
                    <a:pt x="527" y="762"/>
                  </a:lnTo>
                  <a:lnTo>
                    <a:pt x="527" y="755"/>
                  </a:lnTo>
                  <a:lnTo>
                    <a:pt x="525" y="739"/>
                  </a:lnTo>
                  <a:lnTo>
                    <a:pt x="525" y="729"/>
                  </a:lnTo>
                  <a:lnTo>
                    <a:pt x="527" y="726"/>
                  </a:lnTo>
                  <a:lnTo>
                    <a:pt x="527" y="722"/>
                  </a:lnTo>
                  <a:lnTo>
                    <a:pt x="530" y="713"/>
                  </a:lnTo>
                  <a:lnTo>
                    <a:pt x="536" y="706"/>
                  </a:lnTo>
                  <a:lnTo>
                    <a:pt x="541" y="700"/>
                  </a:lnTo>
                  <a:lnTo>
                    <a:pt x="548" y="695"/>
                  </a:lnTo>
                  <a:lnTo>
                    <a:pt x="552" y="699"/>
                  </a:lnTo>
                  <a:lnTo>
                    <a:pt x="554" y="700"/>
                  </a:lnTo>
                  <a:lnTo>
                    <a:pt x="557" y="704"/>
                  </a:lnTo>
                  <a:lnTo>
                    <a:pt x="557" y="708"/>
                  </a:lnTo>
                  <a:lnTo>
                    <a:pt x="559" y="708"/>
                  </a:lnTo>
                  <a:lnTo>
                    <a:pt x="559" y="711"/>
                  </a:lnTo>
                  <a:lnTo>
                    <a:pt x="559" y="715"/>
                  </a:lnTo>
                  <a:lnTo>
                    <a:pt x="559" y="720"/>
                  </a:lnTo>
                  <a:lnTo>
                    <a:pt x="563" y="720"/>
                  </a:lnTo>
                  <a:lnTo>
                    <a:pt x="565" y="719"/>
                  </a:lnTo>
                  <a:lnTo>
                    <a:pt x="568" y="717"/>
                  </a:lnTo>
                  <a:lnTo>
                    <a:pt x="570" y="713"/>
                  </a:lnTo>
                  <a:lnTo>
                    <a:pt x="572" y="710"/>
                  </a:lnTo>
                  <a:lnTo>
                    <a:pt x="577" y="700"/>
                  </a:lnTo>
                  <a:lnTo>
                    <a:pt x="579" y="690"/>
                  </a:lnTo>
                  <a:lnTo>
                    <a:pt x="581" y="679"/>
                  </a:lnTo>
                  <a:lnTo>
                    <a:pt x="583" y="668"/>
                  </a:lnTo>
                  <a:lnTo>
                    <a:pt x="585" y="657"/>
                  </a:lnTo>
                  <a:lnTo>
                    <a:pt x="588" y="646"/>
                  </a:lnTo>
                  <a:lnTo>
                    <a:pt x="590" y="639"/>
                  </a:lnTo>
                  <a:lnTo>
                    <a:pt x="594" y="633"/>
                  </a:lnTo>
                  <a:lnTo>
                    <a:pt x="597" y="630"/>
                  </a:lnTo>
                  <a:lnTo>
                    <a:pt x="601" y="630"/>
                  </a:lnTo>
                  <a:lnTo>
                    <a:pt x="608" y="631"/>
                  </a:lnTo>
                  <a:lnTo>
                    <a:pt x="606" y="622"/>
                  </a:lnTo>
                  <a:lnTo>
                    <a:pt x="608" y="617"/>
                  </a:lnTo>
                  <a:lnTo>
                    <a:pt x="608" y="613"/>
                  </a:lnTo>
                  <a:lnTo>
                    <a:pt x="610" y="610"/>
                  </a:lnTo>
                  <a:lnTo>
                    <a:pt x="616" y="602"/>
                  </a:lnTo>
                  <a:lnTo>
                    <a:pt x="621" y="599"/>
                  </a:lnTo>
                  <a:lnTo>
                    <a:pt x="628" y="593"/>
                  </a:lnTo>
                  <a:lnTo>
                    <a:pt x="635" y="595"/>
                  </a:lnTo>
                  <a:lnTo>
                    <a:pt x="645" y="597"/>
                  </a:lnTo>
                  <a:lnTo>
                    <a:pt x="650" y="595"/>
                  </a:lnTo>
                  <a:lnTo>
                    <a:pt x="654" y="592"/>
                  </a:lnTo>
                  <a:lnTo>
                    <a:pt x="659" y="586"/>
                  </a:lnTo>
                  <a:lnTo>
                    <a:pt x="670" y="575"/>
                  </a:lnTo>
                  <a:lnTo>
                    <a:pt x="688" y="555"/>
                  </a:lnTo>
                  <a:lnTo>
                    <a:pt x="697" y="546"/>
                  </a:lnTo>
                  <a:lnTo>
                    <a:pt x="704" y="535"/>
                  </a:lnTo>
                  <a:lnTo>
                    <a:pt x="710" y="524"/>
                  </a:lnTo>
                  <a:lnTo>
                    <a:pt x="714" y="514"/>
                  </a:lnTo>
                  <a:lnTo>
                    <a:pt x="717" y="501"/>
                  </a:lnTo>
                  <a:lnTo>
                    <a:pt x="719" y="488"/>
                  </a:lnTo>
                  <a:lnTo>
                    <a:pt x="723" y="441"/>
                  </a:lnTo>
                  <a:lnTo>
                    <a:pt x="724" y="419"/>
                  </a:lnTo>
                  <a:lnTo>
                    <a:pt x="724" y="397"/>
                  </a:lnTo>
                  <a:lnTo>
                    <a:pt x="724" y="390"/>
                  </a:lnTo>
                  <a:lnTo>
                    <a:pt x="723" y="381"/>
                  </a:lnTo>
                  <a:lnTo>
                    <a:pt x="719" y="359"/>
                  </a:lnTo>
                  <a:lnTo>
                    <a:pt x="715" y="336"/>
                  </a:lnTo>
                  <a:lnTo>
                    <a:pt x="714" y="316"/>
                  </a:lnTo>
                  <a:lnTo>
                    <a:pt x="715" y="312"/>
                  </a:lnTo>
                  <a:lnTo>
                    <a:pt x="715" y="308"/>
                  </a:lnTo>
                  <a:lnTo>
                    <a:pt x="717" y="307"/>
                  </a:lnTo>
                  <a:lnTo>
                    <a:pt x="724" y="303"/>
                  </a:lnTo>
                  <a:lnTo>
                    <a:pt x="741" y="298"/>
                  </a:lnTo>
                  <a:lnTo>
                    <a:pt x="694" y="0"/>
                  </a:lnTo>
                  <a:close/>
                  <a:moveTo>
                    <a:pt x="458" y="831"/>
                  </a:moveTo>
                  <a:lnTo>
                    <a:pt x="456" y="831"/>
                  </a:lnTo>
                  <a:lnTo>
                    <a:pt x="456" y="827"/>
                  </a:lnTo>
                  <a:lnTo>
                    <a:pt x="456" y="826"/>
                  </a:lnTo>
                  <a:lnTo>
                    <a:pt x="456" y="824"/>
                  </a:lnTo>
                  <a:lnTo>
                    <a:pt x="461" y="826"/>
                  </a:lnTo>
                  <a:lnTo>
                    <a:pt x="469" y="827"/>
                  </a:lnTo>
                  <a:lnTo>
                    <a:pt x="465" y="827"/>
                  </a:lnTo>
                  <a:lnTo>
                    <a:pt x="461" y="829"/>
                  </a:lnTo>
                  <a:lnTo>
                    <a:pt x="458" y="831"/>
                  </a:lnTo>
                  <a:close/>
                </a:path>
              </a:pathLst>
            </a:custGeom>
            <a:solidFill>
              <a:srgbClr val="FFE600"/>
            </a:solidFill>
            <a:ln w="6350" cap="flat" cmpd="sng" algn="ctr">
              <a:solidFill>
                <a:srgbClr val="2E2E38"/>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333333">
                    <a:lumMod val="60000"/>
                    <a:lumOff val="40000"/>
                  </a:srgbClr>
                </a:solidFill>
                <a:effectLst/>
                <a:uLnTx/>
                <a:uFillTx/>
                <a:cs typeface="Times New Roman" panose="02020603050405020304" pitchFamily="18" charset="0"/>
              </a:endParaRPr>
            </a:p>
          </p:txBody>
        </p:sp>
        <p:sp>
          <p:nvSpPr>
            <p:cNvPr id="13" name="Freeform 19">
              <a:extLst>
                <a:ext uri="{FF2B5EF4-FFF2-40B4-BE49-F238E27FC236}">
                  <a16:creationId xmlns:a16="http://schemas.microsoft.com/office/drawing/2014/main" id="{1BB345BD-7C9A-2CFC-77A3-4E01D9600F96}"/>
                </a:ext>
              </a:extLst>
            </p:cNvPr>
            <p:cNvSpPr>
              <a:spLocks/>
            </p:cNvSpPr>
            <p:nvPr/>
          </p:nvSpPr>
          <p:spPr bwMode="auto">
            <a:xfrm>
              <a:off x="5554333" y="4499390"/>
              <a:ext cx="249094" cy="419973"/>
            </a:xfrm>
            <a:custGeom>
              <a:avLst/>
              <a:gdLst/>
              <a:ahLst/>
              <a:cxnLst>
                <a:cxn ang="0">
                  <a:pos x="115" y="49"/>
                </a:cxn>
                <a:cxn ang="0">
                  <a:pos x="86" y="67"/>
                </a:cxn>
                <a:cxn ang="0">
                  <a:pos x="73" y="69"/>
                </a:cxn>
                <a:cxn ang="0">
                  <a:pos x="49" y="65"/>
                </a:cxn>
                <a:cxn ang="0">
                  <a:pos x="35" y="58"/>
                </a:cxn>
                <a:cxn ang="0">
                  <a:pos x="31" y="72"/>
                </a:cxn>
                <a:cxn ang="0">
                  <a:pos x="66" y="575"/>
                </a:cxn>
                <a:cxn ang="0">
                  <a:pos x="62" y="600"/>
                </a:cxn>
                <a:cxn ang="0">
                  <a:pos x="71" y="655"/>
                </a:cxn>
                <a:cxn ang="0">
                  <a:pos x="82" y="686"/>
                </a:cxn>
                <a:cxn ang="0">
                  <a:pos x="84" y="711"/>
                </a:cxn>
                <a:cxn ang="0">
                  <a:pos x="75" y="746"/>
                </a:cxn>
                <a:cxn ang="0">
                  <a:pos x="38" y="807"/>
                </a:cxn>
                <a:cxn ang="0">
                  <a:pos x="8" y="869"/>
                </a:cxn>
                <a:cxn ang="0">
                  <a:pos x="0" y="907"/>
                </a:cxn>
                <a:cxn ang="0">
                  <a:pos x="4" y="931"/>
                </a:cxn>
                <a:cxn ang="0">
                  <a:pos x="15" y="936"/>
                </a:cxn>
                <a:cxn ang="0">
                  <a:pos x="20" y="922"/>
                </a:cxn>
                <a:cxn ang="0">
                  <a:pos x="29" y="905"/>
                </a:cxn>
                <a:cxn ang="0">
                  <a:pos x="42" y="904"/>
                </a:cxn>
                <a:cxn ang="0">
                  <a:pos x="51" y="913"/>
                </a:cxn>
                <a:cxn ang="0">
                  <a:pos x="62" y="918"/>
                </a:cxn>
                <a:cxn ang="0">
                  <a:pos x="71" y="916"/>
                </a:cxn>
                <a:cxn ang="0">
                  <a:pos x="84" y="902"/>
                </a:cxn>
                <a:cxn ang="0">
                  <a:pos x="95" y="885"/>
                </a:cxn>
                <a:cxn ang="0">
                  <a:pos x="109" y="884"/>
                </a:cxn>
                <a:cxn ang="0">
                  <a:pos x="138" y="891"/>
                </a:cxn>
                <a:cxn ang="0">
                  <a:pos x="160" y="914"/>
                </a:cxn>
                <a:cxn ang="0">
                  <a:pos x="173" y="920"/>
                </a:cxn>
                <a:cxn ang="0">
                  <a:pos x="185" y="911"/>
                </a:cxn>
                <a:cxn ang="0">
                  <a:pos x="196" y="887"/>
                </a:cxn>
                <a:cxn ang="0">
                  <a:pos x="213" y="873"/>
                </a:cxn>
                <a:cxn ang="0">
                  <a:pos x="236" y="869"/>
                </a:cxn>
                <a:cxn ang="0">
                  <a:pos x="251" y="878"/>
                </a:cxn>
                <a:cxn ang="0">
                  <a:pos x="256" y="893"/>
                </a:cxn>
                <a:cxn ang="0">
                  <a:pos x="269" y="885"/>
                </a:cxn>
                <a:cxn ang="0">
                  <a:pos x="278" y="862"/>
                </a:cxn>
                <a:cxn ang="0">
                  <a:pos x="285" y="836"/>
                </a:cxn>
                <a:cxn ang="0">
                  <a:pos x="294" y="827"/>
                </a:cxn>
                <a:cxn ang="0">
                  <a:pos x="307" y="829"/>
                </a:cxn>
                <a:cxn ang="0">
                  <a:pos x="312" y="827"/>
                </a:cxn>
                <a:cxn ang="0">
                  <a:pos x="320" y="840"/>
                </a:cxn>
                <a:cxn ang="0">
                  <a:pos x="325" y="849"/>
                </a:cxn>
                <a:cxn ang="0">
                  <a:pos x="345" y="860"/>
                </a:cxn>
                <a:cxn ang="0">
                  <a:pos x="361" y="849"/>
                </a:cxn>
                <a:cxn ang="0">
                  <a:pos x="367" y="816"/>
                </a:cxn>
                <a:cxn ang="0">
                  <a:pos x="374" y="806"/>
                </a:cxn>
                <a:cxn ang="0">
                  <a:pos x="385" y="804"/>
                </a:cxn>
                <a:cxn ang="0">
                  <a:pos x="396" y="793"/>
                </a:cxn>
                <a:cxn ang="0">
                  <a:pos x="401" y="778"/>
                </a:cxn>
                <a:cxn ang="0">
                  <a:pos x="418" y="766"/>
                </a:cxn>
                <a:cxn ang="0">
                  <a:pos x="432" y="755"/>
                </a:cxn>
                <a:cxn ang="0">
                  <a:pos x="443" y="727"/>
                </a:cxn>
                <a:cxn ang="0">
                  <a:pos x="445" y="675"/>
                </a:cxn>
                <a:cxn ang="0">
                  <a:pos x="469" y="678"/>
                </a:cxn>
                <a:cxn ang="0">
                  <a:pos x="489" y="684"/>
                </a:cxn>
                <a:cxn ang="0">
                  <a:pos x="514" y="666"/>
                </a:cxn>
                <a:cxn ang="0">
                  <a:pos x="530" y="646"/>
                </a:cxn>
                <a:cxn ang="0">
                  <a:pos x="541" y="626"/>
                </a:cxn>
                <a:cxn ang="0">
                  <a:pos x="543" y="595"/>
                </a:cxn>
              </a:cxnLst>
              <a:rect l="0" t="0" r="r" b="b"/>
              <a:pathLst>
                <a:path w="545" h="942">
                  <a:moveTo>
                    <a:pt x="470" y="0"/>
                  </a:moveTo>
                  <a:lnTo>
                    <a:pt x="140" y="32"/>
                  </a:lnTo>
                  <a:lnTo>
                    <a:pt x="115" y="49"/>
                  </a:lnTo>
                  <a:lnTo>
                    <a:pt x="106" y="54"/>
                  </a:lnTo>
                  <a:lnTo>
                    <a:pt x="97" y="61"/>
                  </a:lnTo>
                  <a:lnTo>
                    <a:pt x="86" y="67"/>
                  </a:lnTo>
                  <a:lnTo>
                    <a:pt x="80" y="67"/>
                  </a:lnTo>
                  <a:lnTo>
                    <a:pt x="75" y="69"/>
                  </a:lnTo>
                  <a:lnTo>
                    <a:pt x="73" y="69"/>
                  </a:lnTo>
                  <a:lnTo>
                    <a:pt x="60" y="67"/>
                  </a:lnTo>
                  <a:lnTo>
                    <a:pt x="55" y="67"/>
                  </a:lnTo>
                  <a:lnTo>
                    <a:pt x="49" y="65"/>
                  </a:lnTo>
                  <a:lnTo>
                    <a:pt x="44" y="63"/>
                  </a:lnTo>
                  <a:lnTo>
                    <a:pt x="38" y="61"/>
                  </a:lnTo>
                  <a:lnTo>
                    <a:pt x="35" y="58"/>
                  </a:lnTo>
                  <a:lnTo>
                    <a:pt x="31" y="52"/>
                  </a:lnTo>
                  <a:lnTo>
                    <a:pt x="31" y="67"/>
                  </a:lnTo>
                  <a:lnTo>
                    <a:pt x="31" y="72"/>
                  </a:lnTo>
                  <a:lnTo>
                    <a:pt x="75" y="564"/>
                  </a:lnTo>
                  <a:lnTo>
                    <a:pt x="68" y="571"/>
                  </a:lnTo>
                  <a:lnTo>
                    <a:pt x="66" y="575"/>
                  </a:lnTo>
                  <a:lnTo>
                    <a:pt x="64" y="580"/>
                  </a:lnTo>
                  <a:lnTo>
                    <a:pt x="62" y="590"/>
                  </a:lnTo>
                  <a:lnTo>
                    <a:pt x="62" y="600"/>
                  </a:lnTo>
                  <a:lnTo>
                    <a:pt x="62" y="620"/>
                  </a:lnTo>
                  <a:lnTo>
                    <a:pt x="66" y="639"/>
                  </a:lnTo>
                  <a:lnTo>
                    <a:pt x="71" y="655"/>
                  </a:lnTo>
                  <a:lnTo>
                    <a:pt x="75" y="666"/>
                  </a:lnTo>
                  <a:lnTo>
                    <a:pt x="78" y="677"/>
                  </a:lnTo>
                  <a:lnTo>
                    <a:pt x="82" y="686"/>
                  </a:lnTo>
                  <a:lnTo>
                    <a:pt x="84" y="695"/>
                  </a:lnTo>
                  <a:lnTo>
                    <a:pt x="84" y="704"/>
                  </a:lnTo>
                  <a:lnTo>
                    <a:pt x="84" y="711"/>
                  </a:lnTo>
                  <a:lnTo>
                    <a:pt x="84" y="718"/>
                  </a:lnTo>
                  <a:lnTo>
                    <a:pt x="80" y="731"/>
                  </a:lnTo>
                  <a:lnTo>
                    <a:pt x="75" y="746"/>
                  </a:lnTo>
                  <a:lnTo>
                    <a:pt x="66" y="760"/>
                  </a:lnTo>
                  <a:lnTo>
                    <a:pt x="49" y="789"/>
                  </a:lnTo>
                  <a:lnTo>
                    <a:pt x="38" y="807"/>
                  </a:lnTo>
                  <a:lnTo>
                    <a:pt x="28" y="827"/>
                  </a:lnTo>
                  <a:lnTo>
                    <a:pt x="17" y="847"/>
                  </a:lnTo>
                  <a:lnTo>
                    <a:pt x="8" y="869"/>
                  </a:lnTo>
                  <a:lnTo>
                    <a:pt x="2" y="889"/>
                  </a:lnTo>
                  <a:lnTo>
                    <a:pt x="0" y="898"/>
                  </a:lnTo>
                  <a:lnTo>
                    <a:pt x="0" y="907"/>
                  </a:lnTo>
                  <a:lnTo>
                    <a:pt x="0" y="918"/>
                  </a:lnTo>
                  <a:lnTo>
                    <a:pt x="4" y="929"/>
                  </a:lnTo>
                  <a:lnTo>
                    <a:pt x="4" y="931"/>
                  </a:lnTo>
                  <a:lnTo>
                    <a:pt x="8" y="936"/>
                  </a:lnTo>
                  <a:lnTo>
                    <a:pt x="13" y="942"/>
                  </a:lnTo>
                  <a:lnTo>
                    <a:pt x="15" y="936"/>
                  </a:lnTo>
                  <a:lnTo>
                    <a:pt x="17" y="933"/>
                  </a:lnTo>
                  <a:lnTo>
                    <a:pt x="19" y="927"/>
                  </a:lnTo>
                  <a:lnTo>
                    <a:pt x="20" y="922"/>
                  </a:lnTo>
                  <a:lnTo>
                    <a:pt x="22" y="914"/>
                  </a:lnTo>
                  <a:lnTo>
                    <a:pt x="26" y="909"/>
                  </a:lnTo>
                  <a:lnTo>
                    <a:pt x="29" y="905"/>
                  </a:lnTo>
                  <a:lnTo>
                    <a:pt x="35" y="904"/>
                  </a:lnTo>
                  <a:lnTo>
                    <a:pt x="38" y="904"/>
                  </a:lnTo>
                  <a:lnTo>
                    <a:pt x="42" y="904"/>
                  </a:lnTo>
                  <a:lnTo>
                    <a:pt x="46" y="905"/>
                  </a:lnTo>
                  <a:lnTo>
                    <a:pt x="49" y="911"/>
                  </a:lnTo>
                  <a:lnTo>
                    <a:pt x="51" y="913"/>
                  </a:lnTo>
                  <a:lnTo>
                    <a:pt x="55" y="914"/>
                  </a:lnTo>
                  <a:lnTo>
                    <a:pt x="58" y="916"/>
                  </a:lnTo>
                  <a:lnTo>
                    <a:pt x="62" y="918"/>
                  </a:lnTo>
                  <a:lnTo>
                    <a:pt x="64" y="916"/>
                  </a:lnTo>
                  <a:lnTo>
                    <a:pt x="68" y="916"/>
                  </a:lnTo>
                  <a:lnTo>
                    <a:pt x="71" y="916"/>
                  </a:lnTo>
                  <a:lnTo>
                    <a:pt x="77" y="913"/>
                  </a:lnTo>
                  <a:lnTo>
                    <a:pt x="80" y="907"/>
                  </a:lnTo>
                  <a:lnTo>
                    <a:pt x="84" y="902"/>
                  </a:lnTo>
                  <a:lnTo>
                    <a:pt x="87" y="894"/>
                  </a:lnTo>
                  <a:lnTo>
                    <a:pt x="89" y="889"/>
                  </a:lnTo>
                  <a:lnTo>
                    <a:pt x="95" y="885"/>
                  </a:lnTo>
                  <a:lnTo>
                    <a:pt x="100" y="882"/>
                  </a:lnTo>
                  <a:lnTo>
                    <a:pt x="102" y="882"/>
                  </a:lnTo>
                  <a:lnTo>
                    <a:pt x="109" y="884"/>
                  </a:lnTo>
                  <a:lnTo>
                    <a:pt x="122" y="885"/>
                  </a:lnTo>
                  <a:lnTo>
                    <a:pt x="133" y="889"/>
                  </a:lnTo>
                  <a:lnTo>
                    <a:pt x="138" y="891"/>
                  </a:lnTo>
                  <a:lnTo>
                    <a:pt x="146" y="896"/>
                  </a:lnTo>
                  <a:lnTo>
                    <a:pt x="153" y="907"/>
                  </a:lnTo>
                  <a:lnTo>
                    <a:pt x="160" y="914"/>
                  </a:lnTo>
                  <a:lnTo>
                    <a:pt x="164" y="918"/>
                  </a:lnTo>
                  <a:lnTo>
                    <a:pt x="167" y="920"/>
                  </a:lnTo>
                  <a:lnTo>
                    <a:pt x="173" y="920"/>
                  </a:lnTo>
                  <a:lnTo>
                    <a:pt x="178" y="920"/>
                  </a:lnTo>
                  <a:lnTo>
                    <a:pt x="182" y="916"/>
                  </a:lnTo>
                  <a:lnTo>
                    <a:pt x="185" y="911"/>
                  </a:lnTo>
                  <a:lnTo>
                    <a:pt x="189" y="905"/>
                  </a:lnTo>
                  <a:lnTo>
                    <a:pt x="195" y="893"/>
                  </a:lnTo>
                  <a:lnTo>
                    <a:pt x="196" y="887"/>
                  </a:lnTo>
                  <a:lnTo>
                    <a:pt x="200" y="884"/>
                  </a:lnTo>
                  <a:lnTo>
                    <a:pt x="205" y="876"/>
                  </a:lnTo>
                  <a:lnTo>
                    <a:pt x="213" y="873"/>
                  </a:lnTo>
                  <a:lnTo>
                    <a:pt x="222" y="871"/>
                  </a:lnTo>
                  <a:lnTo>
                    <a:pt x="229" y="869"/>
                  </a:lnTo>
                  <a:lnTo>
                    <a:pt x="236" y="869"/>
                  </a:lnTo>
                  <a:lnTo>
                    <a:pt x="242" y="871"/>
                  </a:lnTo>
                  <a:lnTo>
                    <a:pt x="247" y="874"/>
                  </a:lnTo>
                  <a:lnTo>
                    <a:pt x="251" y="878"/>
                  </a:lnTo>
                  <a:lnTo>
                    <a:pt x="253" y="880"/>
                  </a:lnTo>
                  <a:lnTo>
                    <a:pt x="254" y="885"/>
                  </a:lnTo>
                  <a:lnTo>
                    <a:pt x="256" y="893"/>
                  </a:lnTo>
                  <a:lnTo>
                    <a:pt x="262" y="891"/>
                  </a:lnTo>
                  <a:lnTo>
                    <a:pt x="267" y="885"/>
                  </a:lnTo>
                  <a:lnTo>
                    <a:pt x="269" y="885"/>
                  </a:lnTo>
                  <a:lnTo>
                    <a:pt x="273" y="878"/>
                  </a:lnTo>
                  <a:lnTo>
                    <a:pt x="276" y="871"/>
                  </a:lnTo>
                  <a:lnTo>
                    <a:pt x="278" y="862"/>
                  </a:lnTo>
                  <a:lnTo>
                    <a:pt x="280" y="853"/>
                  </a:lnTo>
                  <a:lnTo>
                    <a:pt x="282" y="844"/>
                  </a:lnTo>
                  <a:lnTo>
                    <a:pt x="285" y="836"/>
                  </a:lnTo>
                  <a:lnTo>
                    <a:pt x="289" y="833"/>
                  </a:lnTo>
                  <a:lnTo>
                    <a:pt x="291" y="829"/>
                  </a:lnTo>
                  <a:lnTo>
                    <a:pt x="294" y="827"/>
                  </a:lnTo>
                  <a:lnTo>
                    <a:pt x="298" y="824"/>
                  </a:lnTo>
                  <a:lnTo>
                    <a:pt x="302" y="835"/>
                  </a:lnTo>
                  <a:lnTo>
                    <a:pt x="307" y="829"/>
                  </a:lnTo>
                  <a:lnTo>
                    <a:pt x="309" y="827"/>
                  </a:lnTo>
                  <a:lnTo>
                    <a:pt x="311" y="827"/>
                  </a:lnTo>
                  <a:lnTo>
                    <a:pt x="312" y="827"/>
                  </a:lnTo>
                  <a:lnTo>
                    <a:pt x="314" y="829"/>
                  </a:lnTo>
                  <a:lnTo>
                    <a:pt x="318" y="835"/>
                  </a:lnTo>
                  <a:lnTo>
                    <a:pt x="320" y="840"/>
                  </a:lnTo>
                  <a:lnTo>
                    <a:pt x="322" y="845"/>
                  </a:lnTo>
                  <a:lnTo>
                    <a:pt x="323" y="847"/>
                  </a:lnTo>
                  <a:lnTo>
                    <a:pt x="325" y="849"/>
                  </a:lnTo>
                  <a:lnTo>
                    <a:pt x="334" y="856"/>
                  </a:lnTo>
                  <a:lnTo>
                    <a:pt x="340" y="858"/>
                  </a:lnTo>
                  <a:lnTo>
                    <a:pt x="345" y="860"/>
                  </a:lnTo>
                  <a:lnTo>
                    <a:pt x="351" y="858"/>
                  </a:lnTo>
                  <a:lnTo>
                    <a:pt x="360" y="856"/>
                  </a:lnTo>
                  <a:lnTo>
                    <a:pt x="361" y="849"/>
                  </a:lnTo>
                  <a:lnTo>
                    <a:pt x="361" y="842"/>
                  </a:lnTo>
                  <a:lnTo>
                    <a:pt x="365" y="824"/>
                  </a:lnTo>
                  <a:lnTo>
                    <a:pt x="367" y="816"/>
                  </a:lnTo>
                  <a:lnTo>
                    <a:pt x="371" y="809"/>
                  </a:lnTo>
                  <a:lnTo>
                    <a:pt x="372" y="807"/>
                  </a:lnTo>
                  <a:lnTo>
                    <a:pt x="374" y="806"/>
                  </a:lnTo>
                  <a:lnTo>
                    <a:pt x="378" y="804"/>
                  </a:lnTo>
                  <a:lnTo>
                    <a:pt x="381" y="804"/>
                  </a:lnTo>
                  <a:lnTo>
                    <a:pt x="385" y="804"/>
                  </a:lnTo>
                  <a:lnTo>
                    <a:pt x="389" y="806"/>
                  </a:lnTo>
                  <a:lnTo>
                    <a:pt x="392" y="800"/>
                  </a:lnTo>
                  <a:lnTo>
                    <a:pt x="396" y="793"/>
                  </a:lnTo>
                  <a:lnTo>
                    <a:pt x="398" y="784"/>
                  </a:lnTo>
                  <a:lnTo>
                    <a:pt x="400" y="780"/>
                  </a:lnTo>
                  <a:lnTo>
                    <a:pt x="401" y="778"/>
                  </a:lnTo>
                  <a:lnTo>
                    <a:pt x="405" y="775"/>
                  </a:lnTo>
                  <a:lnTo>
                    <a:pt x="409" y="771"/>
                  </a:lnTo>
                  <a:lnTo>
                    <a:pt x="418" y="766"/>
                  </a:lnTo>
                  <a:lnTo>
                    <a:pt x="425" y="762"/>
                  </a:lnTo>
                  <a:lnTo>
                    <a:pt x="429" y="758"/>
                  </a:lnTo>
                  <a:lnTo>
                    <a:pt x="432" y="755"/>
                  </a:lnTo>
                  <a:lnTo>
                    <a:pt x="438" y="746"/>
                  </a:lnTo>
                  <a:lnTo>
                    <a:pt x="441" y="737"/>
                  </a:lnTo>
                  <a:lnTo>
                    <a:pt x="443" y="727"/>
                  </a:lnTo>
                  <a:lnTo>
                    <a:pt x="445" y="717"/>
                  </a:lnTo>
                  <a:lnTo>
                    <a:pt x="445" y="695"/>
                  </a:lnTo>
                  <a:lnTo>
                    <a:pt x="445" y="675"/>
                  </a:lnTo>
                  <a:lnTo>
                    <a:pt x="450" y="675"/>
                  </a:lnTo>
                  <a:lnTo>
                    <a:pt x="459" y="677"/>
                  </a:lnTo>
                  <a:lnTo>
                    <a:pt x="469" y="678"/>
                  </a:lnTo>
                  <a:lnTo>
                    <a:pt x="478" y="682"/>
                  </a:lnTo>
                  <a:lnTo>
                    <a:pt x="485" y="684"/>
                  </a:lnTo>
                  <a:lnTo>
                    <a:pt x="489" y="684"/>
                  </a:lnTo>
                  <a:lnTo>
                    <a:pt x="496" y="680"/>
                  </a:lnTo>
                  <a:lnTo>
                    <a:pt x="507" y="673"/>
                  </a:lnTo>
                  <a:lnTo>
                    <a:pt x="514" y="666"/>
                  </a:lnTo>
                  <a:lnTo>
                    <a:pt x="521" y="660"/>
                  </a:lnTo>
                  <a:lnTo>
                    <a:pt x="527" y="653"/>
                  </a:lnTo>
                  <a:lnTo>
                    <a:pt x="530" y="646"/>
                  </a:lnTo>
                  <a:lnTo>
                    <a:pt x="536" y="640"/>
                  </a:lnTo>
                  <a:lnTo>
                    <a:pt x="539" y="633"/>
                  </a:lnTo>
                  <a:lnTo>
                    <a:pt x="541" y="626"/>
                  </a:lnTo>
                  <a:lnTo>
                    <a:pt x="543" y="619"/>
                  </a:lnTo>
                  <a:lnTo>
                    <a:pt x="545" y="606"/>
                  </a:lnTo>
                  <a:lnTo>
                    <a:pt x="543" y="595"/>
                  </a:lnTo>
                  <a:lnTo>
                    <a:pt x="541" y="584"/>
                  </a:lnTo>
                  <a:lnTo>
                    <a:pt x="470" y="0"/>
                  </a:lnTo>
                  <a:close/>
                </a:path>
              </a:pathLst>
            </a:custGeom>
            <a:solidFill>
              <a:srgbClr val="747480"/>
            </a:solidFill>
            <a:ln w="6350" cap="flat" cmpd="sng" algn="ctr">
              <a:solidFill>
                <a:srgbClr val="2E2E38"/>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646464"/>
                </a:solidFill>
                <a:effectLst/>
                <a:uLnTx/>
                <a:uFillTx/>
                <a:cs typeface="Times New Roman" panose="02020603050405020304" pitchFamily="18" charset="0"/>
              </a:endParaRPr>
            </a:p>
          </p:txBody>
        </p:sp>
        <p:sp>
          <p:nvSpPr>
            <p:cNvPr id="14" name="Freeform 21">
              <a:extLst>
                <a:ext uri="{FF2B5EF4-FFF2-40B4-BE49-F238E27FC236}">
                  <a16:creationId xmlns:a16="http://schemas.microsoft.com/office/drawing/2014/main" id="{6B138DE9-7E68-3B7A-C499-5C106C3C2926}"/>
                </a:ext>
              </a:extLst>
            </p:cNvPr>
            <p:cNvSpPr>
              <a:spLocks noEditPoints="1"/>
            </p:cNvSpPr>
            <p:nvPr/>
          </p:nvSpPr>
          <p:spPr bwMode="auto">
            <a:xfrm>
              <a:off x="5981089" y="4565372"/>
              <a:ext cx="363566" cy="350424"/>
            </a:xfrm>
            <a:custGeom>
              <a:avLst/>
              <a:gdLst/>
              <a:ahLst/>
              <a:cxnLst>
                <a:cxn ang="0">
                  <a:pos x="252" y="10"/>
                </a:cxn>
                <a:cxn ang="0">
                  <a:pos x="256" y="61"/>
                </a:cxn>
                <a:cxn ang="0">
                  <a:pos x="256" y="190"/>
                </a:cxn>
                <a:cxn ang="0">
                  <a:pos x="234" y="248"/>
                </a:cxn>
                <a:cxn ang="0">
                  <a:pos x="189" y="295"/>
                </a:cxn>
                <a:cxn ang="0">
                  <a:pos x="156" y="301"/>
                </a:cxn>
                <a:cxn ang="0">
                  <a:pos x="145" y="319"/>
                </a:cxn>
                <a:cxn ang="0">
                  <a:pos x="133" y="333"/>
                </a:cxn>
                <a:cxn ang="0">
                  <a:pos x="120" y="375"/>
                </a:cxn>
                <a:cxn ang="0">
                  <a:pos x="102" y="421"/>
                </a:cxn>
                <a:cxn ang="0">
                  <a:pos x="94" y="406"/>
                </a:cxn>
                <a:cxn ang="0">
                  <a:pos x="67" y="415"/>
                </a:cxn>
                <a:cxn ang="0">
                  <a:pos x="64" y="471"/>
                </a:cxn>
                <a:cxn ang="0">
                  <a:pos x="51" y="502"/>
                </a:cxn>
                <a:cxn ang="0">
                  <a:pos x="38" y="517"/>
                </a:cxn>
                <a:cxn ang="0">
                  <a:pos x="22" y="537"/>
                </a:cxn>
                <a:cxn ang="0">
                  <a:pos x="0" y="584"/>
                </a:cxn>
                <a:cxn ang="0">
                  <a:pos x="22" y="633"/>
                </a:cxn>
                <a:cxn ang="0">
                  <a:pos x="60" y="673"/>
                </a:cxn>
                <a:cxn ang="0">
                  <a:pos x="74" y="696"/>
                </a:cxn>
                <a:cxn ang="0">
                  <a:pos x="111" y="720"/>
                </a:cxn>
                <a:cxn ang="0">
                  <a:pos x="142" y="729"/>
                </a:cxn>
                <a:cxn ang="0">
                  <a:pos x="140" y="747"/>
                </a:cxn>
                <a:cxn ang="0">
                  <a:pos x="180" y="780"/>
                </a:cxn>
                <a:cxn ang="0">
                  <a:pos x="209" y="784"/>
                </a:cxn>
                <a:cxn ang="0">
                  <a:pos x="236" y="760"/>
                </a:cxn>
                <a:cxn ang="0">
                  <a:pos x="254" y="755"/>
                </a:cxn>
                <a:cxn ang="0">
                  <a:pos x="276" y="764"/>
                </a:cxn>
                <a:cxn ang="0">
                  <a:pos x="314" y="735"/>
                </a:cxn>
                <a:cxn ang="0">
                  <a:pos x="345" y="713"/>
                </a:cxn>
                <a:cxn ang="0">
                  <a:pos x="385" y="704"/>
                </a:cxn>
                <a:cxn ang="0">
                  <a:pos x="403" y="686"/>
                </a:cxn>
                <a:cxn ang="0">
                  <a:pos x="421" y="662"/>
                </a:cxn>
                <a:cxn ang="0">
                  <a:pos x="434" y="597"/>
                </a:cxn>
                <a:cxn ang="0">
                  <a:pos x="463" y="549"/>
                </a:cxn>
                <a:cxn ang="0">
                  <a:pos x="486" y="484"/>
                </a:cxn>
                <a:cxn ang="0">
                  <a:pos x="501" y="433"/>
                </a:cxn>
                <a:cxn ang="0">
                  <a:pos x="521" y="451"/>
                </a:cxn>
                <a:cxn ang="0">
                  <a:pos x="541" y="462"/>
                </a:cxn>
                <a:cxn ang="0">
                  <a:pos x="564" y="435"/>
                </a:cxn>
                <a:cxn ang="0">
                  <a:pos x="606" y="361"/>
                </a:cxn>
                <a:cxn ang="0">
                  <a:pos x="642" y="315"/>
                </a:cxn>
                <a:cxn ang="0">
                  <a:pos x="670" y="274"/>
                </a:cxn>
                <a:cxn ang="0">
                  <a:pos x="681" y="216"/>
                </a:cxn>
                <a:cxn ang="0">
                  <a:pos x="699" y="216"/>
                </a:cxn>
                <a:cxn ang="0">
                  <a:pos x="744" y="235"/>
                </a:cxn>
                <a:cxn ang="0">
                  <a:pos x="780" y="245"/>
                </a:cxn>
                <a:cxn ang="0">
                  <a:pos x="784" y="216"/>
                </a:cxn>
                <a:cxn ang="0">
                  <a:pos x="788" y="197"/>
                </a:cxn>
                <a:cxn ang="0">
                  <a:pos x="762" y="174"/>
                </a:cxn>
                <a:cxn ang="0">
                  <a:pos x="719" y="152"/>
                </a:cxn>
                <a:cxn ang="0">
                  <a:pos x="673" y="167"/>
                </a:cxn>
                <a:cxn ang="0">
                  <a:pos x="632" y="190"/>
                </a:cxn>
                <a:cxn ang="0">
                  <a:pos x="608" y="179"/>
                </a:cxn>
                <a:cxn ang="0">
                  <a:pos x="593" y="194"/>
                </a:cxn>
                <a:cxn ang="0">
                  <a:pos x="575" y="216"/>
                </a:cxn>
                <a:cxn ang="0">
                  <a:pos x="554" y="225"/>
                </a:cxn>
                <a:cxn ang="0">
                  <a:pos x="477" y="167"/>
                </a:cxn>
                <a:cxn ang="0">
                  <a:pos x="568" y="226"/>
                </a:cxn>
              </a:cxnLst>
              <a:rect l="0" t="0" r="r" b="b"/>
              <a:pathLst>
                <a:path w="793" h="785">
                  <a:moveTo>
                    <a:pt x="278" y="0"/>
                  </a:moveTo>
                  <a:lnTo>
                    <a:pt x="261" y="5"/>
                  </a:lnTo>
                  <a:lnTo>
                    <a:pt x="258" y="7"/>
                  </a:lnTo>
                  <a:lnTo>
                    <a:pt x="254" y="9"/>
                  </a:lnTo>
                  <a:lnTo>
                    <a:pt x="252" y="10"/>
                  </a:lnTo>
                  <a:lnTo>
                    <a:pt x="252" y="14"/>
                  </a:lnTo>
                  <a:lnTo>
                    <a:pt x="251" y="18"/>
                  </a:lnTo>
                  <a:lnTo>
                    <a:pt x="252" y="27"/>
                  </a:lnTo>
                  <a:lnTo>
                    <a:pt x="252" y="38"/>
                  </a:lnTo>
                  <a:lnTo>
                    <a:pt x="256" y="61"/>
                  </a:lnTo>
                  <a:lnTo>
                    <a:pt x="260" y="83"/>
                  </a:lnTo>
                  <a:lnTo>
                    <a:pt x="261" y="99"/>
                  </a:lnTo>
                  <a:lnTo>
                    <a:pt x="261" y="121"/>
                  </a:lnTo>
                  <a:lnTo>
                    <a:pt x="260" y="143"/>
                  </a:lnTo>
                  <a:lnTo>
                    <a:pt x="256" y="190"/>
                  </a:lnTo>
                  <a:lnTo>
                    <a:pt x="254" y="203"/>
                  </a:lnTo>
                  <a:lnTo>
                    <a:pt x="251" y="216"/>
                  </a:lnTo>
                  <a:lnTo>
                    <a:pt x="247" y="226"/>
                  </a:lnTo>
                  <a:lnTo>
                    <a:pt x="241" y="237"/>
                  </a:lnTo>
                  <a:lnTo>
                    <a:pt x="234" y="248"/>
                  </a:lnTo>
                  <a:lnTo>
                    <a:pt x="225" y="257"/>
                  </a:lnTo>
                  <a:lnTo>
                    <a:pt x="207" y="277"/>
                  </a:lnTo>
                  <a:lnTo>
                    <a:pt x="196" y="288"/>
                  </a:lnTo>
                  <a:lnTo>
                    <a:pt x="191" y="294"/>
                  </a:lnTo>
                  <a:lnTo>
                    <a:pt x="189" y="295"/>
                  </a:lnTo>
                  <a:lnTo>
                    <a:pt x="187" y="297"/>
                  </a:lnTo>
                  <a:lnTo>
                    <a:pt x="182" y="299"/>
                  </a:lnTo>
                  <a:lnTo>
                    <a:pt x="172" y="297"/>
                  </a:lnTo>
                  <a:lnTo>
                    <a:pt x="165" y="295"/>
                  </a:lnTo>
                  <a:lnTo>
                    <a:pt x="156" y="301"/>
                  </a:lnTo>
                  <a:lnTo>
                    <a:pt x="153" y="304"/>
                  </a:lnTo>
                  <a:lnTo>
                    <a:pt x="151" y="306"/>
                  </a:lnTo>
                  <a:lnTo>
                    <a:pt x="147" y="310"/>
                  </a:lnTo>
                  <a:lnTo>
                    <a:pt x="145" y="315"/>
                  </a:lnTo>
                  <a:lnTo>
                    <a:pt x="145" y="319"/>
                  </a:lnTo>
                  <a:lnTo>
                    <a:pt x="143" y="324"/>
                  </a:lnTo>
                  <a:lnTo>
                    <a:pt x="145" y="333"/>
                  </a:lnTo>
                  <a:lnTo>
                    <a:pt x="138" y="332"/>
                  </a:lnTo>
                  <a:lnTo>
                    <a:pt x="134" y="332"/>
                  </a:lnTo>
                  <a:lnTo>
                    <a:pt x="133" y="333"/>
                  </a:lnTo>
                  <a:lnTo>
                    <a:pt x="131" y="335"/>
                  </a:lnTo>
                  <a:lnTo>
                    <a:pt x="129" y="339"/>
                  </a:lnTo>
                  <a:lnTo>
                    <a:pt x="125" y="344"/>
                  </a:lnTo>
                  <a:lnTo>
                    <a:pt x="122" y="359"/>
                  </a:lnTo>
                  <a:lnTo>
                    <a:pt x="120" y="375"/>
                  </a:lnTo>
                  <a:lnTo>
                    <a:pt x="116" y="392"/>
                  </a:lnTo>
                  <a:lnTo>
                    <a:pt x="113" y="406"/>
                  </a:lnTo>
                  <a:lnTo>
                    <a:pt x="109" y="412"/>
                  </a:lnTo>
                  <a:lnTo>
                    <a:pt x="105" y="417"/>
                  </a:lnTo>
                  <a:lnTo>
                    <a:pt x="102" y="421"/>
                  </a:lnTo>
                  <a:lnTo>
                    <a:pt x="96" y="422"/>
                  </a:lnTo>
                  <a:lnTo>
                    <a:pt x="96" y="417"/>
                  </a:lnTo>
                  <a:lnTo>
                    <a:pt x="96" y="413"/>
                  </a:lnTo>
                  <a:lnTo>
                    <a:pt x="96" y="412"/>
                  </a:lnTo>
                  <a:lnTo>
                    <a:pt x="94" y="406"/>
                  </a:lnTo>
                  <a:lnTo>
                    <a:pt x="91" y="401"/>
                  </a:lnTo>
                  <a:lnTo>
                    <a:pt x="85" y="397"/>
                  </a:lnTo>
                  <a:lnTo>
                    <a:pt x="78" y="402"/>
                  </a:lnTo>
                  <a:lnTo>
                    <a:pt x="73" y="408"/>
                  </a:lnTo>
                  <a:lnTo>
                    <a:pt x="67" y="415"/>
                  </a:lnTo>
                  <a:lnTo>
                    <a:pt x="64" y="424"/>
                  </a:lnTo>
                  <a:lnTo>
                    <a:pt x="62" y="431"/>
                  </a:lnTo>
                  <a:lnTo>
                    <a:pt x="62" y="441"/>
                  </a:lnTo>
                  <a:lnTo>
                    <a:pt x="64" y="457"/>
                  </a:lnTo>
                  <a:lnTo>
                    <a:pt x="64" y="471"/>
                  </a:lnTo>
                  <a:lnTo>
                    <a:pt x="64" y="484"/>
                  </a:lnTo>
                  <a:lnTo>
                    <a:pt x="60" y="491"/>
                  </a:lnTo>
                  <a:lnTo>
                    <a:pt x="58" y="497"/>
                  </a:lnTo>
                  <a:lnTo>
                    <a:pt x="55" y="500"/>
                  </a:lnTo>
                  <a:lnTo>
                    <a:pt x="51" y="502"/>
                  </a:lnTo>
                  <a:lnTo>
                    <a:pt x="45" y="506"/>
                  </a:lnTo>
                  <a:lnTo>
                    <a:pt x="40" y="508"/>
                  </a:lnTo>
                  <a:lnTo>
                    <a:pt x="40" y="510"/>
                  </a:lnTo>
                  <a:lnTo>
                    <a:pt x="40" y="511"/>
                  </a:lnTo>
                  <a:lnTo>
                    <a:pt x="38" y="517"/>
                  </a:lnTo>
                  <a:lnTo>
                    <a:pt x="38" y="522"/>
                  </a:lnTo>
                  <a:lnTo>
                    <a:pt x="38" y="524"/>
                  </a:lnTo>
                  <a:lnTo>
                    <a:pt x="36" y="526"/>
                  </a:lnTo>
                  <a:lnTo>
                    <a:pt x="31" y="531"/>
                  </a:lnTo>
                  <a:lnTo>
                    <a:pt x="22" y="537"/>
                  </a:lnTo>
                  <a:lnTo>
                    <a:pt x="13" y="540"/>
                  </a:lnTo>
                  <a:lnTo>
                    <a:pt x="6" y="542"/>
                  </a:lnTo>
                  <a:lnTo>
                    <a:pt x="4" y="562"/>
                  </a:lnTo>
                  <a:lnTo>
                    <a:pt x="0" y="582"/>
                  </a:lnTo>
                  <a:lnTo>
                    <a:pt x="0" y="584"/>
                  </a:lnTo>
                  <a:lnTo>
                    <a:pt x="0" y="589"/>
                  </a:lnTo>
                  <a:lnTo>
                    <a:pt x="2" y="595"/>
                  </a:lnTo>
                  <a:lnTo>
                    <a:pt x="6" y="604"/>
                  </a:lnTo>
                  <a:lnTo>
                    <a:pt x="18" y="626"/>
                  </a:lnTo>
                  <a:lnTo>
                    <a:pt x="22" y="633"/>
                  </a:lnTo>
                  <a:lnTo>
                    <a:pt x="27" y="638"/>
                  </a:lnTo>
                  <a:lnTo>
                    <a:pt x="31" y="644"/>
                  </a:lnTo>
                  <a:lnTo>
                    <a:pt x="36" y="649"/>
                  </a:lnTo>
                  <a:lnTo>
                    <a:pt x="56" y="669"/>
                  </a:lnTo>
                  <a:lnTo>
                    <a:pt x="60" y="673"/>
                  </a:lnTo>
                  <a:lnTo>
                    <a:pt x="62" y="676"/>
                  </a:lnTo>
                  <a:lnTo>
                    <a:pt x="65" y="684"/>
                  </a:lnTo>
                  <a:lnTo>
                    <a:pt x="69" y="691"/>
                  </a:lnTo>
                  <a:lnTo>
                    <a:pt x="73" y="695"/>
                  </a:lnTo>
                  <a:lnTo>
                    <a:pt x="74" y="696"/>
                  </a:lnTo>
                  <a:lnTo>
                    <a:pt x="93" y="713"/>
                  </a:lnTo>
                  <a:lnTo>
                    <a:pt x="98" y="716"/>
                  </a:lnTo>
                  <a:lnTo>
                    <a:pt x="102" y="718"/>
                  </a:lnTo>
                  <a:lnTo>
                    <a:pt x="107" y="720"/>
                  </a:lnTo>
                  <a:lnTo>
                    <a:pt x="111" y="720"/>
                  </a:lnTo>
                  <a:lnTo>
                    <a:pt x="129" y="720"/>
                  </a:lnTo>
                  <a:lnTo>
                    <a:pt x="140" y="720"/>
                  </a:lnTo>
                  <a:lnTo>
                    <a:pt x="142" y="722"/>
                  </a:lnTo>
                  <a:lnTo>
                    <a:pt x="143" y="725"/>
                  </a:lnTo>
                  <a:lnTo>
                    <a:pt x="142" y="729"/>
                  </a:lnTo>
                  <a:lnTo>
                    <a:pt x="140" y="731"/>
                  </a:lnTo>
                  <a:lnTo>
                    <a:pt x="140" y="735"/>
                  </a:lnTo>
                  <a:lnTo>
                    <a:pt x="138" y="740"/>
                  </a:lnTo>
                  <a:lnTo>
                    <a:pt x="140" y="744"/>
                  </a:lnTo>
                  <a:lnTo>
                    <a:pt x="140" y="747"/>
                  </a:lnTo>
                  <a:lnTo>
                    <a:pt x="145" y="755"/>
                  </a:lnTo>
                  <a:lnTo>
                    <a:pt x="153" y="762"/>
                  </a:lnTo>
                  <a:lnTo>
                    <a:pt x="158" y="765"/>
                  </a:lnTo>
                  <a:lnTo>
                    <a:pt x="171" y="773"/>
                  </a:lnTo>
                  <a:lnTo>
                    <a:pt x="180" y="780"/>
                  </a:lnTo>
                  <a:lnTo>
                    <a:pt x="191" y="784"/>
                  </a:lnTo>
                  <a:lnTo>
                    <a:pt x="196" y="785"/>
                  </a:lnTo>
                  <a:lnTo>
                    <a:pt x="202" y="785"/>
                  </a:lnTo>
                  <a:lnTo>
                    <a:pt x="205" y="785"/>
                  </a:lnTo>
                  <a:lnTo>
                    <a:pt x="209" y="784"/>
                  </a:lnTo>
                  <a:lnTo>
                    <a:pt x="218" y="782"/>
                  </a:lnTo>
                  <a:lnTo>
                    <a:pt x="221" y="780"/>
                  </a:lnTo>
                  <a:lnTo>
                    <a:pt x="223" y="776"/>
                  </a:lnTo>
                  <a:lnTo>
                    <a:pt x="229" y="769"/>
                  </a:lnTo>
                  <a:lnTo>
                    <a:pt x="236" y="760"/>
                  </a:lnTo>
                  <a:lnTo>
                    <a:pt x="238" y="756"/>
                  </a:lnTo>
                  <a:lnTo>
                    <a:pt x="241" y="755"/>
                  </a:lnTo>
                  <a:lnTo>
                    <a:pt x="247" y="753"/>
                  </a:lnTo>
                  <a:lnTo>
                    <a:pt x="251" y="753"/>
                  </a:lnTo>
                  <a:lnTo>
                    <a:pt x="254" y="755"/>
                  </a:lnTo>
                  <a:lnTo>
                    <a:pt x="260" y="758"/>
                  </a:lnTo>
                  <a:lnTo>
                    <a:pt x="267" y="762"/>
                  </a:lnTo>
                  <a:lnTo>
                    <a:pt x="269" y="764"/>
                  </a:lnTo>
                  <a:lnTo>
                    <a:pt x="272" y="764"/>
                  </a:lnTo>
                  <a:lnTo>
                    <a:pt x="276" y="764"/>
                  </a:lnTo>
                  <a:lnTo>
                    <a:pt x="285" y="760"/>
                  </a:lnTo>
                  <a:lnTo>
                    <a:pt x="294" y="755"/>
                  </a:lnTo>
                  <a:lnTo>
                    <a:pt x="301" y="749"/>
                  </a:lnTo>
                  <a:lnTo>
                    <a:pt x="309" y="742"/>
                  </a:lnTo>
                  <a:lnTo>
                    <a:pt x="314" y="735"/>
                  </a:lnTo>
                  <a:lnTo>
                    <a:pt x="321" y="727"/>
                  </a:lnTo>
                  <a:lnTo>
                    <a:pt x="329" y="720"/>
                  </a:lnTo>
                  <a:lnTo>
                    <a:pt x="332" y="718"/>
                  </a:lnTo>
                  <a:lnTo>
                    <a:pt x="338" y="716"/>
                  </a:lnTo>
                  <a:lnTo>
                    <a:pt x="345" y="713"/>
                  </a:lnTo>
                  <a:lnTo>
                    <a:pt x="354" y="713"/>
                  </a:lnTo>
                  <a:lnTo>
                    <a:pt x="363" y="711"/>
                  </a:lnTo>
                  <a:lnTo>
                    <a:pt x="372" y="711"/>
                  </a:lnTo>
                  <a:lnTo>
                    <a:pt x="379" y="707"/>
                  </a:lnTo>
                  <a:lnTo>
                    <a:pt x="385" y="704"/>
                  </a:lnTo>
                  <a:lnTo>
                    <a:pt x="388" y="700"/>
                  </a:lnTo>
                  <a:lnTo>
                    <a:pt x="390" y="696"/>
                  </a:lnTo>
                  <a:lnTo>
                    <a:pt x="394" y="687"/>
                  </a:lnTo>
                  <a:lnTo>
                    <a:pt x="398" y="687"/>
                  </a:lnTo>
                  <a:lnTo>
                    <a:pt x="403" y="686"/>
                  </a:lnTo>
                  <a:lnTo>
                    <a:pt x="408" y="684"/>
                  </a:lnTo>
                  <a:lnTo>
                    <a:pt x="412" y="680"/>
                  </a:lnTo>
                  <a:lnTo>
                    <a:pt x="416" y="675"/>
                  </a:lnTo>
                  <a:lnTo>
                    <a:pt x="419" y="669"/>
                  </a:lnTo>
                  <a:lnTo>
                    <a:pt x="421" y="662"/>
                  </a:lnTo>
                  <a:lnTo>
                    <a:pt x="425" y="647"/>
                  </a:lnTo>
                  <a:lnTo>
                    <a:pt x="427" y="631"/>
                  </a:lnTo>
                  <a:lnTo>
                    <a:pt x="430" y="617"/>
                  </a:lnTo>
                  <a:lnTo>
                    <a:pt x="432" y="602"/>
                  </a:lnTo>
                  <a:lnTo>
                    <a:pt x="434" y="597"/>
                  </a:lnTo>
                  <a:lnTo>
                    <a:pt x="436" y="593"/>
                  </a:lnTo>
                  <a:lnTo>
                    <a:pt x="445" y="578"/>
                  </a:lnTo>
                  <a:lnTo>
                    <a:pt x="452" y="569"/>
                  </a:lnTo>
                  <a:lnTo>
                    <a:pt x="459" y="557"/>
                  </a:lnTo>
                  <a:lnTo>
                    <a:pt x="463" y="549"/>
                  </a:lnTo>
                  <a:lnTo>
                    <a:pt x="466" y="540"/>
                  </a:lnTo>
                  <a:lnTo>
                    <a:pt x="468" y="531"/>
                  </a:lnTo>
                  <a:lnTo>
                    <a:pt x="472" y="520"/>
                  </a:lnTo>
                  <a:lnTo>
                    <a:pt x="479" y="502"/>
                  </a:lnTo>
                  <a:lnTo>
                    <a:pt x="486" y="484"/>
                  </a:lnTo>
                  <a:lnTo>
                    <a:pt x="490" y="473"/>
                  </a:lnTo>
                  <a:lnTo>
                    <a:pt x="492" y="464"/>
                  </a:lnTo>
                  <a:lnTo>
                    <a:pt x="495" y="448"/>
                  </a:lnTo>
                  <a:lnTo>
                    <a:pt x="497" y="439"/>
                  </a:lnTo>
                  <a:lnTo>
                    <a:pt x="501" y="433"/>
                  </a:lnTo>
                  <a:lnTo>
                    <a:pt x="503" y="431"/>
                  </a:lnTo>
                  <a:lnTo>
                    <a:pt x="506" y="433"/>
                  </a:lnTo>
                  <a:lnTo>
                    <a:pt x="510" y="437"/>
                  </a:lnTo>
                  <a:lnTo>
                    <a:pt x="517" y="446"/>
                  </a:lnTo>
                  <a:lnTo>
                    <a:pt x="521" y="451"/>
                  </a:lnTo>
                  <a:lnTo>
                    <a:pt x="526" y="457"/>
                  </a:lnTo>
                  <a:lnTo>
                    <a:pt x="532" y="461"/>
                  </a:lnTo>
                  <a:lnTo>
                    <a:pt x="535" y="461"/>
                  </a:lnTo>
                  <a:lnTo>
                    <a:pt x="539" y="462"/>
                  </a:lnTo>
                  <a:lnTo>
                    <a:pt x="541" y="462"/>
                  </a:lnTo>
                  <a:lnTo>
                    <a:pt x="544" y="461"/>
                  </a:lnTo>
                  <a:lnTo>
                    <a:pt x="548" y="459"/>
                  </a:lnTo>
                  <a:lnTo>
                    <a:pt x="554" y="453"/>
                  </a:lnTo>
                  <a:lnTo>
                    <a:pt x="557" y="448"/>
                  </a:lnTo>
                  <a:lnTo>
                    <a:pt x="564" y="435"/>
                  </a:lnTo>
                  <a:lnTo>
                    <a:pt x="570" y="419"/>
                  </a:lnTo>
                  <a:lnTo>
                    <a:pt x="579" y="384"/>
                  </a:lnTo>
                  <a:lnTo>
                    <a:pt x="586" y="359"/>
                  </a:lnTo>
                  <a:lnTo>
                    <a:pt x="597" y="361"/>
                  </a:lnTo>
                  <a:lnTo>
                    <a:pt x="606" y="361"/>
                  </a:lnTo>
                  <a:lnTo>
                    <a:pt x="613" y="355"/>
                  </a:lnTo>
                  <a:lnTo>
                    <a:pt x="619" y="350"/>
                  </a:lnTo>
                  <a:lnTo>
                    <a:pt x="626" y="343"/>
                  </a:lnTo>
                  <a:lnTo>
                    <a:pt x="637" y="324"/>
                  </a:lnTo>
                  <a:lnTo>
                    <a:pt x="642" y="315"/>
                  </a:lnTo>
                  <a:lnTo>
                    <a:pt x="644" y="312"/>
                  </a:lnTo>
                  <a:lnTo>
                    <a:pt x="648" y="308"/>
                  </a:lnTo>
                  <a:lnTo>
                    <a:pt x="661" y="288"/>
                  </a:lnTo>
                  <a:lnTo>
                    <a:pt x="666" y="281"/>
                  </a:lnTo>
                  <a:lnTo>
                    <a:pt x="670" y="274"/>
                  </a:lnTo>
                  <a:lnTo>
                    <a:pt x="672" y="266"/>
                  </a:lnTo>
                  <a:lnTo>
                    <a:pt x="673" y="257"/>
                  </a:lnTo>
                  <a:lnTo>
                    <a:pt x="677" y="237"/>
                  </a:lnTo>
                  <a:lnTo>
                    <a:pt x="679" y="225"/>
                  </a:lnTo>
                  <a:lnTo>
                    <a:pt x="681" y="216"/>
                  </a:lnTo>
                  <a:lnTo>
                    <a:pt x="684" y="210"/>
                  </a:lnTo>
                  <a:lnTo>
                    <a:pt x="686" y="210"/>
                  </a:lnTo>
                  <a:lnTo>
                    <a:pt x="690" y="210"/>
                  </a:lnTo>
                  <a:lnTo>
                    <a:pt x="691" y="212"/>
                  </a:lnTo>
                  <a:lnTo>
                    <a:pt x="699" y="216"/>
                  </a:lnTo>
                  <a:lnTo>
                    <a:pt x="708" y="223"/>
                  </a:lnTo>
                  <a:lnTo>
                    <a:pt x="717" y="230"/>
                  </a:lnTo>
                  <a:lnTo>
                    <a:pt x="724" y="234"/>
                  </a:lnTo>
                  <a:lnTo>
                    <a:pt x="730" y="235"/>
                  </a:lnTo>
                  <a:lnTo>
                    <a:pt x="744" y="235"/>
                  </a:lnTo>
                  <a:lnTo>
                    <a:pt x="757" y="237"/>
                  </a:lnTo>
                  <a:lnTo>
                    <a:pt x="762" y="237"/>
                  </a:lnTo>
                  <a:lnTo>
                    <a:pt x="770" y="239"/>
                  </a:lnTo>
                  <a:lnTo>
                    <a:pt x="775" y="241"/>
                  </a:lnTo>
                  <a:lnTo>
                    <a:pt x="780" y="245"/>
                  </a:lnTo>
                  <a:lnTo>
                    <a:pt x="782" y="239"/>
                  </a:lnTo>
                  <a:lnTo>
                    <a:pt x="784" y="232"/>
                  </a:lnTo>
                  <a:lnTo>
                    <a:pt x="784" y="230"/>
                  </a:lnTo>
                  <a:lnTo>
                    <a:pt x="784" y="219"/>
                  </a:lnTo>
                  <a:lnTo>
                    <a:pt x="784" y="216"/>
                  </a:lnTo>
                  <a:lnTo>
                    <a:pt x="786" y="212"/>
                  </a:lnTo>
                  <a:lnTo>
                    <a:pt x="789" y="205"/>
                  </a:lnTo>
                  <a:lnTo>
                    <a:pt x="791" y="203"/>
                  </a:lnTo>
                  <a:lnTo>
                    <a:pt x="793" y="201"/>
                  </a:lnTo>
                  <a:lnTo>
                    <a:pt x="788" y="197"/>
                  </a:lnTo>
                  <a:lnTo>
                    <a:pt x="784" y="194"/>
                  </a:lnTo>
                  <a:lnTo>
                    <a:pt x="780" y="188"/>
                  </a:lnTo>
                  <a:lnTo>
                    <a:pt x="775" y="183"/>
                  </a:lnTo>
                  <a:lnTo>
                    <a:pt x="770" y="179"/>
                  </a:lnTo>
                  <a:lnTo>
                    <a:pt x="762" y="174"/>
                  </a:lnTo>
                  <a:lnTo>
                    <a:pt x="750" y="167"/>
                  </a:lnTo>
                  <a:lnTo>
                    <a:pt x="733" y="157"/>
                  </a:lnTo>
                  <a:lnTo>
                    <a:pt x="726" y="154"/>
                  </a:lnTo>
                  <a:lnTo>
                    <a:pt x="722" y="152"/>
                  </a:lnTo>
                  <a:lnTo>
                    <a:pt x="719" y="152"/>
                  </a:lnTo>
                  <a:lnTo>
                    <a:pt x="715" y="152"/>
                  </a:lnTo>
                  <a:lnTo>
                    <a:pt x="708" y="154"/>
                  </a:lnTo>
                  <a:lnTo>
                    <a:pt x="699" y="156"/>
                  </a:lnTo>
                  <a:lnTo>
                    <a:pt x="682" y="163"/>
                  </a:lnTo>
                  <a:lnTo>
                    <a:pt x="673" y="167"/>
                  </a:lnTo>
                  <a:lnTo>
                    <a:pt x="664" y="170"/>
                  </a:lnTo>
                  <a:lnTo>
                    <a:pt x="652" y="179"/>
                  </a:lnTo>
                  <a:lnTo>
                    <a:pt x="642" y="186"/>
                  </a:lnTo>
                  <a:lnTo>
                    <a:pt x="637" y="188"/>
                  </a:lnTo>
                  <a:lnTo>
                    <a:pt x="632" y="190"/>
                  </a:lnTo>
                  <a:lnTo>
                    <a:pt x="626" y="188"/>
                  </a:lnTo>
                  <a:lnTo>
                    <a:pt x="621" y="186"/>
                  </a:lnTo>
                  <a:lnTo>
                    <a:pt x="617" y="183"/>
                  </a:lnTo>
                  <a:lnTo>
                    <a:pt x="613" y="179"/>
                  </a:lnTo>
                  <a:lnTo>
                    <a:pt x="608" y="179"/>
                  </a:lnTo>
                  <a:lnTo>
                    <a:pt x="606" y="179"/>
                  </a:lnTo>
                  <a:lnTo>
                    <a:pt x="601" y="181"/>
                  </a:lnTo>
                  <a:lnTo>
                    <a:pt x="599" y="183"/>
                  </a:lnTo>
                  <a:lnTo>
                    <a:pt x="597" y="186"/>
                  </a:lnTo>
                  <a:lnTo>
                    <a:pt x="593" y="194"/>
                  </a:lnTo>
                  <a:lnTo>
                    <a:pt x="590" y="203"/>
                  </a:lnTo>
                  <a:lnTo>
                    <a:pt x="586" y="210"/>
                  </a:lnTo>
                  <a:lnTo>
                    <a:pt x="581" y="216"/>
                  </a:lnTo>
                  <a:lnTo>
                    <a:pt x="577" y="217"/>
                  </a:lnTo>
                  <a:lnTo>
                    <a:pt x="575" y="216"/>
                  </a:lnTo>
                  <a:lnTo>
                    <a:pt x="574" y="216"/>
                  </a:lnTo>
                  <a:lnTo>
                    <a:pt x="572" y="216"/>
                  </a:lnTo>
                  <a:lnTo>
                    <a:pt x="566" y="216"/>
                  </a:lnTo>
                  <a:lnTo>
                    <a:pt x="559" y="219"/>
                  </a:lnTo>
                  <a:lnTo>
                    <a:pt x="554" y="225"/>
                  </a:lnTo>
                  <a:lnTo>
                    <a:pt x="541" y="235"/>
                  </a:lnTo>
                  <a:lnTo>
                    <a:pt x="530" y="248"/>
                  </a:lnTo>
                  <a:lnTo>
                    <a:pt x="521" y="261"/>
                  </a:lnTo>
                  <a:lnTo>
                    <a:pt x="497" y="283"/>
                  </a:lnTo>
                  <a:lnTo>
                    <a:pt x="477" y="167"/>
                  </a:lnTo>
                  <a:lnTo>
                    <a:pt x="310" y="199"/>
                  </a:lnTo>
                  <a:lnTo>
                    <a:pt x="278" y="0"/>
                  </a:lnTo>
                  <a:close/>
                  <a:moveTo>
                    <a:pt x="568" y="226"/>
                  </a:moveTo>
                  <a:lnTo>
                    <a:pt x="566" y="226"/>
                  </a:lnTo>
                  <a:lnTo>
                    <a:pt x="568" y="226"/>
                  </a:lnTo>
                  <a:close/>
                </a:path>
              </a:pathLst>
            </a:custGeom>
            <a:solidFill>
              <a:srgbClr val="FFE600"/>
            </a:solidFill>
            <a:ln w="6350" cap="flat" cmpd="sng" algn="ctr">
              <a:solidFill>
                <a:srgbClr val="2E2E38"/>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646464"/>
                </a:solidFill>
                <a:effectLst/>
                <a:uLnTx/>
                <a:uFillTx/>
                <a:cs typeface="Times New Roman" panose="02020603050405020304" pitchFamily="18" charset="0"/>
              </a:endParaRPr>
            </a:p>
          </p:txBody>
        </p:sp>
        <p:sp>
          <p:nvSpPr>
            <p:cNvPr id="15" name="Freeform 24">
              <a:extLst>
                <a:ext uri="{FF2B5EF4-FFF2-40B4-BE49-F238E27FC236}">
                  <a16:creationId xmlns:a16="http://schemas.microsoft.com/office/drawing/2014/main" id="{907F3CFA-EEAF-96F0-C92D-4A9C39053E9D}"/>
                </a:ext>
              </a:extLst>
            </p:cNvPr>
            <p:cNvSpPr>
              <a:spLocks noEditPoints="1"/>
            </p:cNvSpPr>
            <p:nvPr/>
          </p:nvSpPr>
          <p:spPr bwMode="auto">
            <a:xfrm>
              <a:off x="5618439" y="4107058"/>
              <a:ext cx="314114" cy="406598"/>
            </a:xfrm>
            <a:custGeom>
              <a:avLst/>
              <a:gdLst/>
              <a:ahLst/>
              <a:cxnLst>
                <a:cxn ang="0">
                  <a:pos x="183" y="40"/>
                </a:cxn>
                <a:cxn ang="0">
                  <a:pos x="216" y="78"/>
                </a:cxn>
                <a:cxn ang="0">
                  <a:pos x="191" y="92"/>
                </a:cxn>
                <a:cxn ang="0">
                  <a:pos x="158" y="107"/>
                </a:cxn>
                <a:cxn ang="0">
                  <a:pos x="158" y="156"/>
                </a:cxn>
                <a:cxn ang="0">
                  <a:pos x="165" y="197"/>
                </a:cxn>
                <a:cxn ang="0">
                  <a:pos x="151" y="219"/>
                </a:cxn>
                <a:cxn ang="0">
                  <a:pos x="134" y="219"/>
                </a:cxn>
                <a:cxn ang="0">
                  <a:pos x="127" y="203"/>
                </a:cxn>
                <a:cxn ang="0">
                  <a:pos x="127" y="154"/>
                </a:cxn>
                <a:cxn ang="0">
                  <a:pos x="120" y="136"/>
                </a:cxn>
                <a:cxn ang="0">
                  <a:pos x="98" y="181"/>
                </a:cxn>
                <a:cxn ang="0">
                  <a:pos x="71" y="194"/>
                </a:cxn>
                <a:cxn ang="0">
                  <a:pos x="62" y="210"/>
                </a:cxn>
                <a:cxn ang="0">
                  <a:pos x="47" y="239"/>
                </a:cxn>
                <a:cxn ang="0">
                  <a:pos x="36" y="255"/>
                </a:cxn>
                <a:cxn ang="0">
                  <a:pos x="35" y="326"/>
                </a:cxn>
                <a:cxn ang="0">
                  <a:pos x="7" y="408"/>
                </a:cxn>
                <a:cxn ang="0">
                  <a:pos x="20" y="473"/>
                </a:cxn>
                <a:cxn ang="0">
                  <a:pos x="18" y="520"/>
                </a:cxn>
                <a:cxn ang="0">
                  <a:pos x="64" y="609"/>
                </a:cxn>
                <a:cxn ang="0">
                  <a:pos x="78" y="755"/>
                </a:cxn>
                <a:cxn ang="0">
                  <a:pos x="58" y="809"/>
                </a:cxn>
                <a:cxn ang="0">
                  <a:pos x="44" y="851"/>
                </a:cxn>
                <a:cxn ang="0">
                  <a:pos x="11" y="903"/>
                </a:cxn>
                <a:cxn ang="0">
                  <a:pos x="552" y="843"/>
                </a:cxn>
                <a:cxn ang="0">
                  <a:pos x="586" y="798"/>
                </a:cxn>
                <a:cxn ang="0">
                  <a:pos x="592" y="773"/>
                </a:cxn>
                <a:cxn ang="0">
                  <a:pos x="592" y="738"/>
                </a:cxn>
                <a:cxn ang="0">
                  <a:pos x="624" y="706"/>
                </a:cxn>
                <a:cxn ang="0">
                  <a:pos x="628" y="653"/>
                </a:cxn>
                <a:cxn ang="0">
                  <a:pos x="653" y="637"/>
                </a:cxn>
                <a:cxn ang="0">
                  <a:pos x="664" y="660"/>
                </a:cxn>
                <a:cxn ang="0">
                  <a:pos x="682" y="600"/>
                </a:cxn>
                <a:cxn ang="0">
                  <a:pos x="684" y="540"/>
                </a:cxn>
                <a:cxn ang="0">
                  <a:pos x="664" y="519"/>
                </a:cxn>
                <a:cxn ang="0">
                  <a:pos x="641" y="448"/>
                </a:cxn>
                <a:cxn ang="0">
                  <a:pos x="637" y="401"/>
                </a:cxn>
                <a:cxn ang="0">
                  <a:pos x="593" y="344"/>
                </a:cxn>
                <a:cxn ang="0">
                  <a:pos x="548" y="352"/>
                </a:cxn>
                <a:cxn ang="0">
                  <a:pos x="512" y="370"/>
                </a:cxn>
                <a:cxn ang="0">
                  <a:pos x="481" y="430"/>
                </a:cxn>
                <a:cxn ang="0">
                  <a:pos x="428" y="442"/>
                </a:cxn>
                <a:cxn ang="0">
                  <a:pos x="423" y="383"/>
                </a:cxn>
                <a:cxn ang="0">
                  <a:pos x="461" y="344"/>
                </a:cxn>
                <a:cxn ang="0">
                  <a:pos x="481" y="295"/>
                </a:cxn>
                <a:cxn ang="0">
                  <a:pos x="494" y="252"/>
                </a:cxn>
                <a:cxn ang="0">
                  <a:pos x="486" y="172"/>
                </a:cxn>
                <a:cxn ang="0">
                  <a:pos x="459" y="128"/>
                </a:cxn>
                <a:cxn ang="0">
                  <a:pos x="481" y="119"/>
                </a:cxn>
                <a:cxn ang="0">
                  <a:pos x="434" y="69"/>
                </a:cxn>
                <a:cxn ang="0">
                  <a:pos x="405" y="59"/>
                </a:cxn>
                <a:cxn ang="0">
                  <a:pos x="358" y="43"/>
                </a:cxn>
                <a:cxn ang="0">
                  <a:pos x="336" y="25"/>
                </a:cxn>
                <a:cxn ang="0">
                  <a:pos x="294" y="16"/>
                </a:cxn>
                <a:cxn ang="0">
                  <a:pos x="252" y="1"/>
                </a:cxn>
              </a:cxnLst>
              <a:rect l="0" t="0" r="r" b="b"/>
              <a:pathLst>
                <a:path w="686" h="912">
                  <a:moveTo>
                    <a:pt x="227" y="0"/>
                  </a:moveTo>
                  <a:lnTo>
                    <a:pt x="221" y="1"/>
                  </a:lnTo>
                  <a:lnTo>
                    <a:pt x="216" y="1"/>
                  </a:lnTo>
                  <a:lnTo>
                    <a:pt x="207" y="7"/>
                  </a:lnTo>
                  <a:lnTo>
                    <a:pt x="198" y="14"/>
                  </a:lnTo>
                  <a:lnTo>
                    <a:pt x="191" y="23"/>
                  </a:lnTo>
                  <a:lnTo>
                    <a:pt x="185" y="34"/>
                  </a:lnTo>
                  <a:lnTo>
                    <a:pt x="183" y="40"/>
                  </a:lnTo>
                  <a:lnTo>
                    <a:pt x="182" y="45"/>
                  </a:lnTo>
                  <a:lnTo>
                    <a:pt x="183" y="50"/>
                  </a:lnTo>
                  <a:lnTo>
                    <a:pt x="185" y="56"/>
                  </a:lnTo>
                  <a:lnTo>
                    <a:pt x="191" y="61"/>
                  </a:lnTo>
                  <a:lnTo>
                    <a:pt x="196" y="65"/>
                  </a:lnTo>
                  <a:lnTo>
                    <a:pt x="211" y="74"/>
                  </a:lnTo>
                  <a:lnTo>
                    <a:pt x="212" y="76"/>
                  </a:lnTo>
                  <a:lnTo>
                    <a:pt x="216" y="78"/>
                  </a:lnTo>
                  <a:lnTo>
                    <a:pt x="216" y="79"/>
                  </a:lnTo>
                  <a:lnTo>
                    <a:pt x="218" y="83"/>
                  </a:lnTo>
                  <a:lnTo>
                    <a:pt x="216" y="85"/>
                  </a:lnTo>
                  <a:lnTo>
                    <a:pt x="214" y="87"/>
                  </a:lnTo>
                  <a:lnTo>
                    <a:pt x="211" y="90"/>
                  </a:lnTo>
                  <a:lnTo>
                    <a:pt x="205" y="92"/>
                  </a:lnTo>
                  <a:lnTo>
                    <a:pt x="200" y="94"/>
                  </a:lnTo>
                  <a:lnTo>
                    <a:pt x="191" y="92"/>
                  </a:lnTo>
                  <a:lnTo>
                    <a:pt x="187" y="92"/>
                  </a:lnTo>
                  <a:lnTo>
                    <a:pt x="183" y="90"/>
                  </a:lnTo>
                  <a:lnTo>
                    <a:pt x="182" y="90"/>
                  </a:lnTo>
                  <a:lnTo>
                    <a:pt x="174" y="92"/>
                  </a:lnTo>
                  <a:lnTo>
                    <a:pt x="171" y="94"/>
                  </a:lnTo>
                  <a:lnTo>
                    <a:pt x="169" y="98"/>
                  </a:lnTo>
                  <a:lnTo>
                    <a:pt x="162" y="101"/>
                  </a:lnTo>
                  <a:lnTo>
                    <a:pt x="158" y="107"/>
                  </a:lnTo>
                  <a:lnTo>
                    <a:pt x="154" y="112"/>
                  </a:lnTo>
                  <a:lnTo>
                    <a:pt x="151" y="119"/>
                  </a:lnTo>
                  <a:lnTo>
                    <a:pt x="149" y="127"/>
                  </a:lnTo>
                  <a:lnTo>
                    <a:pt x="149" y="134"/>
                  </a:lnTo>
                  <a:lnTo>
                    <a:pt x="149" y="141"/>
                  </a:lnTo>
                  <a:lnTo>
                    <a:pt x="153" y="148"/>
                  </a:lnTo>
                  <a:lnTo>
                    <a:pt x="154" y="152"/>
                  </a:lnTo>
                  <a:lnTo>
                    <a:pt x="158" y="156"/>
                  </a:lnTo>
                  <a:lnTo>
                    <a:pt x="165" y="165"/>
                  </a:lnTo>
                  <a:lnTo>
                    <a:pt x="171" y="176"/>
                  </a:lnTo>
                  <a:lnTo>
                    <a:pt x="174" y="179"/>
                  </a:lnTo>
                  <a:lnTo>
                    <a:pt x="174" y="185"/>
                  </a:lnTo>
                  <a:lnTo>
                    <a:pt x="172" y="190"/>
                  </a:lnTo>
                  <a:lnTo>
                    <a:pt x="171" y="194"/>
                  </a:lnTo>
                  <a:lnTo>
                    <a:pt x="169" y="196"/>
                  </a:lnTo>
                  <a:lnTo>
                    <a:pt x="165" y="197"/>
                  </a:lnTo>
                  <a:lnTo>
                    <a:pt x="163" y="197"/>
                  </a:lnTo>
                  <a:lnTo>
                    <a:pt x="162" y="197"/>
                  </a:lnTo>
                  <a:lnTo>
                    <a:pt x="158" y="197"/>
                  </a:lnTo>
                  <a:lnTo>
                    <a:pt x="154" y="201"/>
                  </a:lnTo>
                  <a:lnTo>
                    <a:pt x="153" y="205"/>
                  </a:lnTo>
                  <a:lnTo>
                    <a:pt x="153" y="206"/>
                  </a:lnTo>
                  <a:lnTo>
                    <a:pt x="153" y="212"/>
                  </a:lnTo>
                  <a:lnTo>
                    <a:pt x="151" y="219"/>
                  </a:lnTo>
                  <a:lnTo>
                    <a:pt x="149" y="221"/>
                  </a:lnTo>
                  <a:lnTo>
                    <a:pt x="147" y="223"/>
                  </a:lnTo>
                  <a:lnTo>
                    <a:pt x="145" y="221"/>
                  </a:lnTo>
                  <a:lnTo>
                    <a:pt x="143" y="217"/>
                  </a:lnTo>
                  <a:lnTo>
                    <a:pt x="143" y="212"/>
                  </a:lnTo>
                  <a:lnTo>
                    <a:pt x="142" y="208"/>
                  </a:lnTo>
                  <a:lnTo>
                    <a:pt x="138" y="206"/>
                  </a:lnTo>
                  <a:lnTo>
                    <a:pt x="134" y="219"/>
                  </a:lnTo>
                  <a:lnTo>
                    <a:pt x="133" y="226"/>
                  </a:lnTo>
                  <a:lnTo>
                    <a:pt x="131" y="228"/>
                  </a:lnTo>
                  <a:lnTo>
                    <a:pt x="129" y="230"/>
                  </a:lnTo>
                  <a:lnTo>
                    <a:pt x="125" y="226"/>
                  </a:lnTo>
                  <a:lnTo>
                    <a:pt x="125" y="223"/>
                  </a:lnTo>
                  <a:lnTo>
                    <a:pt x="125" y="210"/>
                  </a:lnTo>
                  <a:lnTo>
                    <a:pt x="127" y="205"/>
                  </a:lnTo>
                  <a:lnTo>
                    <a:pt x="127" y="203"/>
                  </a:lnTo>
                  <a:lnTo>
                    <a:pt x="127" y="201"/>
                  </a:lnTo>
                  <a:lnTo>
                    <a:pt x="125" y="194"/>
                  </a:lnTo>
                  <a:lnTo>
                    <a:pt x="123" y="185"/>
                  </a:lnTo>
                  <a:lnTo>
                    <a:pt x="125" y="177"/>
                  </a:lnTo>
                  <a:lnTo>
                    <a:pt x="127" y="170"/>
                  </a:lnTo>
                  <a:lnTo>
                    <a:pt x="127" y="168"/>
                  </a:lnTo>
                  <a:lnTo>
                    <a:pt x="127" y="157"/>
                  </a:lnTo>
                  <a:lnTo>
                    <a:pt x="127" y="154"/>
                  </a:lnTo>
                  <a:lnTo>
                    <a:pt x="127" y="150"/>
                  </a:lnTo>
                  <a:lnTo>
                    <a:pt x="129" y="145"/>
                  </a:lnTo>
                  <a:lnTo>
                    <a:pt x="131" y="139"/>
                  </a:lnTo>
                  <a:lnTo>
                    <a:pt x="131" y="138"/>
                  </a:lnTo>
                  <a:lnTo>
                    <a:pt x="129" y="136"/>
                  </a:lnTo>
                  <a:lnTo>
                    <a:pt x="127" y="136"/>
                  </a:lnTo>
                  <a:lnTo>
                    <a:pt x="123" y="134"/>
                  </a:lnTo>
                  <a:lnTo>
                    <a:pt x="120" y="136"/>
                  </a:lnTo>
                  <a:lnTo>
                    <a:pt x="118" y="136"/>
                  </a:lnTo>
                  <a:lnTo>
                    <a:pt x="116" y="138"/>
                  </a:lnTo>
                  <a:lnTo>
                    <a:pt x="113" y="141"/>
                  </a:lnTo>
                  <a:lnTo>
                    <a:pt x="109" y="147"/>
                  </a:lnTo>
                  <a:lnTo>
                    <a:pt x="107" y="154"/>
                  </a:lnTo>
                  <a:lnTo>
                    <a:pt x="102" y="170"/>
                  </a:lnTo>
                  <a:lnTo>
                    <a:pt x="100" y="176"/>
                  </a:lnTo>
                  <a:lnTo>
                    <a:pt x="98" y="181"/>
                  </a:lnTo>
                  <a:lnTo>
                    <a:pt x="93" y="187"/>
                  </a:lnTo>
                  <a:lnTo>
                    <a:pt x="89" y="188"/>
                  </a:lnTo>
                  <a:lnTo>
                    <a:pt x="85" y="188"/>
                  </a:lnTo>
                  <a:lnTo>
                    <a:pt x="82" y="187"/>
                  </a:lnTo>
                  <a:lnTo>
                    <a:pt x="80" y="187"/>
                  </a:lnTo>
                  <a:lnTo>
                    <a:pt x="75" y="190"/>
                  </a:lnTo>
                  <a:lnTo>
                    <a:pt x="73" y="192"/>
                  </a:lnTo>
                  <a:lnTo>
                    <a:pt x="71" y="194"/>
                  </a:lnTo>
                  <a:lnTo>
                    <a:pt x="71" y="197"/>
                  </a:lnTo>
                  <a:lnTo>
                    <a:pt x="73" y="203"/>
                  </a:lnTo>
                  <a:lnTo>
                    <a:pt x="73" y="205"/>
                  </a:lnTo>
                  <a:lnTo>
                    <a:pt x="73" y="206"/>
                  </a:lnTo>
                  <a:lnTo>
                    <a:pt x="71" y="208"/>
                  </a:lnTo>
                  <a:lnTo>
                    <a:pt x="71" y="210"/>
                  </a:lnTo>
                  <a:lnTo>
                    <a:pt x="69" y="210"/>
                  </a:lnTo>
                  <a:lnTo>
                    <a:pt x="62" y="210"/>
                  </a:lnTo>
                  <a:lnTo>
                    <a:pt x="60" y="208"/>
                  </a:lnTo>
                  <a:lnTo>
                    <a:pt x="56" y="210"/>
                  </a:lnTo>
                  <a:lnTo>
                    <a:pt x="55" y="212"/>
                  </a:lnTo>
                  <a:lnTo>
                    <a:pt x="53" y="221"/>
                  </a:lnTo>
                  <a:lnTo>
                    <a:pt x="51" y="226"/>
                  </a:lnTo>
                  <a:lnTo>
                    <a:pt x="49" y="232"/>
                  </a:lnTo>
                  <a:lnTo>
                    <a:pt x="49" y="237"/>
                  </a:lnTo>
                  <a:lnTo>
                    <a:pt x="47" y="239"/>
                  </a:lnTo>
                  <a:lnTo>
                    <a:pt x="45" y="243"/>
                  </a:lnTo>
                  <a:lnTo>
                    <a:pt x="44" y="245"/>
                  </a:lnTo>
                  <a:lnTo>
                    <a:pt x="40" y="245"/>
                  </a:lnTo>
                  <a:lnTo>
                    <a:pt x="38" y="246"/>
                  </a:lnTo>
                  <a:lnTo>
                    <a:pt x="36" y="248"/>
                  </a:lnTo>
                  <a:lnTo>
                    <a:pt x="36" y="252"/>
                  </a:lnTo>
                  <a:lnTo>
                    <a:pt x="36" y="254"/>
                  </a:lnTo>
                  <a:lnTo>
                    <a:pt x="36" y="255"/>
                  </a:lnTo>
                  <a:lnTo>
                    <a:pt x="38" y="255"/>
                  </a:lnTo>
                  <a:lnTo>
                    <a:pt x="38" y="259"/>
                  </a:lnTo>
                  <a:lnTo>
                    <a:pt x="38" y="265"/>
                  </a:lnTo>
                  <a:lnTo>
                    <a:pt x="38" y="281"/>
                  </a:lnTo>
                  <a:lnTo>
                    <a:pt x="40" y="297"/>
                  </a:lnTo>
                  <a:lnTo>
                    <a:pt x="40" y="299"/>
                  </a:lnTo>
                  <a:lnTo>
                    <a:pt x="38" y="312"/>
                  </a:lnTo>
                  <a:lnTo>
                    <a:pt x="35" y="326"/>
                  </a:lnTo>
                  <a:lnTo>
                    <a:pt x="27" y="352"/>
                  </a:lnTo>
                  <a:lnTo>
                    <a:pt x="24" y="370"/>
                  </a:lnTo>
                  <a:lnTo>
                    <a:pt x="20" y="379"/>
                  </a:lnTo>
                  <a:lnTo>
                    <a:pt x="16" y="386"/>
                  </a:lnTo>
                  <a:lnTo>
                    <a:pt x="7" y="395"/>
                  </a:lnTo>
                  <a:lnTo>
                    <a:pt x="4" y="401"/>
                  </a:lnTo>
                  <a:lnTo>
                    <a:pt x="2" y="402"/>
                  </a:lnTo>
                  <a:lnTo>
                    <a:pt x="7" y="408"/>
                  </a:lnTo>
                  <a:lnTo>
                    <a:pt x="11" y="413"/>
                  </a:lnTo>
                  <a:lnTo>
                    <a:pt x="13" y="419"/>
                  </a:lnTo>
                  <a:lnTo>
                    <a:pt x="15" y="426"/>
                  </a:lnTo>
                  <a:lnTo>
                    <a:pt x="16" y="437"/>
                  </a:lnTo>
                  <a:lnTo>
                    <a:pt x="16" y="451"/>
                  </a:lnTo>
                  <a:lnTo>
                    <a:pt x="18" y="461"/>
                  </a:lnTo>
                  <a:lnTo>
                    <a:pt x="20" y="470"/>
                  </a:lnTo>
                  <a:lnTo>
                    <a:pt x="20" y="473"/>
                  </a:lnTo>
                  <a:lnTo>
                    <a:pt x="18" y="477"/>
                  </a:lnTo>
                  <a:lnTo>
                    <a:pt x="16" y="482"/>
                  </a:lnTo>
                  <a:lnTo>
                    <a:pt x="13" y="486"/>
                  </a:lnTo>
                  <a:lnTo>
                    <a:pt x="11" y="491"/>
                  </a:lnTo>
                  <a:lnTo>
                    <a:pt x="11" y="495"/>
                  </a:lnTo>
                  <a:lnTo>
                    <a:pt x="11" y="502"/>
                  </a:lnTo>
                  <a:lnTo>
                    <a:pt x="13" y="508"/>
                  </a:lnTo>
                  <a:lnTo>
                    <a:pt x="18" y="520"/>
                  </a:lnTo>
                  <a:lnTo>
                    <a:pt x="27" y="544"/>
                  </a:lnTo>
                  <a:lnTo>
                    <a:pt x="31" y="551"/>
                  </a:lnTo>
                  <a:lnTo>
                    <a:pt x="35" y="557"/>
                  </a:lnTo>
                  <a:lnTo>
                    <a:pt x="42" y="569"/>
                  </a:lnTo>
                  <a:lnTo>
                    <a:pt x="51" y="582"/>
                  </a:lnTo>
                  <a:lnTo>
                    <a:pt x="58" y="595"/>
                  </a:lnTo>
                  <a:lnTo>
                    <a:pt x="62" y="602"/>
                  </a:lnTo>
                  <a:lnTo>
                    <a:pt x="64" y="609"/>
                  </a:lnTo>
                  <a:lnTo>
                    <a:pt x="69" y="626"/>
                  </a:lnTo>
                  <a:lnTo>
                    <a:pt x="75" y="658"/>
                  </a:lnTo>
                  <a:lnTo>
                    <a:pt x="80" y="684"/>
                  </a:lnTo>
                  <a:lnTo>
                    <a:pt x="82" y="696"/>
                  </a:lnTo>
                  <a:lnTo>
                    <a:pt x="82" y="704"/>
                  </a:lnTo>
                  <a:lnTo>
                    <a:pt x="82" y="709"/>
                  </a:lnTo>
                  <a:lnTo>
                    <a:pt x="82" y="722"/>
                  </a:lnTo>
                  <a:lnTo>
                    <a:pt x="78" y="755"/>
                  </a:lnTo>
                  <a:lnTo>
                    <a:pt x="76" y="771"/>
                  </a:lnTo>
                  <a:lnTo>
                    <a:pt x="75" y="778"/>
                  </a:lnTo>
                  <a:lnTo>
                    <a:pt x="71" y="784"/>
                  </a:lnTo>
                  <a:lnTo>
                    <a:pt x="67" y="789"/>
                  </a:lnTo>
                  <a:lnTo>
                    <a:pt x="65" y="793"/>
                  </a:lnTo>
                  <a:lnTo>
                    <a:pt x="62" y="798"/>
                  </a:lnTo>
                  <a:lnTo>
                    <a:pt x="60" y="804"/>
                  </a:lnTo>
                  <a:lnTo>
                    <a:pt x="58" y="809"/>
                  </a:lnTo>
                  <a:lnTo>
                    <a:pt x="58" y="814"/>
                  </a:lnTo>
                  <a:lnTo>
                    <a:pt x="58" y="818"/>
                  </a:lnTo>
                  <a:lnTo>
                    <a:pt x="58" y="825"/>
                  </a:lnTo>
                  <a:lnTo>
                    <a:pt x="56" y="833"/>
                  </a:lnTo>
                  <a:lnTo>
                    <a:pt x="55" y="834"/>
                  </a:lnTo>
                  <a:lnTo>
                    <a:pt x="55" y="838"/>
                  </a:lnTo>
                  <a:lnTo>
                    <a:pt x="51" y="842"/>
                  </a:lnTo>
                  <a:lnTo>
                    <a:pt x="44" y="851"/>
                  </a:lnTo>
                  <a:lnTo>
                    <a:pt x="36" y="860"/>
                  </a:lnTo>
                  <a:lnTo>
                    <a:pt x="33" y="865"/>
                  </a:lnTo>
                  <a:lnTo>
                    <a:pt x="31" y="871"/>
                  </a:lnTo>
                  <a:lnTo>
                    <a:pt x="26" y="880"/>
                  </a:lnTo>
                  <a:lnTo>
                    <a:pt x="24" y="889"/>
                  </a:lnTo>
                  <a:lnTo>
                    <a:pt x="18" y="896"/>
                  </a:lnTo>
                  <a:lnTo>
                    <a:pt x="15" y="900"/>
                  </a:lnTo>
                  <a:lnTo>
                    <a:pt x="11" y="903"/>
                  </a:lnTo>
                  <a:lnTo>
                    <a:pt x="0" y="912"/>
                  </a:lnTo>
                  <a:lnTo>
                    <a:pt x="13" y="911"/>
                  </a:lnTo>
                  <a:lnTo>
                    <a:pt x="24" y="911"/>
                  </a:lnTo>
                  <a:lnTo>
                    <a:pt x="330" y="880"/>
                  </a:lnTo>
                  <a:lnTo>
                    <a:pt x="539" y="858"/>
                  </a:lnTo>
                  <a:lnTo>
                    <a:pt x="552" y="858"/>
                  </a:lnTo>
                  <a:lnTo>
                    <a:pt x="552" y="853"/>
                  </a:lnTo>
                  <a:lnTo>
                    <a:pt x="552" y="843"/>
                  </a:lnTo>
                  <a:lnTo>
                    <a:pt x="555" y="834"/>
                  </a:lnTo>
                  <a:lnTo>
                    <a:pt x="561" y="825"/>
                  </a:lnTo>
                  <a:lnTo>
                    <a:pt x="564" y="820"/>
                  </a:lnTo>
                  <a:lnTo>
                    <a:pt x="570" y="814"/>
                  </a:lnTo>
                  <a:lnTo>
                    <a:pt x="575" y="809"/>
                  </a:lnTo>
                  <a:lnTo>
                    <a:pt x="581" y="805"/>
                  </a:lnTo>
                  <a:lnTo>
                    <a:pt x="584" y="802"/>
                  </a:lnTo>
                  <a:lnTo>
                    <a:pt x="586" y="798"/>
                  </a:lnTo>
                  <a:lnTo>
                    <a:pt x="586" y="793"/>
                  </a:lnTo>
                  <a:lnTo>
                    <a:pt x="586" y="787"/>
                  </a:lnTo>
                  <a:lnTo>
                    <a:pt x="586" y="775"/>
                  </a:lnTo>
                  <a:lnTo>
                    <a:pt x="586" y="771"/>
                  </a:lnTo>
                  <a:lnTo>
                    <a:pt x="588" y="771"/>
                  </a:lnTo>
                  <a:lnTo>
                    <a:pt x="588" y="769"/>
                  </a:lnTo>
                  <a:lnTo>
                    <a:pt x="590" y="771"/>
                  </a:lnTo>
                  <a:lnTo>
                    <a:pt x="592" y="773"/>
                  </a:lnTo>
                  <a:lnTo>
                    <a:pt x="593" y="776"/>
                  </a:lnTo>
                  <a:lnTo>
                    <a:pt x="595" y="776"/>
                  </a:lnTo>
                  <a:lnTo>
                    <a:pt x="597" y="776"/>
                  </a:lnTo>
                  <a:lnTo>
                    <a:pt x="597" y="775"/>
                  </a:lnTo>
                  <a:lnTo>
                    <a:pt x="595" y="756"/>
                  </a:lnTo>
                  <a:lnTo>
                    <a:pt x="593" y="747"/>
                  </a:lnTo>
                  <a:lnTo>
                    <a:pt x="592" y="740"/>
                  </a:lnTo>
                  <a:lnTo>
                    <a:pt x="592" y="738"/>
                  </a:lnTo>
                  <a:lnTo>
                    <a:pt x="593" y="733"/>
                  </a:lnTo>
                  <a:lnTo>
                    <a:pt x="593" y="727"/>
                  </a:lnTo>
                  <a:lnTo>
                    <a:pt x="597" y="724"/>
                  </a:lnTo>
                  <a:lnTo>
                    <a:pt x="599" y="720"/>
                  </a:lnTo>
                  <a:lnTo>
                    <a:pt x="608" y="716"/>
                  </a:lnTo>
                  <a:lnTo>
                    <a:pt x="619" y="709"/>
                  </a:lnTo>
                  <a:lnTo>
                    <a:pt x="623" y="707"/>
                  </a:lnTo>
                  <a:lnTo>
                    <a:pt x="624" y="706"/>
                  </a:lnTo>
                  <a:lnTo>
                    <a:pt x="624" y="702"/>
                  </a:lnTo>
                  <a:lnTo>
                    <a:pt x="623" y="696"/>
                  </a:lnTo>
                  <a:lnTo>
                    <a:pt x="626" y="687"/>
                  </a:lnTo>
                  <a:lnTo>
                    <a:pt x="628" y="678"/>
                  </a:lnTo>
                  <a:lnTo>
                    <a:pt x="630" y="675"/>
                  </a:lnTo>
                  <a:lnTo>
                    <a:pt x="628" y="664"/>
                  </a:lnTo>
                  <a:lnTo>
                    <a:pt x="628" y="655"/>
                  </a:lnTo>
                  <a:lnTo>
                    <a:pt x="628" y="653"/>
                  </a:lnTo>
                  <a:lnTo>
                    <a:pt x="628" y="649"/>
                  </a:lnTo>
                  <a:lnTo>
                    <a:pt x="630" y="646"/>
                  </a:lnTo>
                  <a:lnTo>
                    <a:pt x="632" y="642"/>
                  </a:lnTo>
                  <a:lnTo>
                    <a:pt x="633" y="640"/>
                  </a:lnTo>
                  <a:lnTo>
                    <a:pt x="639" y="637"/>
                  </a:lnTo>
                  <a:lnTo>
                    <a:pt x="646" y="635"/>
                  </a:lnTo>
                  <a:lnTo>
                    <a:pt x="650" y="635"/>
                  </a:lnTo>
                  <a:lnTo>
                    <a:pt x="653" y="637"/>
                  </a:lnTo>
                  <a:lnTo>
                    <a:pt x="657" y="638"/>
                  </a:lnTo>
                  <a:lnTo>
                    <a:pt x="661" y="642"/>
                  </a:lnTo>
                  <a:lnTo>
                    <a:pt x="662" y="644"/>
                  </a:lnTo>
                  <a:lnTo>
                    <a:pt x="659" y="647"/>
                  </a:lnTo>
                  <a:lnTo>
                    <a:pt x="657" y="651"/>
                  </a:lnTo>
                  <a:lnTo>
                    <a:pt x="659" y="657"/>
                  </a:lnTo>
                  <a:lnTo>
                    <a:pt x="661" y="658"/>
                  </a:lnTo>
                  <a:lnTo>
                    <a:pt x="664" y="660"/>
                  </a:lnTo>
                  <a:lnTo>
                    <a:pt x="666" y="658"/>
                  </a:lnTo>
                  <a:lnTo>
                    <a:pt x="670" y="655"/>
                  </a:lnTo>
                  <a:lnTo>
                    <a:pt x="672" y="653"/>
                  </a:lnTo>
                  <a:lnTo>
                    <a:pt x="675" y="640"/>
                  </a:lnTo>
                  <a:lnTo>
                    <a:pt x="677" y="635"/>
                  </a:lnTo>
                  <a:lnTo>
                    <a:pt x="679" y="629"/>
                  </a:lnTo>
                  <a:lnTo>
                    <a:pt x="681" y="618"/>
                  </a:lnTo>
                  <a:lnTo>
                    <a:pt x="682" y="600"/>
                  </a:lnTo>
                  <a:lnTo>
                    <a:pt x="682" y="580"/>
                  </a:lnTo>
                  <a:lnTo>
                    <a:pt x="682" y="568"/>
                  </a:lnTo>
                  <a:lnTo>
                    <a:pt x="684" y="555"/>
                  </a:lnTo>
                  <a:lnTo>
                    <a:pt x="684" y="551"/>
                  </a:lnTo>
                  <a:lnTo>
                    <a:pt x="686" y="548"/>
                  </a:lnTo>
                  <a:lnTo>
                    <a:pt x="686" y="544"/>
                  </a:lnTo>
                  <a:lnTo>
                    <a:pt x="686" y="542"/>
                  </a:lnTo>
                  <a:lnTo>
                    <a:pt x="684" y="540"/>
                  </a:lnTo>
                  <a:lnTo>
                    <a:pt x="682" y="540"/>
                  </a:lnTo>
                  <a:lnTo>
                    <a:pt x="675" y="542"/>
                  </a:lnTo>
                  <a:lnTo>
                    <a:pt x="673" y="542"/>
                  </a:lnTo>
                  <a:lnTo>
                    <a:pt x="672" y="540"/>
                  </a:lnTo>
                  <a:lnTo>
                    <a:pt x="670" y="537"/>
                  </a:lnTo>
                  <a:lnTo>
                    <a:pt x="666" y="533"/>
                  </a:lnTo>
                  <a:lnTo>
                    <a:pt x="666" y="526"/>
                  </a:lnTo>
                  <a:lnTo>
                    <a:pt x="664" y="519"/>
                  </a:lnTo>
                  <a:lnTo>
                    <a:pt x="664" y="515"/>
                  </a:lnTo>
                  <a:lnTo>
                    <a:pt x="664" y="510"/>
                  </a:lnTo>
                  <a:lnTo>
                    <a:pt x="664" y="506"/>
                  </a:lnTo>
                  <a:lnTo>
                    <a:pt x="662" y="495"/>
                  </a:lnTo>
                  <a:lnTo>
                    <a:pt x="657" y="484"/>
                  </a:lnTo>
                  <a:lnTo>
                    <a:pt x="650" y="464"/>
                  </a:lnTo>
                  <a:lnTo>
                    <a:pt x="646" y="455"/>
                  </a:lnTo>
                  <a:lnTo>
                    <a:pt x="641" y="448"/>
                  </a:lnTo>
                  <a:lnTo>
                    <a:pt x="637" y="439"/>
                  </a:lnTo>
                  <a:lnTo>
                    <a:pt x="635" y="432"/>
                  </a:lnTo>
                  <a:lnTo>
                    <a:pt x="633" y="426"/>
                  </a:lnTo>
                  <a:lnTo>
                    <a:pt x="635" y="421"/>
                  </a:lnTo>
                  <a:lnTo>
                    <a:pt x="635" y="415"/>
                  </a:lnTo>
                  <a:lnTo>
                    <a:pt x="637" y="408"/>
                  </a:lnTo>
                  <a:lnTo>
                    <a:pt x="637" y="402"/>
                  </a:lnTo>
                  <a:lnTo>
                    <a:pt x="637" y="401"/>
                  </a:lnTo>
                  <a:lnTo>
                    <a:pt x="637" y="395"/>
                  </a:lnTo>
                  <a:lnTo>
                    <a:pt x="635" y="392"/>
                  </a:lnTo>
                  <a:lnTo>
                    <a:pt x="632" y="383"/>
                  </a:lnTo>
                  <a:lnTo>
                    <a:pt x="624" y="373"/>
                  </a:lnTo>
                  <a:lnTo>
                    <a:pt x="617" y="366"/>
                  </a:lnTo>
                  <a:lnTo>
                    <a:pt x="610" y="357"/>
                  </a:lnTo>
                  <a:lnTo>
                    <a:pt x="601" y="352"/>
                  </a:lnTo>
                  <a:lnTo>
                    <a:pt x="593" y="344"/>
                  </a:lnTo>
                  <a:lnTo>
                    <a:pt x="586" y="341"/>
                  </a:lnTo>
                  <a:lnTo>
                    <a:pt x="579" y="337"/>
                  </a:lnTo>
                  <a:lnTo>
                    <a:pt x="574" y="337"/>
                  </a:lnTo>
                  <a:lnTo>
                    <a:pt x="570" y="337"/>
                  </a:lnTo>
                  <a:lnTo>
                    <a:pt x="566" y="339"/>
                  </a:lnTo>
                  <a:lnTo>
                    <a:pt x="559" y="343"/>
                  </a:lnTo>
                  <a:lnTo>
                    <a:pt x="552" y="348"/>
                  </a:lnTo>
                  <a:lnTo>
                    <a:pt x="548" y="352"/>
                  </a:lnTo>
                  <a:lnTo>
                    <a:pt x="543" y="353"/>
                  </a:lnTo>
                  <a:lnTo>
                    <a:pt x="537" y="355"/>
                  </a:lnTo>
                  <a:lnTo>
                    <a:pt x="532" y="355"/>
                  </a:lnTo>
                  <a:lnTo>
                    <a:pt x="528" y="355"/>
                  </a:lnTo>
                  <a:lnTo>
                    <a:pt x="523" y="357"/>
                  </a:lnTo>
                  <a:lnTo>
                    <a:pt x="519" y="361"/>
                  </a:lnTo>
                  <a:lnTo>
                    <a:pt x="517" y="363"/>
                  </a:lnTo>
                  <a:lnTo>
                    <a:pt x="512" y="370"/>
                  </a:lnTo>
                  <a:lnTo>
                    <a:pt x="506" y="383"/>
                  </a:lnTo>
                  <a:lnTo>
                    <a:pt x="505" y="390"/>
                  </a:lnTo>
                  <a:lnTo>
                    <a:pt x="505" y="395"/>
                  </a:lnTo>
                  <a:lnTo>
                    <a:pt x="503" y="402"/>
                  </a:lnTo>
                  <a:lnTo>
                    <a:pt x="501" y="408"/>
                  </a:lnTo>
                  <a:lnTo>
                    <a:pt x="497" y="413"/>
                  </a:lnTo>
                  <a:lnTo>
                    <a:pt x="492" y="419"/>
                  </a:lnTo>
                  <a:lnTo>
                    <a:pt x="481" y="430"/>
                  </a:lnTo>
                  <a:lnTo>
                    <a:pt x="474" y="437"/>
                  </a:lnTo>
                  <a:lnTo>
                    <a:pt x="465" y="442"/>
                  </a:lnTo>
                  <a:lnTo>
                    <a:pt x="454" y="448"/>
                  </a:lnTo>
                  <a:lnTo>
                    <a:pt x="450" y="450"/>
                  </a:lnTo>
                  <a:lnTo>
                    <a:pt x="445" y="450"/>
                  </a:lnTo>
                  <a:lnTo>
                    <a:pt x="439" y="450"/>
                  </a:lnTo>
                  <a:lnTo>
                    <a:pt x="434" y="448"/>
                  </a:lnTo>
                  <a:lnTo>
                    <a:pt x="428" y="442"/>
                  </a:lnTo>
                  <a:lnTo>
                    <a:pt x="425" y="439"/>
                  </a:lnTo>
                  <a:lnTo>
                    <a:pt x="423" y="435"/>
                  </a:lnTo>
                  <a:lnTo>
                    <a:pt x="421" y="432"/>
                  </a:lnTo>
                  <a:lnTo>
                    <a:pt x="421" y="426"/>
                  </a:lnTo>
                  <a:lnTo>
                    <a:pt x="419" y="417"/>
                  </a:lnTo>
                  <a:lnTo>
                    <a:pt x="419" y="415"/>
                  </a:lnTo>
                  <a:lnTo>
                    <a:pt x="421" y="393"/>
                  </a:lnTo>
                  <a:lnTo>
                    <a:pt x="423" y="383"/>
                  </a:lnTo>
                  <a:lnTo>
                    <a:pt x="425" y="379"/>
                  </a:lnTo>
                  <a:lnTo>
                    <a:pt x="427" y="373"/>
                  </a:lnTo>
                  <a:lnTo>
                    <a:pt x="430" y="370"/>
                  </a:lnTo>
                  <a:lnTo>
                    <a:pt x="436" y="366"/>
                  </a:lnTo>
                  <a:lnTo>
                    <a:pt x="445" y="361"/>
                  </a:lnTo>
                  <a:lnTo>
                    <a:pt x="454" y="353"/>
                  </a:lnTo>
                  <a:lnTo>
                    <a:pt x="457" y="350"/>
                  </a:lnTo>
                  <a:lnTo>
                    <a:pt x="461" y="344"/>
                  </a:lnTo>
                  <a:lnTo>
                    <a:pt x="463" y="339"/>
                  </a:lnTo>
                  <a:lnTo>
                    <a:pt x="465" y="332"/>
                  </a:lnTo>
                  <a:lnTo>
                    <a:pt x="468" y="319"/>
                  </a:lnTo>
                  <a:lnTo>
                    <a:pt x="470" y="304"/>
                  </a:lnTo>
                  <a:lnTo>
                    <a:pt x="472" y="299"/>
                  </a:lnTo>
                  <a:lnTo>
                    <a:pt x="474" y="292"/>
                  </a:lnTo>
                  <a:lnTo>
                    <a:pt x="477" y="295"/>
                  </a:lnTo>
                  <a:lnTo>
                    <a:pt x="481" y="295"/>
                  </a:lnTo>
                  <a:lnTo>
                    <a:pt x="485" y="294"/>
                  </a:lnTo>
                  <a:lnTo>
                    <a:pt x="488" y="290"/>
                  </a:lnTo>
                  <a:lnTo>
                    <a:pt x="490" y="285"/>
                  </a:lnTo>
                  <a:lnTo>
                    <a:pt x="492" y="279"/>
                  </a:lnTo>
                  <a:lnTo>
                    <a:pt x="494" y="272"/>
                  </a:lnTo>
                  <a:lnTo>
                    <a:pt x="494" y="265"/>
                  </a:lnTo>
                  <a:lnTo>
                    <a:pt x="495" y="254"/>
                  </a:lnTo>
                  <a:lnTo>
                    <a:pt x="494" y="252"/>
                  </a:lnTo>
                  <a:lnTo>
                    <a:pt x="494" y="246"/>
                  </a:lnTo>
                  <a:lnTo>
                    <a:pt x="495" y="226"/>
                  </a:lnTo>
                  <a:lnTo>
                    <a:pt x="495" y="208"/>
                  </a:lnTo>
                  <a:lnTo>
                    <a:pt x="495" y="197"/>
                  </a:lnTo>
                  <a:lnTo>
                    <a:pt x="494" y="190"/>
                  </a:lnTo>
                  <a:lnTo>
                    <a:pt x="492" y="183"/>
                  </a:lnTo>
                  <a:lnTo>
                    <a:pt x="490" y="177"/>
                  </a:lnTo>
                  <a:lnTo>
                    <a:pt x="486" y="172"/>
                  </a:lnTo>
                  <a:lnTo>
                    <a:pt x="481" y="167"/>
                  </a:lnTo>
                  <a:lnTo>
                    <a:pt x="477" y="163"/>
                  </a:lnTo>
                  <a:lnTo>
                    <a:pt x="466" y="152"/>
                  </a:lnTo>
                  <a:lnTo>
                    <a:pt x="459" y="145"/>
                  </a:lnTo>
                  <a:lnTo>
                    <a:pt x="457" y="141"/>
                  </a:lnTo>
                  <a:lnTo>
                    <a:pt x="456" y="136"/>
                  </a:lnTo>
                  <a:lnTo>
                    <a:pt x="457" y="132"/>
                  </a:lnTo>
                  <a:lnTo>
                    <a:pt x="459" y="128"/>
                  </a:lnTo>
                  <a:lnTo>
                    <a:pt x="463" y="125"/>
                  </a:lnTo>
                  <a:lnTo>
                    <a:pt x="468" y="125"/>
                  </a:lnTo>
                  <a:lnTo>
                    <a:pt x="470" y="125"/>
                  </a:lnTo>
                  <a:lnTo>
                    <a:pt x="474" y="125"/>
                  </a:lnTo>
                  <a:lnTo>
                    <a:pt x="477" y="125"/>
                  </a:lnTo>
                  <a:lnTo>
                    <a:pt x="479" y="123"/>
                  </a:lnTo>
                  <a:lnTo>
                    <a:pt x="481" y="123"/>
                  </a:lnTo>
                  <a:lnTo>
                    <a:pt x="481" y="119"/>
                  </a:lnTo>
                  <a:lnTo>
                    <a:pt x="479" y="116"/>
                  </a:lnTo>
                  <a:lnTo>
                    <a:pt x="477" y="112"/>
                  </a:lnTo>
                  <a:lnTo>
                    <a:pt x="476" y="107"/>
                  </a:lnTo>
                  <a:lnTo>
                    <a:pt x="468" y="98"/>
                  </a:lnTo>
                  <a:lnTo>
                    <a:pt x="459" y="90"/>
                  </a:lnTo>
                  <a:lnTo>
                    <a:pt x="450" y="81"/>
                  </a:lnTo>
                  <a:lnTo>
                    <a:pt x="443" y="74"/>
                  </a:lnTo>
                  <a:lnTo>
                    <a:pt x="434" y="69"/>
                  </a:lnTo>
                  <a:lnTo>
                    <a:pt x="427" y="65"/>
                  </a:lnTo>
                  <a:lnTo>
                    <a:pt x="425" y="65"/>
                  </a:lnTo>
                  <a:lnTo>
                    <a:pt x="419" y="65"/>
                  </a:lnTo>
                  <a:lnTo>
                    <a:pt x="416" y="67"/>
                  </a:lnTo>
                  <a:lnTo>
                    <a:pt x="414" y="65"/>
                  </a:lnTo>
                  <a:lnTo>
                    <a:pt x="410" y="63"/>
                  </a:lnTo>
                  <a:lnTo>
                    <a:pt x="408" y="59"/>
                  </a:lnTo>
                  <a:lnTo>
                    <a:pt x="405" y="59"/>
                  </a:lnTo>
                  <a:lnTo>
                    <a:pt x="399" y="56"/>
                  </a:lnTo>
                  <a:lnTo>
                    <a:pt x="394" y="54"/>
                  </a:lnTo>
                  <a:lnTo>
                    <a:pt x="383" y="47"/>
                  </a:lnTo>
                  <a:lnTo>
                    <a:pt x="379" y="45"/>
                  </a:lnTo>
                  <a:lnTo>
                    <a:pt x="374" y="43"/>
                  </a:lnTo>
                  <a:lnTo>
                    <a:pt x="365" y="43"/>
                  </a:lnTo>
                  <a:lnTo>
                    <a:pt x="361" y="43"/>
                  </a:lnTo>
                  <a:lnTo>
                    <a:pt x="358" y="43"/>
                  </a:lnTo>
                  <a:lnTo>
                    <a:pt x="352" y="43"/>
                  </a:lnTo>
                  <a:lnTo>
                    <a:pt x="345" y="41"/>
                  </a:lnTo>
                  <a:lnTo>
                    <a:pt x="343" y="41"/>
                  </a:lnTo>
                  <a:lnTo>
                    <a:pt x="339" y="40"/>
                  </a:lnTo>
                  <a:lnTo>
                    <a:pt x="334" y="34"/>
                  </a:lnTo>
                  <a:lnTo>
                    <a:pt x="336" y="30"/>
                  </a:lnTo>
                  <a:lnTo>
                    <a:pt x="336" y="29"/>
                  </a:lnTo>
                  <a:lnTo>
                    <a:pt x="336" y="25"/>
                  </a:lnTo>
                  <a:lnTo>
                    <a:pt x="332" y="21"/>
                  </a:lnTo>
                  <a:lnTo>
                    <a:pt x="329" y="20"/>
                  </a:lnTo>
                  <a:lnTo>
                    <a:pt x="325" y="16"/>
                  </a:lnTo>
                  <a:lnTo>
                    <a:pt x="316" y="12"/>
                  </a:lnTo>
                  <a:lnTo>
                    <a:pt x="309" y="12"/>
                  </a:lnTo>
                  <a:lnTo>
                    <a:pt x="307" y="12"/>
                  </a:lnTo>
                  <a:lnTo>
                    <a:pt x="300" y="12"/>
                  </a:lnTo>
                  <a:lnTo>
                    <a:pt x="294" y="16"/>
                  </a:lnTo>
                  <a:lnTo>
                    <a:pt x="287" y="18"/>
                  </a:lnTo>
                  <a:lnTo>
                    <a:pt x="281" y="20"/>
                  </a:lnTo>
                  <a:lnTo>
                    <a:pt x="276" y="18"/>
                  </a:lnTo>
                  <a:lnTo>
                    <a:pt x="270" y="14"/>
                  </a:lnTo>
                  <a:lnTo>
                    <a:pt x="267" y="10"/>
                  </a:lnTo>
                  <a:lnTo>
                    <a:pt x="263" y="7"/>
                  </a:lnTo>
                  <a:lnTo>
                    <a:pt x="258" y="3"/>
                  </a:lnTo>
                  <a:lnTo>
                    <a:pt x="252" y="1"/>
                  </a:lnTo>
                  <a:lnTo>
                    <a:pt x="243" y="1"/>
                  </a:lnTo>
                  <a:lnTo>
                    <a:pt x="229" y="0"/>
                  </a:lnTo>
                  <a:lnTo>
                    <a:pt x="227" y="0"/>
                  </a:lnTo>
                  <a:close/>
                  <a:moveTo>
                    <a:pt x="472" y="110"/>
                  </a:moveTo>
                  <a:lnTo>
                    <a:pt x="472" y="108"/>
                  </a:lnTo>
                  <a:lnTo>
                    <a:pt x="472" y="110"/>
                  </a:lnTo>
                  <a:close/>
                </a:path>
              </a:pathLst>
            </a:custGeom>
            <a:solidFill>
              <a:srgbClr val="FFE600"/>
            </a:solidFill>
            <a:ln w="6350" cap="flat" cmpd="sng" algn="ctr">
              <a:solidFill>
                <a:srgbClr val="2E2E38"/>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646464"/>
                </a:solidFill>
                <a:effectLst/>
                <a:uLnTx/>
                <a:uFillTx/>
                <a:cs typeface="Times New Roman" panose="02020603050405020304" pitchFamily="18" charset="0"/>
              </a:endParaRPr>
            </a:p>
          </p:txBody>
        </p:sp>
        <p:sp>
          <p:nvSpPr>
            <p:cNvPr id="16" name="Line 28">
              <a:extLst>
                <a:ext uri="{FF2B5EF4-FFF2-40B4-BE49-F238E27FC236}">
                  <a16:creationId xmlns:a16="http://schemas.microsoft.com/office/drawing/2014/main" id="{40611B33-2178-95EF-7117-0E4D1F6316AC}"/>
                </a:ext>
              </a:extLst>
            </p:cNvPr>
            <p:cNvSpPr>
              <a:spLocks noChangeShapeType="1"/>
            </p:cNvSpPr>
            <p:nvPr/>
          </p:nvSpPr>
          <p:spPr bwMode="auto">
            <a:xfrm>
              <a:off x="5693534" y="4199791"/>
              <a:ext cx="915" cy="894"/>
            </a:xfrm>
            <a:prstGeom prst="line">
              <a:avLst/>
            </a:prstGeom>
            <a:noFill/>
            <a:ln w="3175">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646464"/>
                </a:solidFill>
                <a:effectLst/>
                <a:uLnTx/>
                <a:uFillTx/>
                <a:cs typeface="Times New Roman" panose="02020603050405020304" pitchFamily="18" charset="0"/>
              </a:endParaRPr>
            </a:p>
          </p:txBody>
        </p:sp>
        <p:sp>
          <p:nvSpPr>
            <p:cNvPr id="17" name="Freeform 29">
              <a:extLst>
                <a:ext uri="{FF2B5EF4-FFF2-40B4-BE49-F238E27FC236}">
                  <a16:creationId xmlns:a16="http://schemas.microsoft.com/office/drawing/2014/main" id="{0B2D9EAD-7B46-C370-6ED5-1DAA4BCE3614}"/>
                </a:ext>
              </a:extLst>
            </p:cNvPr>
            <p:cNvSpPr>
              <a:spLocks noEditPoints="1"/>
            </p:cNvSpPr>
            <p:nvPr/>
          </p:nvSpPr>
          <p:spPr bwMode="auto">
            <a:xfrm>
              <a:off x="5318980" y="3958150"/>
              <a:ext cx="498184" cy="238966"/>
            </a:xfrm>
            <a:custGeom>
              <a:avLst/>
              <a:gdLst/>
              <a:ahLst/>
              <a:cxnLst>
                <a:cxn ang="0">
                  <a:pos x="305" y="23"/>
                </a:cxn>
                <a:cxn ang="0">
                  <a:pos x="236" y="92"/>
                </a:cxn>
                <a:cxn ang="0">
                  <a:pos x="201" y="119"/>
                </a:cxn>
                <a:cxn ang="0">
                  <a:pos x="154" y="158"/>
                </a:cxn>
                <a:cxn ang="0">
                  <a:pos x="89" y="172"/>
                </a:cxn>
                <a:cxn ang="0">
                  <a:pos x="23" y="214"/>
                </a:cxn>
                <a:cxn ang="0">
                  <a:pos x="45" y="265"/>
                </a:cxn>
                <a:cxn ang="0">
                  <a:pos x="189" y="315"/>
                </a:cxn>
                <a:cxn ang="0">
                  <a:pos x="397" y="383"/>
                </a:cxn>
                <a:cxn ang="0">
                  <a:pos x="424" y="439"/>
                </a:cxn>
                <a:cxn ang="0">
                  <a:pos x="443" y="484"/>
                </a:cxn>
                <a:cxn ang="0">
                  <a:pos x="468" y="497"/>
                </a:cxn>
                <a:cxn ang="0">
                  <a:pos x="521" y="388"/>
                </a:cxn>
                <a:cxn ang="0">
                  <a:pos x="541" y="346"/>
                </a:cxn>
                <a:cxn ang="0">
                  <a:pos x="555" y="375"/>
                </a:cxn>
                <a:cxn ang="0">
                  <a:pos x="581" y="348"/>
                </a:cxn>
                <a:cxn ang="0">
                  <a:pos x="613" y="344"/>
                </a:cxn>
                <a:cxn ang="0">
                  <a:pos x="595" y="392"/>
                </a:cxn>
                <a:cxn ang="0">
                  <a:pos x="637" y="352"/>
                </a:cxn>
                <a:cxn ang="0">
                  <a:pos x="679" y="305"/>
                </a:cxn>
                <a:cxn ang="0">
                  <a:pos x="733" y="303"/>
                </a:cxn>
                <a:cxn ang="0">
                  <a:pos x="791" y="274"/>
                </a:cxn>
                <a:cxn ang="0">
                  <a:pos x="862" y="294"/>
                </a:cxn>
                <a:cxn ang="0">
                  <a:pos x="889" y="310"/>
                </a:cxn>
                <a:cxn ang="0">
                  <a:pos x="907" y="274"/>
                </a:cxn>
                <a:cxn ang="0">
                  <a:pos x="934" y="277"/>
                </a:cxn>
                <a:cxn ang="0">
                  <a:pos x="1054" y="285"/>
                </a:cxn>
                <a:cxn ang="0">
                  <a:pos x="1089" y="259"/>
                </a:cxn>
                <a:cxn ang="0">
                  <a:pos x="1058" y="232"/>
                </a:cxn>
                <a:cxn ang="0">
                  <a:pos x="1034" y="237"/>
                </a:cxn>
                <a:cxn ang="0">
                  <a:pos x="1038" y="254"/>
                </a:cxn>
                <a:cxn ang="0">
                  <a:pos x="996" y="241"/>
                </a:cxn>
                <a:cxn ang="0">
                  <a:pos x="971" y="225"/>
                </a:cxn>
                <a:cxn ang="0">
                  <a:pos x="962" y="212"/>
                </a:cxn>
                <a:cxn ang="0">
                  <a:pos x="956" y="183"/>
                </a:cxn>
                <a:cxn ang="0">
                  <a:pos x="972" y="154"/>
                </a:cxn>
                <a:cxn ang="0">
                  <a:pos x="922" y="165"/>
                </a:cxn>
                <a:cxn ang="0">
                  <a:pos x="905" y="181"/>
                </a:cxn>
                <a:cxn ang="0">
                  <a:pos x="885" y="170"/>
                </a:cxn>
                <a:cxn ang="0">
                  <a:pos x="835" y="174"/>
                </a:cxn>
                <a:cxn ang="0">
                  <a:pos x="824" y="114"/>
                </a:cxn>
                <a:cxn ang="0">
                  <a:pos x="751" y="136"/>
                </a:cxn>
                <a:cxn ang="0">
                  <a:pos x="637" y="161"/>
                </a:cxn>
                <a:cxn ang="0">
                  <a:pos x="577" y="216"/>
                </a:cxn>
                <a:cxn ang="0">
                  <a:pos x="550" y="216"/>
                </a:cxn>
                <a:cxn ang="0">
                  <a:pos x="530" y="201"/>
                </a:cxn>
                <a:cxn ang="0">
                  <a:pos x="497" y="207"/>
                </a:cxn>
                <a:cxn ang="0">
                  <a:pos x="470" y="197"/>
                </a:cxn>
                <a:cxn ang="0">
                  <a:pos x="430" y="152"/>
                </a:cxn>
                <a:cxn ang="0">
                  <a:pos x="368" y="129"/>
                </a:cxn>
                <a:cxn ang="0">
                  <a:pos x="341" y="116"/>
                </a:cxn>
                <a:cxn ang="0">
                  <a:pos x="303" y="161"/>
                </a:cxn>
                <a:cxn ang="0">
                  <a:pos x="296" y="138"/>
                </a:cxn>
                <a:cxn ang="0">
                  <a:pos x="354" y="52"/>
                </a:cxn>
                <a:cxn ang="0">
                  <a:pos x="386" y="23"/>
                </a:cxn>
                <a:cxn ang="0">
                  <a:pos x="388" y="1"/>
                </a:cxn>
              </a:cxnLst>
              <a:rect l="0" t="0" r="r" b="b"/>
              <a:pathLst>
                <a:path w="1089" h="537">
                  <a:moveTo>
                    <a:pt x="374" y="0"/>
                  </a:moveTo>
                  <a:lnTo>
                    <a:pt x="365" y="1"/>
                  </a:lnTo>
                  <a:lnTo>
                    <a:pt x="354" y="3"/>
                  </a:lnTo>
                  <a:lnTo>
                    <a:pt x="343" y="5"/>
                  </a:lnTo>
                  <a:lnTo>
                    <a:pt x="332" y="9"/>
                  </a:lnTo>
                  <a:lnTo>
                    <a:pt x="321" y="14"/>
                  </a:lnTo>
                  <a:lnTo>
                    <a:pt x="314" y="18"/>
                  </a:lnTo>
                  <a:lnTo>
                    <a:pt x="305" y="23"/>
                  </a:lnTo>
                  <a:lnTo>
                    <a:pt x="299" y="29"/>
                  </a:lnTo>
                  <a:lnTo>
                    <a:pt x="279" y="54"/>
                  </a:lnTo>
                  <a:lnTo>
                    <a:pt x="267" y="67"/>
                  </a:lnTo>
                  <a:lnTo>
                    <a:pt x="254" y="78"/>
                  </a:lnTo>
                  <a:lnTo>
                    <a:pt x="245" y="83"/>
                  </a:lnTo>
                  <a:lnTo>
                    <a:pt x="241" y="87"/>
                  </a:lnTo>
                  <a:lnTo>
                    <a:pt x="238" y="90"/>
                  </a:lnTo>
                  <a:lnTo>
                    <a:pt x="236" y="92"/>
                  </a:lnTo>
                  <a:lnTo>
                    <a:pt x="234" y="96"/>
                  </a:lnTo>
                  <a:lnTo>
                    <a:pt x="230" y="101"/>
                  </a:lnTo>
                  <a:lnTo>
                    <a:pt x="227" y="109"/>
                  </a:lnTo>
                  <a:lnTo>
                    <a:pt x="223" y="114"/>
                  </a:lnTo>
                  <a:lnTo>
                    <a:pt x="218" y="118"/>
                  </a:lnTo>
                  <a:lnTo>
                    <a:pt x="212" y="118"/>
                  </a:lnTo>
                  <a:lnTo>
                    <a:pt x="207" y="118"/>
                  </a:lnTo>
                  <a:lnTo>
                    <a:pt x="201" y="119"/>
                  </a:lnTo>
                  <a:lnTo>
                    <a:pt x="194" y="123"/>
                  </a:lnTo>
                  <a:lnTo>
                    <a:pt x="190" y="129"/>
                  </a:lnTo>
                  <a:lnTo>
                    <a:pt x="187" y="134"/>
                  </a:lnTo>
                  <a:lnTo>
                    <a:pt x="183" y="139"/>
                  </a:lnTo>
                  <a:lnTo>
                    <a:pt x="176" y="147"/>
                  </a:lnTo>
                  <a:lnTo>
                    <a:pt x="170" y="152"/>
                  </a:lnTo>
                  <a:lnTo>
                    <a:pt x="163" y="156"/>
                  </a:lnTo>
                  <a:lnTo>
                    <a:pt x="154" y="158"/>
                  </a:lnTo>
                  <a:lnTo>
                    <a:pt x="147" y="159"/>
                  </a:lnTo>
                  <a:lnTo>
                    <a:pt x="140" y="161"/>
                  </a:lnTo>
                  <a:lnTo>
                    <a:pt x="121" y="161"/>
                  </a:lnTo>
                  <a:lnTo>
                    <a:pt x="114" y="163"/>
                  </a:lnTo>
                  <a:lnTo>
                    <a:pt x="105" y="165"/>
                  </a:lnTo>
                  <a:lnTo>
                    <a:pt x="100" y="167"/>
                  </a:lnTo>
                  <a:lnTo>
                    <a:pt x="94" y="168"/>
                  </a:lnTo>
                  <a:lnTo>
                    <a:pt x="89" y="172"/>
                  </a:lnTo>
                  <a:lnTo>
                    <a:pt x="83" y="178"/>
                  </a:lnTo>
                  <a:lnTo>
                    <a:pt x="74" y="190"/>
                  </a:lnTo>
                  <a:lnTo>
                    <a:pt x="67" y="197"/>
                  </a:lnTo>
                  <a:lnTo>
                    <a:pt x="62" y="203"/>
                  </a:lnTo>
                  <a:lnTo>
                    <a:pt x="54" y="207"/>
                  </a:lnTo>
                  <a:lnTo>
                    <a:pt x="47" y="208"/>
                  </a:lnTo>
                  <a:lnTo>
                    <a:pt x="32" y="212"/>
                  </a:lnTo>
                  <a:lnTo>
                    <a:pt x="23" y="214"/>
                  </a:lnTo>
                  <a:lnTo>
                    <a:pt x="14" y="217"/>
                  </a:lnTo>
                  <a:lnTo>
                    <a:pt x="0" y="225"/>
                  </a:lnTo>
                  <a:lnTo>
                    <a:pt x="3" y="227"/>
                  </a:lnTo>
                  <a:lnTo>
                    <a:pt x="11" y="230"/>
                  </a:lnTo>
                  <a:lnTo>
                    <a:pt x="14" y="232"/>
                  </a:lnTo>
                  <a:lnTo>
                    <a:pt x="22" y="239"/>
                  </a:lnTo>
                  <a:lnTo>
                    <a:pt x="31" y="246"/>
                  </a:lnTo>
                  <a:lnTo>
                    <a:pt x="45" y="265"/>
                  </a:lnTo>
                  <a:lnTo>
                    <a:pt x="52" y="270"/>
                  </a:lnTo>
                  <a:lnTo>
                    <a:pt x="60" y="276"/>
                  </a:lnTo>
                  <a:lnTo>
                    <a:pt x="76" y="286"/>
                  </a:lnTo>
                  <a:lnTo>
                    <a:pt x="94" y="294"/>
                  </a:lnTo>
                  <a:lnTo>
                    <a:pt x="112" y="301"/>
                  </a:lnTo>
                  <a:lnTo>
                    <a:pt x="132" y="305"/>
                  </a:lnTo>
                  <a:lnTo>
                    <a:pt x="152" y="310"/>
                  </a:lnTo>
                  <a:lnTo>
                    <a:pt x="189" y="315"/>
                  </a:lnTo>
                  <a:lnTo>
                    <a:pt x="232" y="323"/>
                  </a:lnTo>
                  <a:lnTo>
                    <a:pt x="274" y="334"/>
                  </a:lnTo>
                  <a:lnTo>
                    <a:pt x="316" y="344"/>
                  </a:lnTo>
                  <a:lnTo>
                    <a:pt x="357" y="355"/>
                  </a:lnTo>
                  <a:lnTo>
                    <a:pt x="366" y="359"/>
                  </a:lnTo>
                  <a:lnTo>
                    <a:pt x="374" y="364"/>
                  </a:lnTo>
                  <a:lnTo>
                    <a:pt x="385" y="374"/>
                  </a:lnTo>
                  <a:lnTo>
                    <a:pt x="397" y="383"/>
                  </a:lnTo>
                  <a:lnTo>
                    <a:pt x="410" y="392"/>
                  </a:lnTo>
                  <a:lnTo>
                    <a:pt x="417" y="399"/>
                  </a:lnTo>
                  <a:lnTo>
                    <a:pt x="421" y="403"/>
                  </a:lnTo>
                  <a:lnTo>
                    <a:pt x="423" y="406"/>
                  </a:lnTo>
                  <a:lnTo>
                    <a:pt x="426" y="415"/>
                  </a:lnTo>
                  <a:lnTo>
                    <a:pt x="426" y="423"/>
                  </a:lnTo>
                  <a:lnTo>
                    <a:pt x="426" y="432"/>
                  </a:lnTo>
                  <a:lnTo>
                    <a:pt x="424" y="439"/>
                  </a:lnTo>
                  <a:lnTo>
                    <a:pt x="423" y="448"/>
                  </a:lnTo>
                  <a:lnTo>
                    <a:pt x="423" y="457"/>
                  </a:lnTo>
                  <a:lnTo>
                    <a:pt x="423" y="466"/>
                  </a:lnTo>
                  <a:lnTo>
                    <a:pt x="424" y="466"/>
                  </a:lnTo>
                  <a:lnTo>
                    <a:pt x="428" y="466"/>
                  </a:lnTo>
                  <a:lnTo>
                    <a:pt x="434" y="470"/>
                  </a:lnTo>
                  <a:lnTo>
                    <a:pt x="439" y="479"/>
                  </a:lnTo>
                  <a:lnTo>
                    <a:pt x="443" y="484"/>
                  </a:lnTo>
                  <a:lnTo>
                    <a:pt x="446" y="491"/>
                  </a:lnTo>
                  <a:lnTo>
                    <a:pt x="452" y="506"/>
                  </a:lnTo>
                  <a:lnTo>
                    <a:pt x="457" y="524"/>
                  </a:lnTo>
                  <a:lnTo>
                    <a:pt x="461" y="537"/>
                  </a:lnTo>
                  <a:lnTo>
                    <a:pt x="463" y="524"/>
                  </a:lnTo>
                  <a:lnTo>
                    <a:pt x="464" y="515"/>
                  </a:lnTo>
                  <a:lnTo>
                    <a:pt x="464" y="506"/>
                  </a:lnTo>
                  <a:lnTo>
                    <a:pt x="468" y="497"/>
                  </a:lnTo>
                  <a:lnTo>
                    <a:pt x="475" y="486"/>
                  </a:lnTo>
                  <a:lnTo>
                    <a:pt x="483" y="475"/>
                  </a:lnTo>
                  <a:lnTo>
                    <a:pt x="488" y="462"/>
                  </a:lnTo>
                  <a:lnTo>
                    <a:pt x="495" y="450"/>
                  </a:lnTo>
                  <a:lnTo>
                    <a:pt x="501" y="439"/>
                  </a:lnTo>
                  <a:lnTo>
                    <a:pt x="510" y="413"/>
                  </a:lnTo>
                  <a:lnTo>
                    <a:pt x="515" y="401"/>
                  </a:lnTo>
                  <a:lnTo>
                    <a:pt x="521" y="388"/>
                  </a:lnTo>
                  <a:lnTo>
                    <a:pt x="526" y="375"/>
                  </a:lnTo>
                  <a:lnTo>
                    <a:pt x="530" y="370"/>
                  </a:lnTo>
                  <a:lnTo>
                    <a:pt x="532" y="364"/>
                  </a:lnTo>
                  <a:lnTo>
                    <a:pt x="533" y="352"/>
                  </a:lnTo>
                  <a:lnTo>
                    <a:pt x="535" y="348"/>
                  </a:lnTo>
                  <a:lnTo>
                    <a:pt x="537" y="344"/>
                  </a:lnTo>
                  <a:lnTo>
                    <a:pt x="539" y="343"/>
                  </a:lnTo>
                  <a:lnTo>
                    <a:pt x="541" y="346"/>
                  </a:lnTo>
                  <a:lnTo>
                    <a:pt x="542" y="352"/>
                  </a:lnTo>
                  <a:lnTo>
                    <a:pt x="544" y="363"/>
                  </a:lnTo>
                  <a:lnTo>
                    <a:pt x="544" y="368"/>
                  </a:lnTo>
                  <a:lnTo>
                    <a:pt x="546" y="372"/>
                  </a:lnTo>
                  <a:lnTo>
                    <a:pt x="550" y="375"/>
                  </a:lnTo>
                  <a:lnTo>
                    <a:pt x="551" y="375"/>
                  </a:lnTo>
                  <a:lnTo>
                    <a:pt x="553" y="375"/>
                  </a:lnTo>
                  <a:lnTo>
                    <a:pt x="555" y="375"/>
                  </a:lnTo>
                  <a:lnTo>
                    <a:pt x="559" y="375"/>
                  </a:lnTo>
                  <a:lnTo>
                    <a:pt x="561" y="372"/>
                  </a:lnTo>
                  <a:lnTo>
                    <a:pt x="564" y="370"/>
                  </a:lnTo>
                  <a:lnTo>
                    <a:pt x="566" y="366"/>
                  </a:lnTo>
                  <a:lnTo>
                    <a:pt x="568" y="361"/>
                  </a:lnTo>
                  <a:lnTo>
                    <a:pt x="571" y="354"/>
                  </a:lnTo>
                  <a:lnTo>
                    <a:pt x="577" y="350"/>
                  </a:lnTo>
                  <a:lnTo>
                    <a:pt x="581" y="348"/>
                  </a:lnTo>
                  <a:lnTo>
                    <a:pt x="591" y="344"/>
                  </a:lnTo>
                  <a:lnTo>
                    <a:pt x="599" y="341"/>
                  </a:lnTo>
                  <a:lnTo>
                    <a:pt x="602" y="339"/>
                  </a:lnTo>
                  <a:lnTo>
                    <a:pt x="606" y="339"/>
                  </a:lnTo>
                  <a:lnTo>
                    <a:pt x="610" y="339"/>
                  </a:lnTo>
                  <a:lnTo>
                    <a:pt x="611" y="341"/>
                  </a:lnTo>
                  <a:lnTo>
                    <a:pt x="613" y="343"/>
                  </a:lnTo>
                  <a:lnTo>
                    <a:pt x="613" y="344"/>
                  </a:lnTo>
                  <a:lnTo>
                    <a:pt x="613" y="348"/>
                  </a:lnTo>
                  <a:lnTo>
                    <a:pt x="611" y="352"/>
                  </a:lnTo>
                  <a:lnTo>
                    <a:pt x="606" y="357"/>
                  </a:lnTo>
                  <a:lnTo>
                    <a:pt x="600" y="363"/>
                  </a:lnTo>
                  <a:lnTo>
                    <a:pt x="597" y="368"/>
                  </a:lnTo>
                  <a:lnTo>
                    <a:pt x="595" y="375"/>
                  </a:lnTo>
                  <a:lnTo>
                    <a:pt x="593" y="386"/>
                  </a:lnTo>
                  <a:lnTo>
                    <a:pt x="595" y="392"/>
                  </a:lnTo>
                  <a:lnTo>
                    <a:pt x="595" y="395"/>
                  </a:lnTo>
                  <a:lnTo>
                    <a:pt x="597" y="395"/>
                  </a:lnTo>
                  <a:lnTo>
                    <a:pt x="602" y="393"/>
                  </a:lnTo>
                  <a:lnTo>
                    <a:pt x="608" y="388"/>
                  </a:lnTo>
                  <a:lnTo>
                    <a:pt x="615" y="381"/>
                  </a:lnTo>
                  <a:lnTo>
                    <a:pt x="619" y="374"/>
                  </a:lnTo>
                  <a:lnTo>
                    <a:pt x="628" y="363"/>
                  </a:lnTo>
                  <a:lnTo>
                    <a:pt x="637" y="352"/>
                  </a:lnTo>
                  <a:lnTo>
                    <a:pt x="644" y="341"/>
                  </a:lnTo>
                  <a:lnTo>
                    <a:pt x="649" y="328"/>
                  </a:lnTo>
                  <a:lnTo>
                    <a:pt x="655" y="319"/>
                  </a:lnTo>
                  <a:lnTo>
                    <a:pt x="659" y="314"/>
                  </a:lnTo>
                  <a:lnTo>
                    <a:pt x="660" y="312"/>
                  </a:lnTo>
                  <a:lnTo>
                    <a:pt x="666" y="308"/>
                  </a:lnTo>
                  <a:lnTo>
                    <a:pt x="669" y="306"/>
                  </a:lnTo>
                  <a:lnTo>
                    <a:pt x="679" y="305"/>
                  </a:lnTo>
                  <a:lnTo>
                    <a:pt x="691" y="306"/>
                  </a:lnTo>
                  <a:lnTo>
                    <a:pt x="700" y="310"/>
                  </a:lnTo>
                  <a:lnTo>
                    <a:pt x="704" y="312"/>
                  </a:lnTo>
                  <a:lnTo>
                    <a:pt x="708" y="312"/>
                  </a:lnTo>
                  <a:lnTo>
                    <a:pt x="713" y="312"/>
                  </a:lnTo>
                  <a:lnTo>
                    <a:pt x="718" y="308"/>
                  </a:lnTo>
                  <a:lnTo>
                    <a:pt x="726" y="306"/>
                  </a:lnTo>
                  <a:lnTo>
                    <a:pt x="733" y="303"/>
                  </a:lnTo>
                  <a:lnTo>
                    <a:pt x="740" y="299"/>
                  </a:lnTo>
                  <a:lnTo>
                    <a:pt x="747" y="297"/>
                  </a:lnTo>
                  <a:lnTo>
                    <a:pt x="753" y="294"/>
                  </a:lnTo>
                  <a:lnTo>
                    <a:pt x="764" y="285"/>
                  </a:lnTo>
                  <a:lnTo>
                    <a:pt x="769" y="281"/>
                  </a:lnTo>
                  <a:lnTo>
                    <a:pt x="776" y="277"/>
                  </a:lnTo>
                  <a:lnTo>
                    <a:pt x="784" y="276"/>
                  </a:lnTo>
                  <a:lnTo>
                    <a:pt x="791" y="274"/>
                  </a:lnTo>
                  <a:lnTo>
                    <a:pt x="793" y="274"/>
                  </a:lnTo>
                  <a:lnTo>
                    <a:pt x="809" y="276"/>
                  </a:lnTo>
                  <a:lnTo>
                    <a:pt x="825" y="277"/>
                  </a:lnTo>
                  <a:lnTo>
                    <a:pt x="835" y="279"/>
                  </a:lnTo>
                  <a:lnTo>
                    <a:pt x="844" y="281"/>
                  </a:lnTo>
                  <a:lnTo>
                    <a:pt x="851" y="285"/>
                  </a:lnTo>
                  <a:lnTo>
                    <a:pt x="856" y="288"/>
                  </a:lnTo>
                  <a:lnTo>
                    <a:pt x="862" y="294"/>
                  </a:lnTo>
                  <a:lnTo>
                    <a:pt x="869" y="303"/>
                  </a:lnTo>
                  <a:lnTo>
                    <a:pt x="873" y="306"/>
                  </a:lnTo>
                  <a:lnTo>
                    <a:pt x="876" y="310"/>
                  </a:lnTo>
                  <a:lnTo>
                    <a:pt x="880" y="312"/>
                  </a:lnTo>
                  <a:lnTo>
                    <a:pt x="885" y="314"/>
                  </a:lnTo>
                  <a:lnTo>
                    <a:pt x="887" y="312"/>
                  </a:lnTo>
                  <a:lnTo>
                    <a:pt x="889" y="312"/>
                  </a:lnTo>
                  <a:lnTo>
                    <a:pt x="889" y="310"/>
                  </a:lnTo>
                  <a:lnTo>
                    <a:pt x="891" y="308"/>
                  </a:lnTo>
                  <a:lnTo>
                    <a:pt x="891" y="301"/>
                  </a:lnTo>
                  <a:lnTo>
                    <a:pt x="893" y="286"/>
                  </a:lnTo>
                  <a:lnTo>
                    <a:pt x="894" y="279"/>
                  </a:lnTo>
                  <a:lnTo>
                    <a:pt x="894" y="276"/>
                  </a:lnTo>
                  <a:lnTo>
                    <a:pt x="898" y="274"/>
                  </a:lnTo>
                  <a:lnTo>
                    <a:pt x="902" y="272"/>
                  </a:lnTo>
                  <a:lnTo>
                    <a:pt x="907" y="274"/>
                  </a:lnTo>
                  <a:lnTo>
                    <a:pt x="909" y="274"/>
                  </a:lnTo>
                  <a:lnTo>
                    <a:pt x="911" y="276"/>
                  </a:lnTo>
                  <a:lnTo>
                    <a:pt x="916" y="279"/>
                  </a:lnTo>
                  <a:lnTo>
                    <a:pt x="918" y="279"/>
                  </a:lnTo>
                  <a:lnTo>
                    <a:pt x="920" y="277"/>
                  </a:lnTo>
                  <a:lnTo>
                    <a:pt x="922" y="276"/>
                  </a:lnTo>
                  <a:lnTo>
                    <a:pt x="923" y="276"/>
                  </a:lnTo>
                  <a:lnTo>
                    <a:pt x="934" y="277"/>
                  </a:lnTo>
                  <a:lnTo>
                    <a:pt x="943" y="279"/>
                  </a:lnTo>
                  <a:lnTo>
                    <a:pt x="954" y="283"/>
                  </a:lnTo>
                  <a:lnTo>
                    <a:pt x="963" y="285"/>
                  </a:lnTo>
                  <a:lnTo>
                    <a:pt x="971" y="285"/>
                  </a:lnTo>
                  <a:lnTo>
                    <a:pt x="994" y="285"/>
                  </a:lnTo>
                  <a:lnTo>
                    <a:pt x="1018" y="285"/>
                  </a:lnTo>
                  <a:lnTo>
                    <a:pt x="1041" y="285"/>
                  </a:lnTo>
                  <a:lnTo>
                    <a:pt x="1054" y="285"/>
                  </a:lnTo>
                  <a:lnTo>
                    <a:pt x="1067" y="286"/>
                  </a:lnTo>
                  <a:lnTo>
                    <a:pt x="1072" y="288"/>
                  </a:lnTo>
                  <a:lnTo>
                    <a:pt x="1078" y="290"/>
                  </a:lnTo>
                  <a:lnTo>
                    <a:pt x="1080" y="288"/>
                  </a:lnTo>
                  <a:lnTo>
                    <a:pt x="1081" y="286"/>
                  </a:lnTo>
                  <a:lnTo>
                    <a:pt x="1085" y="279"/>
                  </a:lnTo>
                  <a:lnTo>
                    <a:pt x="1089" y="268"/>
                  </a:lnTo>
                  <a:lnTo>
                    <a:pt x="1089" y="259"/>
                  </a:lnTo>
                  <a:lnTo>
                    <a:pt x="1089" y="256"/>
                  </a:lnTo>
                  <a:lnTo>
                    <a:pt x="1087" y="254"/>
                  </a:lnTo>
                  <a:lnTo>
                    <a:pt x="1085" y="254"/>
                  </a:lnTo>
                  <a:lnTo>
                    <a:pt x="1081" y="250"/>
                  </a:lnTo>
                  <a:lnTo>
                    <a:pt x="1074" y="243"/>
                  </a:lnTo>
                  <a:lnTo>
                    <a:pt x="1067" y="236"/>
                  </a:lnTo>
                  <a:lnTo>
                    <a:pt x="1061" y="234"/>
                  </a:lnTo>
                  <a:lnTo>
                    <a:pt x="1058" y="232"/>
                  </a:lnTo>
                  <a:lnTo>
                    <a:pt x="1051" y="228"/>
                  </a:lnTo>
                  <a:lnTo>
                    <a:pt x="1041" y="227"/>
                  </a:lnTo>
                  <a:lnTo>
                    <a:pt x="1036" y="227"/>
                  </a:lnTo>
                  <a:lnTo>
                    <a:pt x="1031" y="228"/>
                  </a:lnTo>
                  <a:lnTo>
                    <a:pt x="1031" y="230"/>
                  </a:lnTo>
                  <a:lnTo>
                    <a:pt x="1029" y="232"/>
                  </a:lnTo>
                  <a:lnTo>
                    <a:pt x="1031" y="234"/>
                  </a:lnTo>
                  <a:lnTo>
                    <a:pt x="1034" y="237"/>
                  </a:lnTo>
                  <a:lnTo>
                    <a:pt x="1040" y="239"/>
                  </a:lnTo>
                  <a:lnTo>
                    <a:pt x="1040" y="241"/>
                  </a:lnTo>
                  <a:lnTo>
                    <a:pt x="1041" y="243"/>
                  </a:lnTo>
                  <a:lnTo>
                    <a:pt x="1041" y="245"/>
                  </a:lnTo>
                  <a:lnTo>
                    <a:pt x="1041" y="246"/>
                  </a:lnTo>
                  <a:lnTo>
                    <a:pt x="1041" y="248"/>
                  </a:lnTo>
                  <a:lnTo>
                    <a:pt x="1040" y="250"/>
                  </a:lnTo>
                  <a:lnTo>
                    <a:pt x="1038" y="254"/>
                  </a:lnTo>
                  <a:lnTo>
                    <a:pt x="1034" y="256"/>
                  </a:lnTo>
                  <a:lnTo>
                    <a:pt x="1031" y="256"/>
                  </a:lnTo>
                  <a:lnTo>
                    <a:pt x="1020" y="254"/>
                  </a:lnTo>
                  <a:lnTo>
                    <a:pt x="1012" y="252"/>
                  </a:lnTo>
                  <a:lnTo>
                    <a:pt x="1009" y="250"/>
                  </a:lnTo>
                  <a:lnTo>
                    <a:pt x="1007" y="246"/>
                  </a:lnTo>
                  <a:lnTo>
                    <a:pt x="1002" y="243"/>
                  </a:lnTo>
                  <a:lnTo>
                    <a:pt x="996" y="241"/>
                  </a:lnTo>
                  <a:lnTo>
                    <a:pt x="991" y="237"/>
                  </a:lnTo>
                  <a:lnTo>
                    <a:pt x="989" y="236"/>
                  </a:lnTo>
                  <a:lnTo>
                    <a:pt x="987" y="232"/>
                  </a:lnTo>
                  <a:lnTo>
                    <a:pt x="987" y="230"/>
                  </a:lnTo>
                  <a:lnTo>
                    <a:pt x="985" y="227"/>
                  </a:lnTo>
                  <a:lnTo>
                    <a:pt x="980" y="223"/>
                  </a:lnTo>
                  <a:lnTo>
                    <a:pt x="976" y="223"/>
                  </a:lnTo>
                  <a:lnTo>
                    <a:pt x="971" y="225"/>
                  </a:lnTo>
                  <a:lnTo>
                    <a:pt x="965" y="227"/>
                  </a:lnTo>
                  <a:lnTo>
                    <a:pt x="960" y="228"/>
                  </a:lnTo>
                  <a:lnTo>
                    <a:pt x="958" y="228"/>
                  </a:lnTo>
                  <a:lnTo>
                    <a:pt x="958" y="227"/>
                  </a:lnTo>
                  <a:lnTo>
                    <a:pt x="960" y="221"/>
                  </a:lnTo>
                  <a:lnTo>
                    <a:pt x="962" y="217"/>
                  </a:lnTo>
                  <a:lnTo>
                    <a:pt x="960" y="216"/>
                  </a:lnTo>
                  <a:lnTo>
                    <a:pt x="962" y="212"/>
                  </a:lnTo>
                  <a:lnTo>
                    <a:pt x="963" y="208"/>
                  </a:lnTo>
                  <a:lnTo>
                    <a:pt x="965" y="203"/>
                  </a:lnTo>
                  <a:lnTo>
                    <a:pt x="965" y="199"/>
                  </a:lnTo>
                  <a:lnTo>
                    <a:pt x="965" y="197"/>
                  </a:lnTo>
                  <a:lnTo>
                    <a:pt x="963" y="192"/>
                  </a:lnTo>
                  <a:lnTo>
                    <a:pt x="960" y="190"/>
                  </a:lnTo>
                  <a:lnTo>
                    <a:pt x="958" y="187"/>
                  </a:lnTo>
                  <a:lnTo>
                    <a:pt x="956" y="183"/>
                  </a:lnTo>
                  <a:lnTo>
                    <a:pt x="958" y="183"/>
                  </a:lnTo>
                  <a:lnTo>
                    <a:pt x="962" y="183"/>
                  </a:lnTo>
                  <a:lnTo>
                    <a:pt x="965" y="185"/>
                  </a:lnTo>
                  <a:lnTo>
                    <a:pt x="969" y="183"/>
                  </a:lnTo>
                  <a:lnTo>
                    <a:pt x="969" y="179"/>
                  </a:lnTo>
                  <a:lnTo>
                    <a:pt x="971" y="167"/>
                  </a:lnTo>
                  <a:lnTo>
                    <a:pt x="972" y="158"/>
                  </a:lnTo>
                  <a:lnTo>
                    <a:pt x="972" y="154"/>
                  </a:lnTo>
                  <a:lnTo>
                    <a:pt x="971" y="150"/>
                  </a:lnTo>
                  <a:lnTo>
                    <a:pt x="969" y="148"/>
                  </a:lnTo>
                  <a:lnTo>
                    <a:pt x="963" y="148"/>
                  </a:lnTo>
                  <a:lnTo>
                    <a:pt x="954" y="148"/>
                  </a:lnTo>
                  <a:lnTo>
                    <a:pt x="947" y="150"/>
                  </a:lnTo>
                  <a:lnTo>
                    <a:pt x="940" y="154"/>
                  </a:lnTo>
                  <a:lnTo>
                    <a:pt x="933" y="158"/>
                  </a:lnTo>
                  <a:lnTo>
                    <a:pt x="922" y="165"/>
                  </a:lnTo>
                  <a:lnTo>
                    <a:pt x="916" y="167"/>
                  </a:lnTo>
                  <a:lnTo>
                    <a:pt x="911" y="167"/>
                  </a:lnTo>
                  <a:lnTo>
                    <a:pt x="909" y="167"/>
                  </a:lnTo>
                  <a:lnTo>
                    <a:pt x="905" y="167"/>
                  </a:lnTo>
                  <a:lnTo>
                    <a:pt x="902" y="168"/>
                  </a:lnTo>
                  <a:lnTo>
                    <a:pt x="902" y="170"/>
                  </a:lnTo>
                  <a:lnTo>
                    <a:pt x="904" y="176"/>
                  </a:lnTo>
                  <a:lnTo>
                    <a:pt x="905" y="181"/>
                  </a:lnTo>
                  <a:lnTo>
                    <a:pt x="904" y="183"/>
                  </a:lnTo>
                  <a:lnTo>
                    <a:pt x="902" y="185"/>
                  </a:lnTo>
                  <a:lnTo>
                    <a:pt x="898" y="183"/>
                  </a:lnTo>
                  <a:lnTo>
                    <a:pt x="896" y="183"/>
                  </a:lnTo>
                  <a:lnTo>
                    <a:pt x="893" y="178"/>
                  </a:lnTo>
                  <a:lnTo>
                    <a:pt x="889" y="174"/>
                  </a:lnTo>
                  <a:lnTo>
                    <a:pt x="887" y="172"/>
                  </a:lnTo>
                  <a:lnTo>
                    <a:pt x="885" y="170"/>
                  </a:lnTo>
                  <a:lnTo>
                    <a:pt x="884" y="170"/>
                  </a:lnTo>
                  <a:lnTo>
                    <a:pt x="876" y="172"/>
                  </a:lnTo>
                  <a:lnTo>
                    <a:pt x="869" y="176"/>
                  </a:lnTo>
                  <a:lnTo>
                    <a:pt x="864" y="178"/>
                  </a:lnTo>
                  <a:lnTo>
                    <a:pt x="856" y="179"/>
                  </a:lnTo>
                  <a:lnTo>
                    <a:pt x="851" y="179"/>
                  </a:lnTo>
                  <a:lnTo>
                    <a:pt x="842" y="178"/>
                  </a:lnTo>
                  <a:lnTo>
                    <a:pt x="835" y="174"/>
                  </a:lnTo>
                  <a:lnTo>
                    <a:pt x="831" y="172"/>
                  </a:lnTo>
                  <a:lnTo>
                    <a:pt x="829" y="172"/>
                  </a:lnTo>
                  <a:lnTo>
                    <a:pt x="827" y="168"/>
                  </a:lnTo>
                  <a:lnTo>
                    <a:pt x="825" y="163"/>
                  </a:lnTo>
                  <a:lnTo>
                    <a:pt x="825" y="152"/>
                  </a:lnTo>
                  <a:lnTo>
                    <a:pt x="827" y="132"/>
                  </a:lnTo>
                  <a:lnTo>
                    <a:pt x="827" y="114"/>
                  </a:lnTo>
                  <a:lnTo>
                    <a:pt x="824" y="114"/>
                  </a:lnTo>
                  <a:lnTo>
                    <a:pt x="818" y="114"/>
                  </a:lnTo>
                  <a:lnTo>
                    <a:pt x="813" y="116"/>
                  </a:lnTo>
                  <a:lnTo>
                    <a:pt x="800" y="121"/>
                  </a:lnTo>
                  <a:lnTo>
                    <a:pt x="789" y="129"/>
                  </a:lnTo>
                  <a:lnTo>
                    <a:pt x="782" y="130"/>
                  </a:lnTo>
                  <a:lnTo>
                    <a:pt x="776" y="132"/>
                  </a:lnTo>
                  <a:lnTo>
                    <a:pt x="764" y="134"/>
                  </a:lnTo>
                  <a:lnTo>
                    <a:pt x="751" y="136"/>
                  </a:lnTo>
                  <a:lnTo>
                    <a:pt x="728" y="145"/>
                  </a:lnTo>
                  <a:lnTo>
                    <a:pt x="704" y="150"/>
                  </a:lnTo>
                  <a:lnTo>
                    <a:pt x="680" y="156"/>
                  </a:lnTo>
                  <a:lnTo>
                    <a:pt x="673" y="156"/>
                  </a:lnTo>
                  <a:lnTo>
                    <a:pt x="664" y="156"/>
                  </a:lnTo>
                  <a:lnTo>
                    <a:pt x="657" y="156"/>
                  </a:lnTo>
                  <a:lnTo>
                    <a:pt x="646" y="156"/>
                  </a:lnTo>
                  <a:lnTo>
                    <a:pt x="637" y="161"/>
                  </a:lnTo>
                  <a:lnTo>
                    <a:pt x="630" y="167"/>
                  </a:lnTo>
                  <a:lnTo>
                    <a:pt x="615" y="181"/>
                  </a:lnTo>
                  <a:lnTo>
                    <a:pt x="608" y="188"/>
                  </a:lnTo>
                  <a:lnTo>
                    <a:pt x="599" y="199"/>
                  </a:lnTo>
                  <a:lnTo>
                    <a:pt x="591" y="208"/>
                  </a:lnTo>
                  <a:lnTo>
                    <a:pt x="586" y="212"/>
                  </a:lnTo>
                  <a:lnTo>
                    <a:pt x="582" y="214"/>
                  </a:lnTo>
                  <a:lnTo>
                    <a:pt x="577" y="216"/>
                  </a:lnTo>
                  <a:lnTo>
                    <a:pt x="575" y="216"/>
                  </a:lnTo>
                  <a:lnTo>
                    <a:pt x="571" y="214"/>
                  </a:lnTo>
                  <a:lnTo>
                    <a:pt x="570" y="212"/>
                  </a:lnTo>
                  <a:lnTo>
                    <a:pt x="564" y="210"/>
                  </a:lnTo>
                  <a:lnTo>
                    <a:pt x="561" y="212"/>
                  </a:lnTo>
                  <a:lnTo>
                    <a:pt x="557" y="214"/>
                  </a:lnTo>
                  <a:lnTo>
                    <a:pt x="553" y="216"/>
                  </a:lnTo>
                  <a:lnTo>
                    <a:pt x="550" y="216"/>
                  </a:lnTo>
                  <a:lnTo>
                    <a:pt x="548" y="216"/>
                  </a:lnTo>
                  <a:lnTo>
                    <a:pt x="544" y="212"/>
                  </a:lnTo>
                  <a:lnTo>
                    <a:pt x="542" y="208"/>
                  </a:lnTo>
                  <a:lnTo>
                    <a:pt x="541" y="201"/>
                  </a:lnTo>
                  <a:lnTo>
                    <a:pt x="541" y="199"/>
                  </a:lnTo>
                  <a:lnTo>
                    <a:pt x="539" y="197"/>
                  </a:lnTo>
                  <a:lnTo>
                    <a:pt x="537" y="196"/>
                  </a:lnTo>
                  <a:lnTo>
                    <a:pt x="530" y="201"/>
                  </a:lnTo>
                  <a:lnTo>
                    <a:pt x="524" y="207"/>
                  </a:lnTo>
                  <a:lnTo>
                    <a:pt x="517" y="210"/>
                  </a:lnTo>
                  <a:lnTo>
                    <a:pt x="513" y="212"/>
                  </a:lnTo>
                  <a:lnTo>
                    <a:pt x="510" y="212"/>
                  </a:lnTo>
                  <a:lnTo>
                    <a:pt x="506" y="212"/>
                  </a:lnTo>
                  <a:lnTo>
                    <a:pt x="502" y="210"/>
                  </a:lnTo>
                  <a:lnTo>
                    <a:pt x="501" y="208"/>
                  </a:lnTo>
                  <a:lnTo>
                    <a:pt x="497" y="207"/>
                  </a:lnTo>
                  <a:lnTo>
                    <a:pt x="493" y="205"/>
                  </a:lnTo>
                  <a:lnTo>
                    <a:pt x="492" y="205"/>
                  </a:lnTo>
                  <a:lnTo>
                    <a:pt x="488" y="205"/>
                  </a:lnTo>
                  <a:lnTo>
                    <a:pt x="483" y="205"/>
                  </a:lnTo>
                  <a:lnTo>
                    <a:pt x="481" y="205"/>
                  </a:lnTo>
                  <a:lnTo>
                    <a:pt x="479" y="205"/>
                  </a:lnTo>
                  <a:lnTo>
                    <a:pt x="473" y="201"/>
                  </a:lnTo>
                  <a:lnTo>
                    <a:pt x="470" y="197"/>
                  </a:lnTo>
                  <a:lnTo>
                    <a:pt x="466" y="192"/>
                  </a:lnTo>
                  <a:lnTo>
                    <a:pt x="463" y="187"/>
                  </a:lnTo>
                  <a:lnTo>
                    <a:pt x="457" y="176"/>
                  </a:lnTo>
                  <a:lnTo>
                    <a:pt x="452" y="165"/>
                  </a:lnTo>
                  <a:lnTo>
                    <a:pt x="446" y="161"/>
                  </a:lnTo>
                  <a:lnTo>
                    <a:pt x="439" y="158"/>
                  </a:lnTo>
                  <a:lnTo>
                    <a:pt x="432" y="154"/>
                  </a:lnTo>
                  <a:lnTo>
                    <a:pt x="430" y="152"/>
                  </a:lnTo>
                  <a:lnTo>
                    <a:pt x="426" y="150"/>
                  </a:lnTo>
                  <a:lnTo>
                    <a:pt x="419" y="143"/>
                  </a:lnTo>
                  <a:lnTo>
                    <a:pt x="414" y="138"/>
                  </a:lnTo>
                  <a:lnTo>
                    <a:pt x="408" y="132"/>
                  </a:lnTo>
                  <a:lnTo>
                    <a:pt x="399" y="129"/>
                  </a:lnTo>
                  <a:lnTo>
                    <a:pt x="392" y="127"/>
                  </a:lnTo>
                  <a:lnTo>
                    <a:pt x="381" y="129"/>
                  </a:lnTo>
                  <a:lnTo>
                    <a:pt x="368" y="129"/>
                  </a:lnTo>
                  <a:lnTo>
                    <a:pt x="363" y="129"/>
                  </a:lnTo>
                  <a:lnTo>
                    <a:pt x="357" y="129"/>
                  </a:lnTo>
                  <a:lnTo>
                    <a:pt x="354" y="127"/>
                  </a:lnTo>
                  <a:lnTo>
                    <a:pt x="352" y="123"/>
                  </a:lnTo>
                  <a:lnTo>
                    <a:pt x="348" y="118"/>
                  </a:lnTo>
                  <a:lnTo>
                    <a:pt x="346" y="116"/>
                  </a:lnTo>
                  <a:lnTo>
                    <a:pt x="345" y="114"/>
                  </a:lnTo>
                  <a:lnTo>
                    <a:pt x="341" y="116"/>
                  </a:lnTo>
                  <a:lnTo>
                    <a:pt x="337" y="116"/>
                  </a:lnTo>
                  <a:lnTo>
                    <a:pt x="334" y="119"/>
                  </a:lnTo>
                  <a:lnTo>
                    <a:pt x="328" y="125"/>
                  </a:lnTo>
                  <a:lnTo>
                    <a:pt x="323" y="132"/>
                  </a:lnTo>
                  <a:lnTo>
                    <a:pt x="317" y="141"/>
                  </a:lnTo>
                  <a:lnTo>
                    <a:pt x="308" y="156"/>
                  </a:lnTo>
                  <a:lnTo>
                    <a:pt x="305" y="159"/>
                  </a:lnTo>
                  <a:lnTo>
                    <a:pt x="303" y="161"/>
                  </a:lnTo>
                  <a:lnTo>
                    <a:pt x="301" y="161"/>
                  </a:lnTo>
                  <a:lnTo>
                    <a:pt x="299" y="161"/>
                  </a:lnTo>
                  <a:lnTo>
                    <a:pt x="297" y="161"/>
                  </a:lnTo>
                  <a:lnTo>
                    <a:pt x="296" y="158"/>
                  </a:lnTo>
                  <a:lnTo>
                    <a:pt x="294" y="156"/>
                  </a:lnTo>
                  <a:lnTo>
                    <a:pt x="294" y="150"/>
                  </a:lnTo>
                  <a:lnTo>
                    <a:pt x="294" y="145"/>
                  </a:lnTo>
                  <a:lnTo>
                    <a:pt x="296" y="138"/>
                  </a:lnTo>
                  <a:lnTo>
                    <a:pt x="299" y="125"/>
                  </a:lnTo>
                  <a:lnTo>
                    <a:pt x="303" y="114"/>
                  </a:lnTo>
                  <a:lnTo>
                    <a:pt x="307" y="103"/>
                  </a:lnTo>
                  <a:lnTo>
                    <a:pt x="317" y="85"/>
                  </a:lnTo>
                  <a:lnTo>
                    <a:pt x="321" y="80"/>
                  </a:lnTo>
                  <a:lnTo>
                    <a:pt x="328" y="74"/>
                  </a:lnTo>
                  <a:lnTo>
                    <a:pt x="345" y="60"/>
                  </a:lnTo>
                  <a:lnTo>
                    <a:pt x="354" y="52"/>
                  </a:lnTo>
                  <a:lnTo>
                    <a:pt x="359" y="45"/>
                  </a:lnTo>
                  <a:lnTo>
                    <a:pt x="365" y="38"/>
                  </a:lnTo>
                  <a:lnTo>
                    <a:pt x="366" y="34"/>
                  </a:lnTo>
                  <a:lnTo>
                    <a:pt x="366" y="31"/>
                  </a:lnTo>
                  <a:lnTo>
                    <a:pt x="366" y="27"/>
                  </a:lnTo>
                  <a:lnTo>
                    <a:pt x="370" y="25"/>
                  </a:lnTo>
                  <a:lnTo>
                    <a:pt x="375" y="25"/>
                  </a:lnTo>
                  <a:lnTo>
                    <a:pt x="386" y="23"/>
                  </a:lnTo>
                  <a:lnTo>
                    <a:pt x="392" y="21"/>
                  </a:lnTo>
                  <a:lnTo>
                    <a:pt x="395" y="20"/>
                  </a:lnTo>
                  <a:lnTo>
                    <a:pt x="397" y="16"/>
                  </a:lnTo>
                  <a:lnTo>
                    <a:pt x="399" y="12"/>
                  </a:lnTo>
                  <a:lnTo>
                    <a:pt x="397" y="9"/>
                  </a:lnTo>
                  <a:lnTo>
                    <a:pt x="395" y="7"/>
                  </a:lnTo>
                  <a:lnTo>
                    <a:pt x="392" y="3"/>
                  </a:lnTo>
                  <a:lnTo>
                    <a:pt x="388" y="1"/>
                  </a:lnTo>
                  <a:lnTo>
                    <a:pt x="381" y="0"/>
                  </a:lnTo>
                  <a:lnTo>
                    <a:pt x="374" y="0"/>
                  </a:lnTo>
                  <a:close/>
                  <a:moveTo>
                    <a:pt x="1083" y="266"/>
                  </a:moveTo>
                  <a:lnTo>
                    <a:pt x="1081" y="266"/>
                  </a:lnTo>
                  <a:lnTo>
                    <a:pt x="1083" y="266"/>
                  </a:lnTo>
                  <a:close/>
                </a:path>
              </a:pathLst>
            </a:custGeom>
            <a:solidFill>
              <a:srgbClr val="FFE600"/>
            </a:solidFill>
            <a:ln w="6350" cap="flat" cmpd="sng" algn="ctr">
              <a:solidFill>
                <a:srgbClr val="2E2E38"/>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646464"/>
                </a:solidFill>
                <a:effectLst/>
                <a:uLnTx/>
                <a:uFillTx/>
                <a:cs typeface="Times New Roman" panose="02020603050405020304" pitchFamily="18" charset="0"/>
              </a:endParaRPr>
            </a:p>
          </p:txBody>
        </p:sp>
        <p:sp>
          <p:nvSpPr>
            <p:cNvPr id="18" name="Line 32">
              <a:extLst>
                <a:ext uri="{FF2B5EF4-FFF2-40B4-BE49-F238E27FC236}">
                  <a16:creationId xmlns:a16="http://schemas.microsoft.com/office/drawing/2014/main" id="{B7DCEE9E-D61C-2567-DAFC-07B331BC6FEB}"/>
                </a:ext>
              </a:extLst>
            </p:cNvPr>
            <p:cNvSpPr>
              <a:spLocks noChangeShapeType="1"/>
            </p:cNvSpPr>
            <p:nvPr/>
          </p:nvSpPr>
          <p:spPr bwMode="auto">
            <a:xfrm>
              <a:off x="5724669" y="4091898"/>
              <a:ext cx="915" cy="894"/>
            </a:xfrm>
            <a:prstGeom prst="line">
              <a:avLst/>
            </a:prstGeom>
            <a:noFill/>
            <a:ln w="3175">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646464"/>
                </a:solidFill>
                <a:effectLst/>
                <a:uLnTx/>
                <a:uFillTx/>
                <a:cs typeface="Times New Roman" panose="02020603050405020304" pitchFamily="18" charset="0"/>
              </a:endParaRPr>
            </a:p>
          </p:txBody>
        </p:sp>
        <p:sp>
          <p:nvSpPr>
            <p:cNvPr id="19" name="Freeform 33">
              <a:extLst>
                <a:ext uri="{FF2B5EF4-FFF2-40B4-BE49-F238E27FC236}">
                  <a16:creationId xmlns:a16="http://schemas.microsoft.com/office/drawing/2014/main" id="{8FB79230-6AD7-0A6A-1705-B6BE898E6342}"/>
                </a:ext>
              </a:extLst>
            </p:cNvPr>
            <p:cNvSpPr>
              <a:spLocks noEditPoints="1"/>
            </p:cNvSpPr>
            <p:nvPr/>
          </p:nvSpPr>
          <p:spPr bwMode="auto">
            <a:xfrm>
              <a:off x="5460009" y="4756189"/>
              <a:ext cx="587017" cy="296924"/>
            </a:xfrm>
            <a:custGeom>
              <a:avLst/>
              <a:gdLst/>
              <a:ahLst/>
              <a:cxnLst>
                <a:cxn ang="0">
                  <a:pos x="762" y="16"/>
                </a:cxn>
                <a:cxn ang="0">
                  <a:pos x="750" y="20"/>
                </a:cxn>
                <a:cxn ang="0">
                  <a:pos x="741" y="63"/>
                </a:cxn>
                <a:cxn ang="0">
                  <a:pos x="694" y="107"/>
                </a:cxn>
                <a:cxn ang="0">
                  <a:pos x="650" y="98"/>
                </a:cxn>
                <a:cxn ang="0">
                  <a:pos x="641" y="174"/>
                </a:cxn>
                <a:cxn ang="0">
                  <a:pos x="605" y="203"/>
                </a:cxn>
                <a:cxn ang="0">
                  <a:pos x="583" y="227"/>
                </a:cxn>
                <a:cxn ang="0">
                  <a:pos x="566" y="265"/>
                </a:cxn>
                <a:cxn ang="0">
                  <a:pos x="530" y="272"/>
                </a:cxn>
                <a:cxn ang="0">
                  <a:pos x="512" y="252"/>
                </a:cxn>
                <a:cxn ang="0">
                  <a:pos x="485" y="272"/>
                </a:cxn>
                <a:cxn ang="0">
                  <a:pos x="461" y="316"/>
                </a:cxn>
                <a:cxn ang="0">
                  <a:pos x="434" y="292"/>
                </a:cxn>
                <a:cxn ang="0">
                  <a:pos x="400" y="316"/>
                </a:cxn>
                <a:cxn ang="0">
                  <a:pos x="372" y="343"/>
                </a:cxn>
                <a:cxn ang="0">
                  <a:pos x="338" y="312"/>
                </a:cxn>
                <a:cxn ang="0">
                  <a:pos x="289" y="325"/>
                </a:cxn>
                <a:cxn ang="0">
                  <a:pos x="260" y="337"/>
                </a:cxn>
                <a:cxn ang="0">
                  <a:pos x="234" y="328"/>
                </a:cxn>
                <a:cxn ang="0">
                  <a:pos x="218" y="365"/>
                </a:cxn>
                <a:cxn ang="0">
                  <a:pos x="205" y="401"/>
                </a:cxn>
                <a:cxn ang="0">
                  <a:pos x="216" y="423"/>
                </a:cxn>
                <a:cxn ang="0">
                  <a:pos x="155" y="455"/>
                </a:cxn>
                <a:cxn ang="0">
                  <a:pos x="160" y="495"/>
                </a:cxn>
                <a:cxn ang="0">
                  <a:pos x="160" y="523"/>
                </a:cxn>
                <a:cxn ang="0">
                  <a:pos x="126" y="510"/>
                </a:cxn>
                <a:cxn ang="0">
                  <a:pos x="64" y="493"/>
                </a:cxn>
                <a:cxn ang="0">
                  <a:pos x="35" y="532"/>
                </a:cxn>
                <a:cxn ang="0">
                  <a:pos x="47" y="572"/>
                </a:cxn>
                <a:cxn ang="0">
                  <a:pos x="40" y="606"/>
                </a:cxn>
                <a:cxn ang="0">
                  <a:pos x="28" y="628"/>
                </a:cxn>
                <a:cxn ang="0">
                  <a:pos x="8" y="630"/>
                </a:cxn>
                <a:cxn ang="0">
                  <a:pos x="17" y="659"/>
                </a:cxn>
                <a:cxn ang="0">
                  <a:pos x="205" y="646"/>
                </a:cxn>
                <a:cxn ang="0">
                  <a:pos x="236" y="601"/>
                </a:cxn>
                <a:cxn ang="0">
                  <a:pos x="664" y="575"/>
                </a:cxn>
                <a:cxn ang="0">
                  <a:pos x="1027" y="524"/>
                </a:cxn>
                <a:cxn ang="0">
                  <a:pos x="1115" y="475"/>
                </a:cxn>
                <a:cxn ang="0">
                  <a:pos x="1189" y="377"/>
                </a:cxn>
                <a:cxn ang="0">
                  <a:pos x="1238" y="341"/>
                </a:cxn>
                <a:cxn ang="0">
                  <a:pos x="1280" y="294"/>
                </a:cxn>
                <a:cxn ang="0">
                  <a:pos x="1236" y="288"/>
                </a:cxn>
                <a:cxn ang="0">
                  <a:pos x="1194" y="241"/>
                </a:cxn>
                <a:cxn ang="0">
                  <a:pos x="1138" y="156"/>
                </a:cxn>
                <a:cxn ang="0">
                  <a:pos x="1116" y="100"/>
                </a:cxn>
                <a:cxn ang="0">
                  <a:pos x="1073" y="65"/>
                </a:cxn>
                <a:cxn ang="0">
                  <a:pos x="1024" y="85"/>
                </a:cxn>
                <a:cxn ang="0">
                  <a:pos x="960" y="78"/>
                </a:cxn>
                <a:cxn ang="0">
                  <a:pos x="933" y="89"/>
                </a:cxn>
                <a:cxn ang="0">
                  <a:pos x="899" y="67"/>
                </a:cxn>
                <a:cxn ang="0">
                  <a:pos x="840" y="56"/>
                </a:cxn>
                <a:cxn ang="0">
                  <a:pos x="822" y="18"/>
                </a:cxn>
                <a:cxn ang="0">
                  <a:pos x="311" y="317"/>
                </a:cxn>
                <a:cxn ang="0">
                  <a:pos x="24" y="640"/>
                </a:cxn>
              </a:cxnLst>
              <a:rect l="0" t="0" r="r" b="b"/>
              <a:pathLst>
                <a:path w="1281" h="664">
                  <a:moveTo>
                    <a:pt x="802" y="0"/>
                  </a:moveTo>
                  <a:lnTo>
                    <a:pt x="797" y="2"/>
                  </a:lnTo>
                  <a:lnTo>
                    <a:pt x="792" y="3"/>
                  </a:lnTo>
                  <a:lnTo>
                    <a:pt x="782" y="9"/>
                  </a:lnTo>
                  <a:lnTo>
                    <a:pt x="772" y="14"/>
                  </a:lnTo>
                  <a:lnTo>
                    <a:pt x="766" y="14"/>
                  </a:lnTo>
                  <a:lnTo>
                    <a:pt x="762" y="16"/>
                  </a:lnTo>
                  <a:lnTo>
                    <a:pt x="757" y="16"/>
                  </a:lnTo>
                  <a:lnTo>
                    <a:pt x="753" y="14"/>
                  </a:lnTo>
                  <a:lnTo>
                    <a:pt x="752" y="13"/>
                  </a:lnTo>
                  <a:lnTo>
                    <a:pt x="750" y="11"/>
                  </a:lnTo>
                  <a:lnTo>
                    <a:pt x="748" y="9"/>
                  </a:lnTo>
                  <a:lnTo>
                    <a:pt x="746" y="7"/>
                  </a:lnTo>
                  <a:lnTo>
                    <a:pt x="750" y="20"/>
                  </a:lnTo>
                  <a:lnTo>
                    <a:pt x="750" y="27"/>
                  </a:lnTo>
                  <a:lnTo>
                    <a:pt x="750" y="29"/>
                  </a:lnTo>
                  <a:lnTo>
                    <a:pt x="750" y="36"/>
                  </a:lnTo>
                  <a:lnTo>
                    <a:pt x="748" y="42"/>
                  </a:lnTo>
                  <a:lnTo>
                    <a:pt x="746" y="49"/>
                  </a:lnTo>
                  <a:lnTo>
                    <a:pt x="744" y="56"/>
                  </a:lnTo>
                  <a:lnTo>
                    <a:pt x="741" y="63"/>
                  </a:lnTo>
                  <a:lnTo>
                    <a:pt x="735" y="69"/>
                  </a:lnTo>
                  <a:lnTo>
                    <a:pt x="732" y="76"/>
                  </a:lnTo>
                  <a:lnTo>
                    <a:pt x="726" y="83"/>
                  </a:lnTo>
                  <a:lnTo>
                    <a:pt x="719" y="89"/>
                  </a:lnTo>
                  <a:lnTo>
                    <a:pt x="712" y="96"/>
                  </a:lnTo>
                  <a:lnTo>
                    <a:pt x="701" y="103"/>
                  </a:lnTo>
                  <a:lnTo>
                    <a:pt x="694" y="107"/>
                  </a:lnTo>
                  <a:lnTo>
                    <a:pt x="690" y="107"/>
                  </a:lnTo>
                  <a:lnTo>
                    <a:pt x="683" y="105"/>
                  </a:lnTo>
                  <a:lnTo>
                    <a:pt x="674" y="101"/>
                  </a:lnTo>
                  <a:lnTo>
                    <a:pt x="664" y="100"/>
                  </a:lnTo>
                  <a:lnTo>
                    <a:pt x="655" y="98"/>
                  </a:lnTo>
                  <a:lnTo>
                    <a:pt x="654" y="98"/>
                  </a:lnTo>
                  <a:lnTo>
                    <a:pt x="650" y="98"/>
                  </a:lnTo>
                  <a:lnTo>
                    <a:pt x="650" y="118"/>
                  </a:lnTo>
                  <a:lnTo>
                    <a:pt x="650" y="129"/>
                  </a:lnTo>
                  <a:lnTo>
                    <a:pt x="650" y="140"/>
                  </a:lnTo>
                  <a:lnTo>
                    <a:pt x="648" y="150"/>
                  </a:lnTo>
                  <a:lnTo>
                    <a:pt x="646" y="160"/>
                  </a:lnTo>
                  <a:lnTo>
                    <a:pt x="643" y="169"/>
                  </a:lnTo>
                  <a:lnTo>
                    <a:pt x="641" y="174"/>
                  </a:lnTo>
                  <a:lnTo>
                    <a:pt x="637" y="178"/>
                  </a:lnTo>
                  <a:lnTo>
                    <a:pt x="630" y="185"/>
                  </a:lnTo>
                  <a:lnTo>
                    <a:pt x="623" y="189"/>
                  </a:lnTo>
                  <a:lnTo>
                    <a:pt x="614" y="194"/>
                  </a:lnTo>
                  <a:lnTo>
                    <a:pt x="610" y="198"/>
                  </a:lnTo>
                  <a:lnTo>
                    <a:pt x="606" y="201"/>
                  </a:lnTo>
                  <a:lnTo>
                    <a:pt x="605" y="203"/>
                  </a:lnTo>
                  <a:lnTo>
                    <a:pt x="603" y="207"/>
                  </a:lnTo>
                  <a:lnTo>
                    <a:pt x="601" y="214"/>
                  </a:lnTo>
                  <a:lnTo>
                    <a:pt x="597" y="221"/>
                  </a:lnTo>
                  <a:lnTo>
                    <a:pt x="594" y="229"/>
                  </a:lnTo>
                  <a:lnTo>
                    <a:pt x="590" y="227"/>
                  </a:lnTo>
                  <a:lnTo>
                    <a:pt x="586" y="227"/>
                  </a:lnTo>
                  <a:lnTo>
                    <a:pt x="583" y="227"/>
                  </a:lnTo>
                  <a:lnTo>
                    <a:pt x="579" y="229"/>
                  </a:lnTo>
                  <a:lnTo>
                    <a:pt x="577" y="230"/>
                  </a:lnTo>
                  <a:lnTo>
                    <a:pt x="576" y="232"/>
                  </a:lnTo>
                  <a:lnTo>
                    <a:pt x="572" y="239"/>
                  </a:lnTo>
                  <a:lnTo>
                    <a:pt x="570" y="247"/>
                  </a:lnTo>
                  <a:lnTo>
                    <a:pt x="568" y="256"/>
                  </a:lnTo>
                  <a:lnTo>
                    <a:pt x="566" y="265"/>
                  </a:lnTo>
                  <a:lnTo>
                    <a:pt x="566" y="272"/>
                  </a:lnTo>
                  <a:lnTo>
                    <a:pt x="565" y="279"/>
                  </a:lnTo>
                  <a:lnTo>
                    <a:pt x="556" y="281"/>
                  </a:lnTo>
                  <a:lnTo>
                    <a:pt x="550" y="283"/>
                  </a:lnTo>
                  <a:lnTo>
                    <a:pt x="545" y="281"/>
                  </a:lnTo>
                  <a:lnTo>
                    <a:pt x="539" y="279"/>
                  </a:lnTo>
                  <a:lnTo>
                    <a:pt x="530" y="272"/>
                  </a:lnTo>
                  <a:lnTo>
                    <a:pt x="527" y="267"/>
                  </a:lnTo>
                  <a:lnTo>
                    <a:pt x="523" y="259"/>
                  </a:lnTo>
                  <a:lnTo>
                    <a:pt x="521" y="252"/>
                  </a:lnTo>
                  <a:lnTo>
                    <a:pt x="519" y="250"/>
                  </a:lnTo>
                  <a:lnTo>
                    <a:pt x="516" y="250"/>
                  </a:lnTo>
                  <a:lnTo>
                    <a:pt x="514" y="250"/>
                  </a:lnTo>
                  <a:lnTo>
                    <a:pt x="512" y="252"/>
                  </a:lnTo>
                  <a:lnTo>
                    <a:pt x="507" y="258"/>
                  </a:lnTo>
                  <a:lnTo>
                    <a:pt x="503" y="247"/>
                  </a:lnTo>
                  <a:lnTo>
                    <a:pt x="499" y="250"/>
                  </a:lnTo>
                  <a:lnTo>
                    <a:pt x="494" y="254"/>
                  </a:lnTo>
                  <a:lnTo>
                    <a:pt x="492" y="258"/>
                  </a:lnTo>
                  <a:lnTo>
                    <a:pt x="488" y="263"/>
                  </a:lnTo>
                  <a:lnTo>
                    <a:pt x="485" y="272"/>
                  </a:lnTo>
                  <a:lnTo>
                    <a:pt x="483" y="283"/>
                  </a:lnTo>
                  <a:lnTo>
                    <a:pt x="481" y="294"/>
                  </a:lnTo>
                  <a:lnTo>
                    <a:pt x="478" y="303"/>
                  </a:lnTo>
                  <a:lnTo>
                    <a:pt x="474" y="307"/>
                  </a:lnTo>
                  <a:lnTo>
                    <a:pt x="470" y="310"/>
                  </a:lnTo>
                  <a:lnTo>
                    <a:pt x="467" y="314"/>
                  </a:lnTo>
                  <a:lnTo>
                    <a:pt x="461" y="316"/>
                  </a:lnTo>
                  <a:lnTo>
                    <a:pt x="459" y="310"/>
                  </a:lnTo>
                  <a:lnTo>
                    <a:pt x="458" y="305"/>
                  </a:lnTo>
                  <a:lnTo>
                    <a:pt x="456" y="301"/>
                  </a:lnTo>
                  <a:lnTo>
                    <a:pt x="452" y="297"/>
                  </a:lnTo>
                  <a:lnTo>
                    <a:pt x="449" y="296"/>
                  </a:lnTo>
                  <a:lnTo>
                    <a:pt x="445" y="294"/>
                  </a:lnTo>
                  <a:lnTo>
                    <a:pt x="434" y="292"/>
                  </a:lnTo>
                  <a:lnTo>
                    <a:pt x="427" y="294"/>
                  </a:lnTo>
                  <a:lnTo>
                    <a:pt x="418" y="296"/>
                  </a:lnTo>
                  <a:lnTo>
                    <a:pt x="410" y="299"/>
                  </a:lnTo>
                  <a:lnTo>
                    <a:pt x="407" y="303"/>
                  </a:lnTo>
                  <a:lnTo>
                    <a:pt x="405" y="307"/>
                  </a:lnTo>
                  <a:lnTo>
                    <a:pt x="401" y="310"/>
                  </a:lnTo>
                  <a:lnTo>
                    <a:pt x="400" y="316"/>
                  </a:lnTo>
                  <a:lnTo>
                    <a:pt x="394" y="328"/>
                  </a:lnTo>
                  <a:lnTo>
                    <a:pt x="390" y="334"/>
                  </a:lnTo>
                  <a:lnTo>
                    <a:pt x="387" y="339"/>
                  </a:lnTo>
                  <a:lnTo>
                    <a:pt x="385" y="341"/>
                  </a:lnTo>
                  <a:lnTo>
                    <a:pt x="383" y="343"/>
                  </a:lnTo>
                  <a:lnTo>
                    <a:pt x="378" y="343"/>
                  </a:lnTo>
                  <a:lnTo>
                    <a:pt x="372" y="343"/>
                  </a:lnTo>
                  <a:lnTo>
                    <a:pt x="369" y="341"/>
                  </a:lnTo>
                  <a:lnTo>
                    <a:pt x="365" y="337"/>
                  </a:lnTo>
                  <a:lnTo>
                    <a:pt x="358" y="330"/>
                  </a:lnTo>
                  <a:lnTo>
                    <a:pt x="351" y="319"/>
                  </a:lnTo>
                  <a:lnTo>
                    <a:pt x="347" y="316"/>
                  </a:lnTo>
                  <a:lnTo>
                    <a:pt x="343" y="314"/>
                  </a:lnTo>
                  <a:lnTo>
                    <a:pt x="338" y="312"/>
                  </a:lnTo>
                  <a:lnTo>
                    <a:pt x="327" y="308"/>
                  </a:lnTo>
                  <a:lnTo>
                    <a:pt x="314" y="307"/>
                  </a:lnTo>
                  <a:lnTo>
                    <a:pt x="307" y="305"/>
                  </a:lnTo>
                  <a:lnTo>
                    <a:pt x="305" y="305"/>
                  </a:lnTo>
                  <a:lnTo>
                    <a:pt x="300" y="308"/>
                  </a:lnTo>
                  <a:lnTo>
                    <a:pt x="294" y="312"/>
                  </a:lnTo>
                  <a:lnTo>
                    <a:pt x="289" y="325"/>
                  </a:lnTo>
                  <a:lnTo>
                    <a:pt x="285" y="330"/>
                  </a:lnTo>
                  <a:lnTo>
                    <a:pt x="282" y="336"/>
                  </a:lnTo>
                  <a:lnTo>
                    <a:pt x="276" y="339"/>
                  </a:lnTo>
                  <a:lnTo>
                    <a:pt x="269" y="339"/>
                  </a:lnTo>
                  <a:lnTo>
                    <a:pt x="267" y="341"/>
                  </a:lnTo>
                  <a:lnTo>
                    <a:pt x="263" y="339"/>
                  </a:lnTo>
                  <a:lnTo>
                    <a:pt x="260" y="337"/>
                  </a:lnTo>
                  <a:lnTo>
                    <a:pt x="254" y="334"/>
                  </a:lnTo>
                  <a:lnTo>
                    <a:pt x="253" y="330"/>
                  </a:lnTo>
                  <a:lnTo>
                    <a:pt x="251" y="328"/>
                  </a:lnTo>
                  <a:lnTo>
                    <a:pt x="247" y="327"/>
                  </a:lnTo>
                  <a:lnTo>
                    <a:pt x="243" y="327"/>
                  </a:lnTo>
                  <a:lnTo>
                    <a:pt x="240" y="327"/>
                  </a:lnTo>
                  <a:lnTo>
                    <a:pt x="234" y="328"/>
                  </a:lnTo>
                  <a:lnTo>
                    <a:pt x="231" y="332"/>
                  </a:lnTo>
                  <a:lnTo>
                    <a:pt x="227" y="336"/>
                  </a:lnTo>
                  <a:lnTo>
                    <a:pt x="225" y="341"/>
                  </a:lnTo>
                  <a:lnTo>
                    <a:pt x="225" y="346"/>
                  </a:lnTo>
                  <a:lnTo>
                    <a:pt x="222" y="356"/>
                  </a:lnTo>
                  <a:lnTo>
                    <a:pt x="220" y="361"/>
                  </a:lnTo>
                  <a:lnTo>
                    <a:pt x="218" y="365"/>
                  </a:lnTo>
                  <a:lnTo>
                    <a:pt x="211" y="372"/>
                  </a:lnTo>
                  <a:lnTo>
                    <a:pt x="207" y="379"/>
                  </a:lnTo>
                  <a:lnTo>
                    <a:pt x="204" y="386"/>
                  </a:lnTo>
                  <a:lnTo>
                    <a:pt x="204" y="390"/>
                  </a:lnTo>
                  <a:lnTo>
                    <a:pt x="202" y="394"/>
                  </a:lnTo>
                  <a:lnTo>
                    <a:pt x="204" y="399"/>
                  </a:lnTo>
                  <a:lnTo>
                    <a:pt x="205" y="401"/>
                  </a:lnTo>
                  <a:lnTo>
                    <a:pt x="207" y="405"/>
                  </a:lnTo>
                  <a:lnTo>
                    <a:pt x="214" y="408"/>
                  </a:lnTo>
                  <a:lnTo>
                    <a:pt x="220" y="414"/>
                  </a:lnTo>
                  <a:lnTo>
                    <a:pt x="222" y="415"/>
                  </a:lnTo>
                  <a:lnTo>
                    <a:pt x="222" y="417"/>
                  </a:lnTo>
                  <a:lnTo>
                    <a:pt x="220" y="421"/>
                  </a:lnTo>
                  <a:lnTo>
                    <a:pt x="216" y="423"/>
                  </a:lnTo>
                  <a:lnTo>
                    <a:pt x="205" y="426"/>
                  </a:lnTo>
                  <a:lnTo>
                    <a:pt x="193" y="432"/>
                  </a:lnTo>
                  <a:lnTo>
                    <a:pt x="180" y="437"/>
                  </a:lnTo>
                  <a:lnTo>
                    <a:pt x="175" y="439"/>
                  </a:lnTo>
                  <a:lnTo>
                    <a:pt x="169" y="443"/>
                  </a:lnTo>
                  <a:lnTo>
                    <a:pt x="158" y="452"/>
                  </a:lnTo>
                  <a:lnTo>
                    <a:pt x="155" y="455"/>
                  </a:lnTo>
                  <a:lnTo>
                    <a:pt x="153" y="461"/>
                  </a:lnTo>
                  <a:lnTo>
                    <a:pt x="151" y="466"/>
                  </a:lnTo>
                  <a:lnTo>
                    <a:pt x="149" y="472"/>
                  </a:lnTo>
                  <a:lnTo>
                    <a:pt x="151" y="481"/>
                  </a:lnTo>
                  <a:lnTo>
                    <a:pt x="153" y="484"/>
                  </a:lnTo>
                  <a:lnTo>
                    <a:pt x="155" y="488"/>
                  </a:lnTo>
                  <a:lnTo>
                    <a:pt x="160" y="495"/>
                  </a:lnTo>
                  <a:lnTo>
                    <a:pt x="167" y="504"/>
                  </a:lnTo>
                  <a:lnTo>
                    <a:pt x="167" y="506"/>
                  </a:lnTo>
                  <a:lnTo>
                    <a:pt x="167" y="513"/>
                  </a:lnTo>
                  <a:lnTo>
                    <a:pt x="165" y="515"/>
                  </a:lnTo>
                  <a:lnTo>
                    <a:pt x="164" y="517"/>
                  </a:lnTo>
                  <a:lnTo>
                    <a:pt x="162" y="521"/>
                  </a:lnTo>
                  <a:lnTo>
                    <a:pt x="160" y="523"/>
                  </a:lnTo>
                  <a:lnTo>
                    <a:pt x="155" y="526"/>
                  </a:lnTo>
                  <a:lnTo>
                    <a:pt x="149" y="526"/>
                  </a:lnTo>
                  <a:lnTo>
                    <a:pt x="142" y="526"/>
                  </a:lnTo>
                  <a:lnTo>
                    <a:pt x="136" y="523"/>
                  </a:lnTo>
                  <a:lnTo>
                    <a:pt x="131" y="517"/>
                  </a:lnTo>
                  <a:lnTo>
                    <a:pt x="127" y="513"/>
                  </a:lnTo>
                  <a:lnTo>
                    <a:pt x="126" y="510"/>
                  </a:lnTo>
                  <a:lnTo>
                    <a:pt x="122" y="508"/>
                  </a:lnTo>
                  <a:lnTo>
                    <a:pt x="116" y="506"/>
                  </a:lnTo>
                  <a:lnTo>
                    <a:pt x="102" y="503"/>
                  </a:lnTo>
                  <a:lnTo>
                    <a:pt x="87" y="495"/>
                  </a:lnTo>
                  <a:lnTo>
                    <a:pt x="80" y="493"/>
                  </a:lnTo>
                  <a:lnTo>
                    <a:pt x="71" y="492"/>
                  </a:lnTo>
                  <a:lnTo>
                    <a:pt x="64" y="493"/>
                  </a:lnTo>
                  <a:lnTo>
                    <a:pt x="60" y="495"/>
                  </a:lnTo>
                  <a:lnTo>
                    <a:pt x="57" y="497"/>
                  </a:lnTo>
                  <a:lnTo>
                    <a:pt x="49" y="504"/>
                  </a:lnTo>
                  <a:lnTo>
                    <a:pt x="44" y="512"/>
                  </a:lnTo>
                  <a:lnTo>
                    <a:pt x="40" y="519"/>
                  </a:lnTo>
                  <a:lnTo>
                    <a:pt x="37" y="528"/>
                  </a:lnTo>
                  <a:lnTo>
                    <a:pt x="35" y="532"/>
                  </a:lnTo>
                  <a:lnTo>
                    <a:pt x="35" y="537"/>
                  </a:lnTo>
                  <a:lnTo>
                    <a:pt x="37" y="541"/>
                  </a:lnTo>
                  <a:lnTo>
                    <a:pt x="40" y="550"/>
                  </a:lnTo>
                  <a:lnTo>
                    <a:pt x="44" y="555"/>
                  </a:lnTo>
                  <a:lnTo>
                    <a:pt x="46" y="561"/>
                  </a:lnTo>
                  <a:lnTo>
                    <a:pt x="47" y="568"/>
                  </a:lnTo>
                  <a:lnTo>
                    <a:pt x="47" y="572"/>
                  </a:lnTo>
                  <a:lnTo>
                    <a:pt x="47" y="575"/>
                  </a:lnTo>
                  <a:lnTo>
                    <a:pt x="47" y="579"/>
                  </a:lnTo>
                  <a:lnTo>
                    <a:pt x="42" y="588"/>
                  </a:lnTo>
                  <a:lnTo>
                    <a:pt x="38" y="591"/>
                  </a:lnTo>
                  <a:lnTo>
                    <a:pt x="38" y="593"/>
                  </a:lnTo>
                  <a:lnTo>
                    <a:pt x="38" y="599"/>
                  </a:lnTo>
                  <a:lnTo>
                    <a:pt x="40" y="606"/>
                  </a:lnTo>
                  <a:lnTo>
                    <a:pt x="40" y="611"/>
                  </a:lnTo>
                  <a:lnTo>
                    <a:pt x="40" y="619"/>
                  </a:lnTo>
                  <a:lnTo>
                    <a:pt x="38" y="622"/>
                  </a:lnTo>
                  <a:lnTo>
                    <a:pt x="37" y="624"/>
                  </a:lnTo>
                  <a:lnTo>
                    <a:pt x="33" y="628"/>
                  </a:lnTo>
                  <a:lnTo>
                    <a:pt x="29" y="628"/>
                  </a:lnTo>
                  <a:lnTo>
                    <a:pt x="28" y="628"/>
                  </a:lnTo>
                  <a:lnTo>
                    <a:pt x="24" y="624"/>
                  </a:lnTo>
                  <a:lnTo>
                    <a:pt x="20" y="622"/>
                  </a:lnTo>
                  <a:lnTo>
                    <a:pt x="17" y="621"/>
                  </a:lnTo>
                  <a:lnTo>
                    <a:pt x="13" y="622"/>
                  </a:lnTo>
                  <a:lnTo>
                    <a:pt x="11" y="622"/>
                  </a:lnTo>
                  <a:lnTo>
                    <a:pt x="9" y="624"/>
                  </a:lnTo>
                  <a:lnTo>
                    <a:pt x="8" y="630"/>
                  </a:lnTo>
                  <a:lnTo>
                    <a:pt x="6" y="635"/>
                  </a:lnTo>
                  <a:lnTo>
                    <a:pt x="4" y="640"/>
                  </a:lnTo>
                  <a:lnTo>
                    <a:pt x="4" y="653"/>
                  </a:lnTo>
                  <a:lnTo>
                    <a:pt x="2" y="659"/>
                  </a:lnTo>
                  <a:lnTo>
                    <a:pt x="0" y="664"/>
                  </a:lnTo>
                  <a:lnTo>
                    <a:pt x="13" y="660"/>
                  </a:lnTo>
                  <a:lnTo>
                    <a:pt x="17" y="659"/>
                  </a:lnTo>
                  <a:lnTo>
                    <a:pt x="42" y="653"/>
                  </a:lnTo>
                  <a:lnTo>
                    <a:pt x="69" y="650"/>
                  </a:lnTo>
                  <a:lnTo>
                    <a:pt x="96" y="646"/>
                  </a:lnTo>
                  <a:lnTo>
                    <a:pt x="124" y="644"/>
                  </a:lnTo>
                  <a:lnTo>
                    <a:pt x="133" y="644"/>
                  </a:lnTo>
                  <a:lnTo>
                    <a:pt x="167" y="644"/>
                  </a:lnTo>
                  <a:lnTo>
                    <a:pt x="205" y="646"/>
                  </a:lnTo>
                  <a:lnTo>
                    <a:pt x="220" y="646"/>
                  </a:lnTo>
                  <a:lnTo>
                    <a:pt x="234" y="644"/>
                  </a:lnTo>
                  <a:lnTo>
                    <a:pt x="242" y="642"/>
                  </a:lnTo>
                  <a:lnTo>
                    <a:pt x="247" y="640"/>
                  </a:lnTo>
                  <a:lnTo>
                    <a:pt x="242" y="624"/>
                  </a:lnTo>
                  <a:lnTo>
                    <a:pt x="238" y="613"/>
                  </a:lnTo>
                  <a:lnTo>
                    <a:pt x="236" y="601"/>
                  </a:lnTo>
                  <a:lnTo>
                    <a:pt x="254" y="601"/>
                  </a:lnTo>
                  <a:lnTo>
                    <a:pt x="274" y="602"/>
                  </a:lnTo>
                  <a:lnTo>
                    <a:pt x="276" y="611"/>
                  </a:lnTo>
                  <a:lnTo>
                    <a:pt x="320" y="608"/>
                  </a:lnTo>
                  <a:lnTo>
                    <a:pt x="378" y="602"/>
                  </a:lnTo>
                  <a:lnTo>
                    <a:pt x="523" y="590"/>
                  </a:lnTo>
                  <a:lnTo>
                    <a:pt x="664" y="575"/>
                  </a:lnTo>
                  <a:lnTo>
                    <a:pt x="757" y="568"/>
                  </a:lnTo>
                  <a:lnTo>
                    <a:pt x="779" y="566"/>
                  </a:lnTo>
                  <a:lnTo>
                    <a:pt x="804" y="562"/>
                  </a:lnTo>
                  <a:lnTo>
                    <a:pt x="866" y="555"/>
                  </a:lnTo>
                  <a:lnTo>
                    <a:pt x="1011" y="535"/>
                  </a:lnTo>
                  <a:lnTo>
                    <a:pt x="1018" y="530"/>
                  </a:lnTo>
                  <a:lnTo>
                    <a:pt x="1027" y="524"/>
                  </a:lnTo>
                  <a:lnTo>
                    <a:pt x="1051" y="515"/>
                  </a:lnTo>
                  <a:lnTo>
                    <a:pt x="1075" y="506"/>
                  </a:lnTo>
                  <a:lnTo>
                    <a:pt x="1084" y="501"/>
                  </a:lnTo>
                  <a:lnTo>
                    <a:pt x="1091" y="497"/>
                  </a:lnTo>
                  <a:lnTo>
                    <a:pt x="1100" y="490"/>
                  </a:lnTo>
                  <a:lnTo>
                    <a:pt x="1107" y="483"/>
                  </a:lnTo>
                  <a:lnTo>
                    <a:pt x="1115" y="475"/>
                  </a:lnTo>
                  <a:lnTo>
                    <a:pt x="1120" y="468"/>
                  </a:lnTo>
                  <a:lnTo>
                    <a:pt x="1144" y="432"/>
                  </a:lnTo>
                  <a:lnTo>
                    <a:pt x="1153" y="421"/>
                  </a:lnTo>
                  <a:lnTo>
                    <a:pt x="1165" y="403"/>
                  </a:lnTo>
                  <a:lnTo>
                    <a:pt x="1173" y="392"/>
                  </a:lnTo>
                  <a:lnTo>
                    <a:pt x="1180" y="385"/>
                  </a:lnTo>
                  <a:lnTo>
                    <a:pt x="1189" y="377"/>
                  </a:lnTo>
                  <a:lnTo>
                    <a:pt x="1193" y="376"/>
                  </a:lnTo>
                  <a:lnTo>
                    <a:pt x="1198" y="372"/>
                  </a:lnTo>
                  <a:lnTo>
                    <a:pt x="1203" y="370"/>
                  </a:lnTo>
                  <a:lnTo>
                    <a:pt x="1209" y="366"/>
                  </a:lnTo>
                  <a:lnTo>
                    <a:pt x="1220" y="359"/>
                  </a:lnTo>
                  <a:lnTo>
                    <a:pt x="1229" y="350"/>
                  </a:lnTo>
                  <a:lnTo>
                    <a:pt x="1238" y="341"/>
                  </a:lnTo>
                  <a:lnTo>
                    <a:pt x="1256" y="321"/>
                  </a:lnTo>
                  <a:lnTo>
                    <a:pt x="1263" y="312"/>
                  </a:lnTo>
                  <a:lnTo>
                    <a:pt x="1271" y="305"/>
                  </a:lnTo>
                  <a:lnTo>
                    <a:pt x="1272" y="305"/>
                  </a:lnTo>
                  <a:lnTo>
                    <a:pt x="1280" y="301"/>
                  </a:lnTo>
                  <a:lnTo>
                    <a:pt x="1281" y="297"/>
                  </a:lnTo>
                  <a:lnTo>
                    <a:pt x="1280" y="294"/>
                  </a:lnTo>
                  <a:lnTo>
                    <a:pt x="1278" y="292"/>
                  </a:lnTo>
                  <a:lnTo>
                    <a:pt x="1272" y="292"/>
                  </a:lnTo>
                  <a:lnTo>
                    <a:pt x="1267" y="292"/>
                  </a:lnTo>
                  <a:lnTo>
                    <a:pt x="1249" y="292"/>
                  </a:lnTo>
                  <a:lnTo>
                    <a:pt x="1245" y="292"/>
                  </a:lnTo>
                  <a:lnTo>
                    <a:pt x="1240" y="290"/>
                  </a:lnTo>
                  <a:lnTo>
                    <a:pt x="1236" y="288"/>
                  </a:lnTo>
                  <a:lnTo>
                    <a:pt x="1231" y="285"/>
                  </a:lnTo>
                  <a:lnTo>
                    <a:pt x="1212" y="268"/>
                  </a:lnTo>
                  <a:lnTo>
                    <a:pt x="1211" y="267"/>
                  </a:lnTo>
                  <a:lnTo>
                    <a:pt x="1207" y="263"/>
                  </a:lnTo>
                  <a:lnTo>
                    <a:pt x="1203" y="256"/>
                  </a:lnTo>
                  <a:lnTo>
                    <a:pt x="1200" y="248"/>
                  </a:lnTo>
                  <a:lnTo>
                    <a:pt x="1194" y="241"/>
                  </a:lnTo>
                  <a:lnTo>
                    <a:pt x="1174" y="221"/>
                  </a:lnTo>
                  <a:lnTo>
                    <a:pt x="1165" y="210"/>
                  </a:lnTo>
                  <a:lnTo>
                    <a:pt x="1156" y="198"/>
                  </a:lnTo>
                  <a:lnTo>
                    <a:pt x="1144" y="176"/>
                  </a:lnTo>
                  <a:lnTo>
                    <a:pt x="1140" y="167"/>
                  </a:lnTo>
                  <a:lnTo>
                    <a:pt x="1138" y="161"/>
                  </a:lnTo>
                  <a:lnTo>
                    <a:pt x="1138" y="156"/>
                  </a:lnTo>
                  <a:lnTo>
                    <a:pt x="1138" y="154"/>
                  </a:lnTo>
                  <a:lnTo>
                    <a:pt x="1142" y="129"/>
                  </a:lnTo>
                  <a:lnTo>
                    <a:pt x="1144" y="114"/>
                  </a:lnTo>
                  <a:lnTo>
                    <a:pt x="1134" y="114"/>
                  </a:lnTo>
                  <a:lnTo>
                    <a:pt x="1129" y="111"/>
                  </a:lnTo>
                  <a:lnTo>
                    <a:pt x="1122" y="105"/>
                  </a:lnTo>
                  <a:lnTo>
                    <a:pt x="1116" y="100"/>
                  </a:lnTo>
                  <a:lnTo>
                    <a:pt x="1105" y="87"/>
                  </a:lnTo>
                  <a:lnTo>
                    <a:pt x="1102" y="82"/>
                  </a:lnTo>
                  <a:lnTo>
                    <a:pt x="1096" y="76"/>
                  </a:lnTo>
                  <a:lnTo>
                    <a:pt x="1089" y="71"/>
                  </a:lnTo>
                  <a:lnTo>
                    <a:pt x="1084" y="67"/>
                  </a:lnTo>
                  <a:lnTo>
                    <a:pt x="1078" y="65"/>
                  </a:lnTo>
                  <a:lnTo>
                    <a:pt x="1073" y="65"/>
                  </a:lnTo>
                  <a:lnTo>
                    <a:pt x="1067" y="65"/>
                  </a:lnTo>
                  <a:lnTo>
                    <a:pt x="1064" y="65"/>
                  </a:lnTo>
                  <a:lnTo>
                    <a:pt x="1058" y="69"/>
                  </a:lnTo>
                  <a:lnTo>
                    <a:pt x="1055" y="71"/>
                  </a:lnTo>
                  <a:lnTo>
                    <a:pt x="1044" y="76"/>
                  </a:lnTo>
                  <a:lnTo>
                    <a:pt x="1031" y="83"/>
                  </a:lnTo>
                  <a:lnTo>
                    <a:pt x="1024" y="85"/>
                  </a:lnTo>
                  <a:lnTo>
                    <a:pt x="1015" y="85"/>
                  </a:lnTo>
                  <a:lnTo>
                    <a:pt x="1004" y="85"/>
                  </a:lnTo>
                  <a:lnTo>
                    <a:pt x="993" y="82"/>
                  </a:lnTo>
                  <a:lnTo>
                    <a:pt x="982" y="78"/>
                  </a:lnTo>
                  <a:lnTo>
                    <a:pt x="971" y="78"/>
                  </a:lnTo>
                  <a:lnTo>
                    <a:pt x="966" y="78"/>
                  </a:lnTo>
                  <a:lnTo>
                    <a:pt x="960" y="78"/>
                  </a:lnTo>
                  <a:lnTo>
                    <a:pt x="957" y="80"/>
                  </a:lnTo>
                  <a:lnTo>
                    <a:pt x="953" y="85"/>
                  </a:lnTo>
                  <a:lnTo>
                    <a:pt x="948" y="89"/>
                  </a:lnTo>
                  <a:lnTo>
                    <a:pt x="944" y="89"/>
                  </a:lnTo>
                  <a:lnTo>
                    <a:pt x="940" y="89"/>
                  </a:lnTo>
                  <a:lnTo>
                    <a:pt x="937" y="89"/>
                  </a:lnTo>
                  <a:lnTo>
                    <a:pt x="933" y="89"/>
                  </a:lnTo>
                  <a:lnTo>
                    <a:pt x="928" y="87"/>
                  </a:lnTo>
                  <a:lnTo>
                    <a:pt x="924" y="85"/>
                  </a:lnTo>
                  <a:lnTo>
                    <a:pt x="919" y="80"/>
                  </a:lnTo>
                  <a:lnTo>
                    <a:pt x="913" y="74"/>
                  </a:lnTo>
                  <a:lnTo>
                    <a:pt x="909" y="71"/>
                  </a:lnTo>
                  <a:lnTo>
                    <a:pt x="906" y="69"/>
                  </a:lnTo>
                  <a:lnTo>
                    <a:pt x="899" y="67"/>
                  </a:lnTo>
                  <a:lnTo>
                    <a:pt x="889" y="67"/>
                  </a:lnTo>
                  <a:lnTo>
                    <a:pt x="879" y="67"/>
                  </a:lnTo>
                  <a:lnTo>
                    <a:pt x="866" y="67"/>
                  </a:lnTo>
                  <a:lnTo>
                    <a:pt x="859" y="67"/>
                  </a:lnTo>
                  <a:lnTo>
                    <a:pt x="853" y="65"/>
                  </a:lnTo>
                  <a:lnTo>
                    <a:pt x="846" y="62"/>
                  </a:lnTo>
                  <a:lnTo>
                    <a:pt x="840" y="56"/>
                  </a:lnTo>
                  <a:lnTo>
                    <a:pt x="837" y="54"/>
                  </a:lnTo>
                  <a:lnTo>
                    <a:pt x="835" y="49"/>
                  </a:lnTo>
                  <a:lnTo>
                    <a:pt x="833" y="42"/>
                  </a:lnTo>
                  <a:lnTo>
                    <a:pt x="830" y="33"/>
                  </a:lnTo>
                  <a:lnTo>
                    <a:pt x="828" y="25"/>
                  </a:lnTo>
                  <a:lnTo>
                    <a:pt x="824" y="22"/>
                  </a:lnTo>
                  <a:lnTo>
                    <a:pt x="822" y="18"/>
                  </a:lnTo>
                  <a:lnTo>
                    <a:pt x="817" y="14"/>
                  </a:lnTo>
                  <a:lnTo>
                    <a:pt x="813" y="11"/>
                  </a:lnTo>
                  <a:lnTo>
                    <a:pt x="811" y="7"/>
                  </a:lnTo>
                  <a:lnTo>
                    <a:pt x="810" y="2"/>
                  </a:lnTo>
                  <a:lnTo>
                    <a:pt x="802" y="0"/>
                  </a:lnTo>
                  <a:close/>
                  <a:moveTo>
                    <a:pt x="309" y="317"/>
                  </a:moveTo>
                  <a:lnTo>
                    <a:pt x="311" y="317"/>
                  </a:lnTo>
                  <a:lnTo>
                    <a:pt x="309" y="317"/>
                  </a:lnTo>
                  <a:close/>
                  <a:moveTo>
                    <a:pt x="338" y="327"/>
                  </a:moveTo>
                  <a:lnTo>
                    <a:pt x="338" y="325"/>
                  </a:lnTo>
                  <a:lnTo>
                    <a:pt x="338" y="327"/>
                  </a:lnTo>
                  <a:close/>
                  <a:moveTo>
                    <a:pt x="18" y="644"/>
                  </a:moveTo>
                  <a:lnTo>
                    <a:pt x="18" y="639"/>
                  </a:lnTo>
                  <a:lnTo>
                    <a:pt x="24" y="640"/>
                  </a:lnTo>
                  <a:lnTo>
                    <a:pt x="29" y="642"/>
                  </a:lnTo>
                  <a:lnTo>
                    <a:pt x="31" y="642"/>
                  </a:lnTo>
                  <a:lnTo>
                    <a:pt x="18" y="644"/>
                  </a:lnTo>
                  <a:close/>
                </a:path>
              </a:pathLst>
            </a:custGeom>
            <a:solidFill>
              <a:srgbClr val="FFE600"/>
            </a:solidFill>
            <a:ln w="6350" cap="flat" cmpd="sng" algn="ctr">
              <a:solidFill>
                <a:srgbClr val="2E2E38"/>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646464"/>
                </a:solidFill>
                <a:effectLst/>
                <a:uLnTx/>
                <a:uFillTx/>
                <a:cs typeface="Times New Roman" panose="02020603050405020304" pitchFamily="18" charset="0"/>
              </a:endParaRPr>
            </a:p>
          </p:txBody>
        </p:sp>
        <p:sp>
          <p:nvSpPr>
            <p:cNvPr id="20" name="Freeform 38">
              <a:extLst>
                <a:ext uri="{FF2B5EF4-FFF2-40B4-BE49-F238E27FC236}">
                  <a16:creationId xmlns:a16="http://schemas.microsoft.com/office/drawing/2014/main" id="{804DC49C-ED7D-16CB-C41A-4619D28FAD2F}"/>
                </a:ext>
              </a:extLst>
            </p:cNvPr>
            <p:cNvSpPr>
              <a:spLocks noEditPoints="1"/>
            </p:cNvSpPr>
            <p:nvPr/>
          </p:nvSpPr>
          <p:spPr bwMode="auto">
            <a:xfrm>
              <a:off x="5155969" y="4023243"/>
              <a:ext cx="417596" cy="436915"/>
            </a:xfrm>
            <a:custGeom>
              <a:avLst/>
              <a:gdLst/>
              <a:ahLst/>
              <a:cxnLst>
                <a:cxn ang="0">
                  <a:pos x="271" y="14"/>
                </a:cxn>
                <a:cxn ang="0">
                  <a:pos x="243" y="20"/>
                </a:cxn>
                <a:cxn ang="0">
                  <a:pos x="223" y="32"/>
                </a:cxn>
                <a:cxn ang="0">
                  <a:pos x="158" y="63"/>
                </a:cxn>
                <a:cxn ang="0">
                  <a:pos x="109" y="63"/>
                </a:cxn>
                <a:cxn ang="0">
                  <a:pos x="85" y="78"/>
                </a:cxn>
                <a:cxn ang="0">
                  <a:pos x="85" y="138"/>
                </a:cxn>
                <a:cxn ang="0">
                  <a:pos x="82" y="197"/>
                </a:cxn>
                <a:cxn ang="0">
                  <a:pos x="33" y="243"/>
                </a:cxn>
                <a:cxn ang="0">
                  <a:pos x="2" y="292"/>
                </a:cxn>
                <a:cxn ang="0">
                  <a:pos x="6" y="323"/>
                </a:cxn>
                <a:cxn ang="0">
                  <a:pos x="26" y="370"/>
                </a:cxn>
                <a:cxn ang="0">
                  <a:pos x="18" y="452"/>
                </a:cxn>
                <a:cxn ang="0">
                  <a:pos x="31" y="506"/>
                </a:cxn>
                <a:cxn ang="0">
                  <a:pos x="73" y="539"/>
                </a:cxn>
                <a:cxn ang="0">
                  <a:pos x="129" y="566"/>
                </a:cxn>
                <a:cxn ang="0">
                  <a:pos x="176" y="615"/>
                </a:cxn>
                <a:cxn ang="0">
                  <a:pos x="238" y="664"/>
                </a:cxn>
                <a:cxn ang="0">
                  <a:pos x="269" y="726"/>
                </a:cxn>
                <a:cxn ang="0">
                  <a:pos x="287" y="798"/>
                </a:cxn>
                <a:cxn ang="0">
                  <a:pos x="287" y="836"/>
                </a:cxn>
                <a:cxn ang="0">
                  <a:pos x="292" y="885"/>
                </a:cxn>
                <a:cxn ang="0">
                  <a:pos x="336" y="940"/>
                </a:cxn>
                <a:cxn ang="0">
                  <a:pos x="378" y="963"/>
                </a:cxn>
                <a:cxn ang="0">
                  <a:pos x="829" y="911"/>
                </a:cxn>
                <a:cxn ang="0">
                  <a:pos x="819" y="844"/>
                </a:cxn>
                <a:cxn ang="0">
                  <a:pos x="809" y="767"/>
                </a:cxn>
                <a:cxn ang="0">
                  <a:pos x="824" y="698"/>
                </a:cxn>
                <a:cxn ang="0">
                  <a:pos x="820" y="624"/>
                </a:cxn>
                <a:cxn ang="0">
                  <a:pos x="846" y="575"/>
                </a:cxn>
                <a:cxn ang="0">
                  <a:pos x="844" y="524"/>
                </a:cxn>
                <a:cxn ang="0">
                  <a:pos x="855" y="464"/>
                </a:cxn>
                <a:cxn ang="0">
                  <a:pos x="871" y="441"/>
                </a:cxn>
                <a:cxn ang="0">
                  <a:pos x="889" y="397"/>
                </a:cxn>
                <a:cxn ang="0">
                  <a:pos x="907" y="359"/>
                </a:cxn>
                <a:cxn ang="0">
                  <a:pos x="911" y="323"/>
                </a:cxn>
                <a:cxn ang="0">
                  <a:pos x="884" y="346"/>
                </a:cxn>
                <a:cxn ang="0">
                  <a:pos x="840" y="421"/>
                </a:cxn>
                <a:cxn ang="0">
                  <a:pos x="800" y="479"/>
                </a:cxn>
                <a:cxn ang="0">
                  <a:pos x="771" y="508"/>
                </a:cxn>
                <a:cxn ang="0">
                  <a:pos x="766" y="475"/>
                </a:cxn>
                <a:cxn ang="0">
                  <a:pos x="791" y="415"/>
                </a:cxn>
                <a:cxn ang="0">
                  <a:pos x="809" y="366"/>
                </a:cxn>
                <a:cxn ang="0">
                  <a:pos x="790" y="323"/>
                </a:cxn>
                <a:cxn ang="0">
                  <a:pos x="779" y="301"/>
                </a:cxn>
                <a:cxn ang="0">
                  <a:pos x="779" y="259"/>
                </a:cxn>
                <a:cxn ang="0">
                  <a:pos x="722" y="212"/>
                </a:cxn>
                <a:cxn ang="0">
                  <a:pos x="545" y="168"/>
                </a:cxn>
                <a:cxn ang="0">
                  <a:pos x="432" y="139"/>
                </a:cxn>
                <a:cxn ang="0">
                  <a:pos x="372" y="87"/>
                </a:cxn>
                <a:cxn ang="0">
                  <a:pos x="338" y="80"/>
                </a:cxn>
                <a:cxn ang="0">
                  <a:pos x="309" y="69"/>
                </a:cxn>
                <a:cxn ang="0">
                  <a:pos x="289" y="78"/>
                </a:cxn>
                <a:cxn ang="0">
                  <a:pos x="296" y="40"/>
                </a:cxn>
                <a:cxn ang="0">
                  <a:pos x="303" y="3"/>
                </a:cxn>
                <a:cxn ang="0">
                  <a:pos x="895" y="355"/>
                </a:cxn>
              </a:cxnLst>
              <a:rect l="0" t="0" r="r" b="b"/>
              <a:pathLst>
                <a:path w="913" h="980">
                  <a:moveTo>
                    <a:pt x="292" y="0"/>
                  </a:moveTo>
                  <a:lnTo>
                    <a:pt x="289" y="0"/>
                  </a:lnTo>
                  <a:lnTo>
                    <a:pt x="285" y="1"/>
                  </a:lnTo>
                  <a:lnTo>
                    <a:pt x="281" y="5"/>
                  </a:lnTo>
                  <a:lnTo>
                    <a:pt x="276" y="11"/>
                  </a:lnTo>
                  <a:lnTo>
                    <a:pt x="271" y="14"/>
                  </a:lnTo>
                  <a:lnTo>
                    <a:pt x="265" y="16"/>
                  </a:lnTo>
                  <a:lnTo>
                    <a:pt x="261" y="16"/>
                  </a:lnTo>
                  <a:lnTo>
                    <a:pt x="251" y="16"/>
                  </a:lnTo>
                  <a:lnTo>
                    <a:pt x="247" y="18"/>
                  </a:lnTo>
                  <a:lnTo>
                    <a:pt x="245" y="18"/>
                  </a:lnTo>
                  <a:lnTo>
                    <a:pt x="243" y="20"/>
                  </a:lnTo>
                  <a:lnTo>
                    <a:pt x="242" y="21"/>
                  </a:lnTo>
                  <a:lnTo>
                    <a:pt x="240" y="25"/>
                  </a:lnTo>
                  <a:lnTo>
                    <a:pt x="238" y="31"/>
                  </a:lnTo>
                  <a:lnTo>
                    <a:pt x="232" y="31"/>
                  </a:lnTo>
                  <a:lnTo>
                    <a:pt x="229" y="31"/>
                  </a:lnTo>
                  <a:lnTo>
                    <a:pt x="223" y="32"/>
                  </a:lnTo>
                  <a:lnTo>
                    <a:pt x="214" y="38"/>
                  </a:lnTo>
                  <a:lnTo>
                    <a:pt x="203" y="45"/>
                  </a:lnTo>
                  <a:lnTo>
                    <a:pt x="196" y="49"/>
                  </a:lnTo>
                  <a:lnTo>
                    <a:pt x="183" y="54"/>
                  </a:lnTo>
                  <a:lnTo>
                    <a:pt x="171" y="60"/>
                  </a:lnTo>
                  <a:lnTo>
                    <a:pt x="158" y="63"/>
                  </a:lnTo>
                  <a:lnTo>
                    <a:pt x="153" y="65"/>
                  </a:lnTo>
                  <a:lnTo>
                    <a:pt x="145" y="67"/>
                  </a:lnTo>
                  <a:lnTo>
                    <a:pt x="136" y="69"/>
                  </a:lnTo>
                  <a:lnTo>
                    <a:pt x="127" y="67"/>
                  </a:lnTo>
                  <a:lnTo>
                    <a:pt x="118" y="65"/>
                  </a:lnTo>
                  <a:lnTo>
                    <a:pt x="109" y="63"/>
                  </a:lnTo>
                  <a:lnTo>
                    <a:pt x="107" y="60"/>
                  </a:lnTo>
                  <a:lnTo>
                    <a:pt x="104" y="58"/>
                  </a:lnTo>
                  <a:lnTo>
                    <a:pt x="98" y="61"/>
                  </a:lnTo>
                  <a:lnTo>
                    <a:pt x="93" y="67"/>
                  </a:lnTo>
                  <a:lnTo>
                    <a:pt x="89" y="72"/>
                  </a:lnTo>
                  <a:lnTo>
                    <a:pt x="85" y="78"/>
                  </a:lnTo>
                  <a:lnTo>
                    <a:pt x="84" y="83"/>
                  </a:lnTo>
                  <a:lnTo>
                    <a:pt x="82" y="90"/>
                  </a:lnTo>
                  <a:lnTo>
                    <a:pt x="82" y="96"/>
                  </a:lnTo>
                  <a:lnTo>
                    <a:pt x="82" y="103"/>
                  </a:lnTo>
                  <a:lnTo>
                    <a:pt x="82" y="119"/>
                  </a:lnTo>
                  <a:lnTo>
                    <a:pt x="85" y="138"/>
                  </a:lnTo>
                  <a:lnTo>
                    <a:pt x="87" y="156"/>
                  </a:lnTo>
                  <a:lnTo>
                    <a:pt x="89" y="174"/>
                  </a:lnTo>
                  <a:lnTo>
                    <a:pt x="87" y="179"/>
                  </a:lnTo>
                  <a:lnTo>
                    <a:pt x="87" y="185"/>
                  </a:lnTo>
                  <a:lnTo>
                    <a:pt x="85" y="188"/>
                  </a:lnTo>
                  <a:lnTo>
                    <a:pt x="82" y="197"/>
                  </a:lnTo>
                  <a:lnTo>
                    <a:pt x="76" y="205"/>
                  </a:lnTo>
                  <a:lnTo>
                    <a:pt x="69" y="212"/>
                  </a:lnTo>
                  <a:lnTo>
                    <a:pt x="55" y="225"/>
                  </a:lnTo>
                  <a:lnTo>
                    <a:pt x="47" y="230"/>
                  </a:lnTo>
                  <a:lnTo>
                    <a:pt x="40" y="236"/>
                  </a:lnTo>
                  <a:lnTo>
                    <a:pt x="33" y="243"/>
                  </a:lnTo>
                  <a:lnTo>
                    <a:pt x="26" y="250"/>
                  </a:lnTo>
                  <a:lnTo>
                    <a:pt x="20" y="257"/>
                  </a:lnTo>
                  <a:lnTo>
                    <a:pt x="13" y="265"/>
                  </a:lnTo>
                  <a:lnTo>
                    <a:pt x="9" y="274"/>
                  </a:lnTo>
                  <a:lnTo>
                    <a:pt x="4" y="283"/>
                  </a:lnTo>
                  <a:lnTo>
                    <a:pt x="2" y="292"/>
                  </a:lnTo>
                  <a:lnTo>
                    <a:pt x="0" y="297"/>
                  </a:lnTo>
                  <a:lnTo>
                    <a:pt x="0" y="303"/>
                  </a:lnTo>
                  <a:lnTo>
                    <a:pt x="0" y="306"/>
                  </a:lnTo>
                  <a:lnTo>
                    <a:pt x="0" y="314"/>
                  </a:lnTo>
                  <a:lnTo>
                    <a:pt x="2" y="319"/>
                  </a:lnTo>
                  <a:lnTo>
                    <a:pt x="6" y="323"/>
                  </a:lnTo>
                  <a:lnTo>
                    <a:pt x="9" y="326"/>
                  </a:lnTo>
                  <a:lnTo>
                    <a:pt x="16" y="332"/>
                  </a:lnTo>
                  <a:lnTo>
                    <a:pt x="20" y="337"/>
                  </a:lnTo>
                  <a:lnTo>
                    <a:pt x="22" y="344"/>
                  </a:lnTo>
                  <a:lnTo>
                    <a:pt x="24" y="355"/>
                  </a:lnTo>
                  <a:lnTo>
                    <a:pt x="26" y="370"/>
                  </a:lnTo>
                  <a:lnTo>
                    <a:pt x="24" y="392"/>
                  </a:lnTo>
                  <a:lnTo>
                    <a:pt x="24" y="412"/>
                  </a:lnTo>
                  <a:lnTo>
                    <a:pt x="24" y="419"/>
                  </a:lnTo>
                  <a:lnTo>
                    <a:pt x="22" y="426"/>
                  </a:lnTo>
                  <a:lnTo>
                    <a:pt x="20" y="439"/>
                  </a:lnTo>
                  <a:lnTo>
                    <a:pt x="18" y="452"/>
                  </a:lnTo>
                  <a:lnTo>
                    <a:pt x="16" y="466"/>
                  </a:lnTo>
                  <a:lnTo>
                    <a:pt x="18" y="477"/>
                  </a:lnTo>
                  <a:lnTo>
                    <a:pt x="18" y="482"/>
                  </a:lnTo>
                  <a:lnTo>
                    <a:pt x="22" y="488"/>
                  </a:lnTo>
                  <a:lnTo>
                    <a:pt x="26" y="499"/>
                  </a:lnTo>
                  <a:lnTo>
                    <a:pt x="31" y="506"/>
                  </a:lnTo>
                  <a:lnTo>
                    <a:pt x="35" y="513"/>
                  </a:lnTo>
                  <a:lnTo>
                    <a:pt x="38" y="517"/>
                  </a:lnTo>
                  <a:lnTo>
                    <a:pt x="44" y="522"/>
                  </a:lnTo>
                  <a:lnTo>
                    <a:pt x="49" y="526"/>
                  </a:lnTo>
                  <a:lnTo>
                    <a:pt x="65" y="535"/>
                  </a:lnTo>
                  <a:lnTo>
                    <a:pt x="73" y="539"/>
                  </a:lnTo>
                  <a:lnTo>
                    <a:pt x="84" y="544"/>
                  </a:lnTo>
                  <a:lnTo>
                    <a:pt x="95" y="548"/>
                  </a:lnTo>
                  <a:lnTo>
                    <a:pt x="102" y="551"/>
                  </a:lnTo>
                  <a:lnTo>
                    <a:pt x="111" y="557"/>
                  </a:lnTo>
                  <a:lnTo>
                    <a:pt x="120" y="562"/>
                  </a:lnTo>
                  <a:lnTo>
                    <a:pt x="129" y="566"/>
                  </a:lnTo>
                  <a:lnTo>
                    <a:pt x="138" y="571"/>
                  </a:lnTo>
                  <a:lnTo>
                    <a:pt x="145" y="579"/>
                  </a:lnTo>
                  <a:lnTo>
                    <a:pt x="153" y="586"/>
                  </a:lnTo>
                  <a:lnTo>
                    <a:pt x="163" y="600"/>
                  </a:lnTo>
                  <a:lnTo>
                    <a:pt x="171" y="608"/>
                  </a:lnTo>
                  <a:lnTo>
                    <a:pt x="176" y="615"/>
                  </a:lnTo>
                  <a:lnTo>
                    <a:pt x="183" y="622"/>
                  </a:lnTo>
                  <a:lnTo>
                    <a:pt x="191" y="628"/>
                  </a:lnTo>
                  <a:lnTo>
                    <a:pt x="211" y="642"/>
                  </a:lnTo>
                  <a:lnTo>
                    <a:pt x="220" y="649"/>
                  </a:lnTo>
                  <a:lnTo>
                    <a:pt x="229" y="657"/>
                  </a:lnTo>
                  <a:lnTo>
                    <a:pt x="238" y="664"/>
                  </a:lnTo>
                  <a:lnTo>
                    <a:pt x="247" y="673"/>
                  </a:lnTo>
                  <a:lnTo>
                    <a:pt x="254" y="684"/>
                  </a:lnTo>
                  <a:lnTo>
                    <a:pt x="261" y="695"/>
                  </a:lnTo>
                  <a:lnTo>
                    <a:pt x="265" y="702"/>
                  </a:lnTo>
                  <a:lnTo>
                    <a:pt x="269" y="711"/>
                  </a:lnTo>
                  <a:lnTo>
                    <a:pt x="269" y="726"/>
                  </a:lnTo>
                  <a:lnTo>
                    <a:pt x="269" y="738"/>
                  </a:lnTo>
                  <a:lnTo>
                    <a:pt x="269" y="753"/>
                  </a:lnTo>
                  <a:lnTo>
                    <a:pt x="269" y="764"/>
                  </a:lnTo>
                  <a:lnTo>
                    <a:pt x="272" y="775"/>
                  </a:lnTo>
                  <a:lnTo>
                    <a:pt x="280" y="785"/>
                  </a:lnTo>
                  <a:lnTo>
                    <a:pt x="287" y="798"/>
                  </a:lnTo>
                  <a:lnTo>
                    <a:pt x="291" y="804"/>
                  </a:lnTo>
                  <a:lnTo>
                    <a:pt x="292" y="809"/>
                  </a:lnTo>
                  <a:lnTo>
                    <a:pt x="292" y="815"/>
                  </a:lnTo>
                  <a:lnTo>
                    <a:pt x="291" y="822"/>
                  </a:lnTo>
                  <a:lnTo>
                    <a:pt x="289" y="829"/>
                  </a:lnTo>
                  <a:lnTo>
                    <a:pt x="287" y="836"/>
                  </a:lnTo>
                  <a:lnTo>
                    <a:pt x="285" y="844"/>
                  </a:lnTo>
                  <a:lnTo>
                    <a:pt x="285" y="851"/>
                  </a:lnTo>
                  <a:lnTo>
                    <a:pt x="285" y="860"/>
                  </a:lnTo>
                  <a:lnTo>
                    <a:pt x="287" y="869"/>
                  </a:lnTo>
                  <a:lnTo>
                    <a:pt x="289" y="876"/>
                  </a:lnTo>
                  <a:lnTo>
                    <a:pt x="292" y="885"/>
                  </a:lnTo>
                  <a:lnTo>
                    <a:pt x="300" y="903"/>
                  </a:lnTo>
                  <a:lnTo>
                    <a:pt x="310" y="920"/>
                  </a:lnTo>
                  <a:lnTo>
                    <a:pt x="316" y="927"/>
                  </a:lnTo>
                  <a:lnTo>
                    <a:pt x="323" y="932"/>
                  </a:lnTo>
                  <a:lnTo>
                    <a:pt x="329" y="938"/>
                  </a:lnTo>
                  <a:lnTo>
                    <a:pt x="336" y="940"/>
                  </a:lnTo>
                  <a:lnTo>
                    <a:pt x="343" y="942"/>
                  </a:lnTo>
                  <a:lnTo>
                    <a:pt x="352" y="945"/>
                  </a:lnTo>
                  <a:lnTo>
                    <a:pt x="359" y="949"/>
                  </a:lnTo>
                  <a:lnTo>
                    <a:pt x="367" y="952"/>
                  </a:lnTo>
                  <a:lnTo>
                    <a:pt x="372" y="958"/>
                  </a:lnTo>
                  <a:lnTo>
                    <a:pt x="378" y="963"/>
                  </a:lnTo>
                  <a:lnTo>
                    <a:pt x="383" y="971"/>
                  </a:lnTo>
                  <a:lnTo>
                    <a:pt x="387" y="980"/>
                  </a:lnTo>
                  <a:lnTo>
                    <a:pt x="831" y="954"/>
                  </a:lnTo>
                  <a:lnTo>
                    <a:pt x="829" y="922"/>
                  </a:lnTo>
                  <a:lnTo>
                    <a:pt x="829" y="920"/>
                  </a:lnTo>
                  <a:lnTo>
                    <a:pt x="829" y="911"/>
                  </a:lnTo>
                  <a:lnTo>
                    <a:pt x="831" y="903"/>
                  </a:lnTo>
                  <a:lnTo>
                    <a:pt x="833" y="894"/>
                  </a:lnTo>
                  <a:lnTo>
                    <a:pt x="833" y="885"/>
                  </a:lnTo>
                  <a:lnTo>
                    <a:pt x="831" y="874"/>
                  </a:lnTo>
                  <a:lnTo>
                    <a:pt x="824" y="854"/>
                  </a:lnTo>
                  <a:lnTo>
                    <a:pt x="819" y="844"/>
                  </a:lnTo>
                  <a:lnTo>
                    <a:pt x="815" y="833"/>
                  </a:lnTo>
                  <a:lnTo>
                    <a:pt x="811" y="822"/>
                  </a:lnTo>
                  <a:lnTo>
                    <a:pt x="811" y="811"/>
                  </a:lnTo>
                  <a:lnTo>
                    <a:pt x="809" y="787"/>
                  </a:lnTo>
                  <a:lnTo>
                    <a:pt x="808" y="776"/>
                  </a:lnTo>
                  <a:lnTo>
                    <a:pt x="809" y="767"/>
                  </a:lnTo>
                  <a:lnTo>
                    <a:pt x="809" y="760"/>
                  </a:lnTo>
                  <a:lnTo>
                    <a:pt x="815" y="742"/>
                  </a:lnTo>
                  <a:lnTo>
                    <a:pt x="817" y="731"/>
                  </a:lnTo>
                  <a:lnTo>
                    <a:pt x="819" y="720"/>
                  </a:lnTo>
                  <a:lnTo>
                    <a:pt x="820" y="711"/>
                  </a:lnTo>
                  <a:lnTo>
                    <a:pt x="824" y="698"/>
                  </a:lnTo>
                  <a:lnTo>
                    <a:pt x="826" y="689"/>
                  </a:lnTo>
                  <a:lnTo>
                    <a:pt x="826" y="678"/>
                  </a:lnTo>
                  <a:lnTo>
                    <a:pt x="826" y="664"/>
                  </a:lnTo>
                  <a:lnTo>
                    <a:pt x="824" y="651"/>
                  </a:lnTo>
                  <a:lnTo>
                    <a:pt x="822" y="637"/>
                  </a:lnTo>
                  <a:lnTo>
                    <a:pt x="820" y="624"/>
                  </a:lnTo>
                  <a:lnTo>
                    <a:pt x="822" y="611"/>
                  </a:lnTo>
                  <a:lnTo>
                    <a:pt x="826" y="600"/>
                  </a:lnTo>
                  <a:lnTo>
                    <a:pt x="829" y="593"/>
                  </a:lnTo>
                  <a:lnTo>
                    <a:pt x="835" y="588"/>
                  </a:lnTo>
                  <a:lnTo>
                    <a:pt x="840" y="580"/>
                  </a:lnTo>
                  <a:lnTo>
                    <a:pt x="846" y="575"/>
                  </a:lnTo>
                  <a:lnTo>
                    <a:pt x="848" y="566"/>
                  </a:lnTo>
                  <a:lnTo>
                    <a:pt x="849" y="560"/>
                  </a:lnTo>
                  <a:lnTo>
                    <a:pt x="848" y="553"/>
                  </a:lnTo>
                  <a:lnTo>
                    <a:pt x="846" y="544"/>
                  </a:lnTo>
                  <a:lnTo>
                    <a:pt x="844" y="531"/>
                  </a:lnTo>
                  <a:lnTo>
                    <a:pt x="844" y="524"/>
                  </a:lnTo>
                  <a:lnTo>
                    <a:pt x="846" y="515"/>
                  </a:lnTo>
                  <a:lnTo>
                    <a:pt x="849" y="499"/>
                  </a:lnTo>
                  <a:lnTo>
                    <a:pt x="851" y="493"/>
                  </a:lnTo>
                  <a:lnTo>
                    <a:pt x="851" y="488"/>
                  </a:lnTo>
                  <a:lnTo>
                    <a:pt x="853" y="477"/>
                  </a:lnTo>
                  <a:lnTo>
                    <a:pt x="855" y="464"/>
                  </a:lnTo>
                  <a:lnTo>
                    <a:pt x="857" y="459"/>
                  </a:lnTo>
                  <a:lnTo>
                    <a:pt x="858" y="455"/>
                  </a:lnTo>
                  <a:lnTo>
                    <a:pt x="864" y="448"/>
                  </a:lnTo>
                  <a:lnTo>
                    <a:pt x="868" y="444"/>
                  </a:lnTo>
                  <a:lnTo>
                    <a:pt x="869" y="442"/>
                  </a:lnTo>
                  <a:lnTo>
                    <a:pt x="871" y="441"/>
                  </a:lnTo>
                  <a:lnTo>
                    <a:pt x="873" y="437"/>
                  </a:lnTo>
                  <a:lnTo>
                    <a:pt x="875" y="433"/>
                  </a:lnTo>
                  <a:lnTo>
                    <a:pt x="878" y="423"/>
                  </a:lnTo>
                  <a:lnTo>
                    <a:pt x="882" y="415"/>
                  </a:lnTo>
                  <a:lnTo>
                    <a:pt x="886" y="406"/>
                  </a:lnTo>
                  <a:lnTo>
                    <a:pt x="889" y="397"/>
                  </a:lnTo>
                  <a:lnTo>
                    <a:pt x="891" y="388"/>
                  </a:lnTo>
                  <a:lnTo>
                    <a:pt x="895" y="381"/>
                  </a:lnTo>
                  <a:lnTo>
                    <a:pt x="897" y="375"/>
                  </a:lnTo>
                  <a:lnTo>
                    <a:pt x="900" y="370"/>
                  </a:lnTo>
                  <a:lnTo>
                    <a:pt x="906" y="364"/>
                  </a:lnTo>
                  <a:lnTo>
                    <a:pt x="907" y="359"/>
                  </a:lnTo>
                  <a:lnTo>
                    <a:pt x="911" y="352"/>
                  </a:lnTo>
                  <a:lnTo>
                    <a:pt x="913" y="344"/>
                  </a:lnTo>
                  <a:lnTo>
                    <a:pt x="913" y="328"/>
                  </a:lnTo>
                  <a:lnTo>
                    <a:pt x="913" y="326"/>
                  </a:lnTo>
                  <a:lnTo>
                    <a:pt x="913" y="325"/>
                  </a:lnTo>
                  <a:lnTo>
                    <a:pt x="911" y="323"/>
                  </a:lnTo>
                  <a:lnTo>
                    <a:pt x="909" y="323"/>
                  </a:lnTo>
                  <a:lnTo>
                    <a:pt x="907" y="323"/>
                  </a:lnTo>
                  <a:lnTo>
                    <a:pt x="902" y="326"/>
                  </a:lnTo>
                  <a:lnTo>
                    <a:pt x="897" y="330"/>
                  </a:lnTo>
                  <a:lnTo>
                    <a:pt x="893" y="335"/>
                  </a:lnTo>
                  <a:lnTo>
                    <a:pt x="884" y="346"/>
                  </a:lnTo>
                  <a:lnTo>
                    <a:pt x="880" y="354"/>
                  </a:lnTo>
                  <a:lnTo>
                    <a:pt x="877" y="359"/>
                  </a:lnTo>
                  <a:lnTo>
                    <a:pt x="869" y="374"/>
                  </a:lnTo>
                  <a:lnTo>
                    <a:pt x="862" y="388"/>
                  </a:lnTo>
                  <a:lnTo>
                    <a:pt x="855" y="401"/>
                  </a:lnTo>
                  <a:lnTo>
                    <a:pt x="840" y="421"/>
                  </a:lnTo>
                  <a:lnTo>
                    <a:pt x="833" y="432"/>
                  </a:lnTo>
                  <a:lnTo>
                    <a:pt x="826" y="441"/>
                  </a:lnTo>
                  <a:lnTo>
                    <a:pt x="820" y="446"/>
                  </a:lnTo>
                  <a:lnTo>
                    <a:pt x="817" y="452"/>
                  </a:lnTo>
                  <a:lnTo>
                    <a:pt x="808" y="466"/>
                  </a:lnTo>
                  <a:lnTo>
                    <a:pt x="800" y="479"/>
                  </a:lnTo>
                  <a:lnTo>
                    <a:pt x="793" y="491"/>
                  </a:lnTo>
                  <a:lnTo>
                    <a:pt x="784" y="504"/>
                  </a:lnTo>
                  <a:lnTo>
                    <a:pt x="779" y="508"/>
                  </a:lnTo>
                  <a:lnTo>
                    <a:pt x="775" y="510"/>
                  </a:lnTo>
                  <a:lnTo>
                    <a:pt x="773" y="510"/>
                  </a:lnTo>
                  <a:lnTo>
                    <a:pt x="771" y="508"/>
                  </a:lnTo>
                  <a:lnTo>
                    <a:pt x="768" y="506"/>
                  </a:lnTo>
                  <a:lnTo>
                    <a:pt x="766" y="501"/>
                  </a:lnTo>
                  <a:lnTo>
                    <a:pt x="766" y="495"/>
                  </a:lnTo>
                  <a:lnTo>
                    <a:pt x="764" y="488"/>
                  </a:lnTo>
                  <a:lnTo>
                    <a:pt x="764" y="482"/>
                  </a:lnTo>
                  <a:lnTo>
                    <a:pt x="766" y="475"/>
                  </a:lnTo>
                  <a:lnTo>
                    <a:pt x="770" y="462"/>
                  </a:lnTo>
                  <a:lnTo>
                    <a:pt x="775" y="450"/>
                  </a:lnTo>
                  <a:lnTo>
                    <a:pt x="780" y="439"/>
                  </a:lnTo>
                  <a:lnTo>
                    <a:pt x="786" y="426"/>
                  </a:lnTo>
                  <a:lnTo>
                    <a:pt x="788" y="421"/>
                  </a:lnTo>
                  <a:lnTo>
                    <a:pt x="791" y="415"/>
                  </a:lnTo>
                  <a:lnTo>
                    <a:pt x="795" y="412"/>
                  </a:lnTo>
                  <a:lnTo>
                    <a:pt x="797" y="408"/>
                  </a:lnTo>
                  <a:lnTo>
                    <a:pt x="804" y="404"/>
                  </a:lnTo>
                  <a:lnTo>
                    <a:pt x="811" y="397"/>
                  </a:lnTo>
                  <a:lnTo>
                    <a:pt x="817" y="390"/>
                  </a:lnTo>
                  <a:lnTo>
                    <a:pt x="809" y="366"/>
                  </a:lnTo>
                  <a:lnTo>
                    <a:pt x="806" y="355"/>
                  </a:lnTo>
                  <a:lnTo>
                    <a:pt x="800" y="343"/>
                  </a:lnTo>
                  <a:lnTo>
                    <a:pt x="797" y="334"/>
                  </a:lnTo>
                  <a:lnTo>
                    <a:pt x="795" y="330"/>
                  </a:lnTo>
                  <a:lnTo>
                    <a:pt x="791" y="326"/>
                  </a:lnTo>
                  <a:lnTo>
                    <a:pt x="790" y="323"/>
                  </a:lnTo>
                  <a:lnTo>
                    <a:pt x="786" y="321"/>
                  </a:lnTo>
                  <a:lnTo>
                    <a:pt x="784" y="319"/>
                  </a:lnTo>
                  <a:lnTo>
                    <a:pt x="780" y="319"/>
                  </a:lnTo>
                  <a:lnTo>
                    <a:pt x="779" y="319"/>
                  </a:lnTo>
                  <a:lnTo>
                    <a:pt x="779" y="310"/>
                  </a:lnTo>
                  <a:lnTo>
                    <a:pt x="779" y="301"/>
                  </a:lnTo>
                  <a:lnTo>
                    <a:pt x="780" y="292"/>
                  </a:lnTo>
                  <a:lnTo>
                    <a:pt x="782" y="285"/>
                  </a:lnTo>
                  <a:lnTo>
                    <a:pt x="782" y="276"/>
                  </a:lnTo>
                  <a:lnTo>
                    <a:pt x="782" y="272"/>
                  </a:lnTo>
                  <a:lnTo>
                    <a:pt x="782" y="268"/>
                  </a:lnTo>
                  <a:lnTo>
                    <a:pt x="779" y="259"/>
                  </a:lnTo>
                  <a:lnTo>
                    <a:pt x="773" y="252"/>
                  </a:lnTo>
                  <a:lnTo>
                    <a:pt x="766" y="245"/>
                  </a:lnTo>
                  <a:lnTo>
                    <a:pt x="753" y="236"/>
                  </a:lnTo>
                  <a:lnTo>
                    <a:pt x="741" y="227"/>
                  </a:lnTo>
                  <a:lnTo>
                    <a:pt x="730" y="217"/>
                  </a:lnTo>
                  <a:lnTo>
                    <a:pt x="722" y="212"/>
                  </a:lnTo>
                  <a:lnTo>
                    <a:pt x="719" y="210"/>
                  </a:lnTo>
                  <a:lnTo>
                    <a:pt x="713" y="208"/>
                  </a:lnTo>
                  <a:lnTo>
                    <a:pt x="672" y="197"/>
                  </a:lnTo>
                  <a:lnTo>
                    <a:pt x="630" y="187"/>
                  </a:lnTo>
                  <a:lnTo>
                    <a:pt x="588" y="176"/>
                  </a:lnTo>
                  <a:lnTo>
                    <a:pt x="545" y="168"/>
                  </a:lnTo>
                  <a:lnTo>
                    <a:pt x="508" y="163"/>
                  </a:lnTo>
                  <a:lnTo>
                    <a:pt x="488" y="158"/>
                  </a:lnTo>
                  <a:lnTo>
                    <a:pt x="468" y="154"/>
                  </a:lnTo>
                  <a:lnTo>
                    <a:pt x="450" y="147"/>
                  </a:lnTo>
                  <a:lnTo>
                    <a:pt x="441" y="143"/>
                  </a:lnTo>
                  <a:lnTo>
                    <a:pt x="432" y="139"/>
                  </a:lnTo>
                  <a:lnTo>
                    <a:pt x="416" y="129"/>
                  </a:lnTo>
                  <a:lnTo>
                    <a:pt x="408" y="123"/>
                  </a:lnTo>
                  <a:lnTo>
                    <a:pt x="401" y="118"/>
                  </a:lnTo>
                  <a:lnTo>
                    <a:pt x="383" y="96"/>
                  </a:lnTo>
                  <a:lnTo>
                    <a:pt x="378" y="90"/>
                  </a:lnTo>
                  <a:lnTo>
                    <a:pt x="372" y="87"/>
                  </a:lnTo>
                  <a:lnTo>
                    <a:pt x="359" y="80"/>
                  </a:lnTo>
                  <a:lnTo>
                    <a:pt x="356" y="78"/>
                  </a:lnTo>
                  <a:lnTo>
                    <a:pt x="349" y="80"/>
                  </a:lnTo>
                  <a:lnTo>
                    <a:pt x="343" y="81"/>
                  </a:lnTo>
                  <a:lnTo>
                    <a:pt x="341" y="81"/>
                  </a:lnTo>
                  <a:lnTo>
                    <a:pt x="338" y="80"/>
                  </a:lnTo>
                  <a:lnTo>
                    <a:pt x="334" y="78"/>
                  </a:lnTo>
                  <a:lnTo>
                    <a:pt x="327" y="74"/>
                  </a:lnTo>
                  <a:lnTo>
                    <a:pt x="320" y="69"/>
                  </a:lnTo>
                  <a:lnTo>
                    <a:pt x="316" y="69"/>
                  </a:lnTo>
                  <a:lnTo>
                    <a:pt x="310" y="67"/>
                  </a:lnTo>
                  <a:lnTo>
                    <a:pt x="309" y="69"/>
                  </a:lnTo>
                  <a:lnTo>
                    <a:pt x="307" y="69"/>
                  </a:lnTo>
                  <a:lnTo>
                    <a:pt x="303" y="70"/>
                  </a:lnTo>
                  <a:lnTo>
                    <a:pt x="300" y="74"/>
                  </a:lnTo>
                  <a:lnTo>
                    <a:pt x="294" y="78"/>
                  </a:lnTo>
                  <a:lnTo>
                    <a:pt x="291" y="78"/>
                  </a:lnTo>
                  <a:lnTo>
                    <a:pt x="289" y="78"/>
                  </a:lnTo>
                  <a:lnTo>
                    <a:pt x="289" y="76"/>
                  </a:lnTo>
                  <a:lnTo>
                    <a:pt x="287" y="70"/>
                  </a:lnTo>
                  <a:lnTo>
                    <a:pt x="287" y="69"/>
                  </a:lnTo>
                  <a:lnTo>
                    <a:pt x="287" y="63"/>
                  </a:lnTo>
                  <a:lnTo>
                    <a:pt x="291" y="54"/>
                  </a:lnTo>
                  <a:lnTo>
                    <a:pt x="296" y="40"/>
                  </a:lnTo>
                  <a:lnTo>
                    <a:pt x="298" y="34"/>
                  </a:lnTo>
                  <a:lnTo>
                    <a:pt x="301" y="25"/>
                  </a:lnTo>
                  <a:lnTo>
                    <a:pt x="303" y="18"/>
                  </a:lnTo>
                  <a:lnTo>
                    <a:pt x="305" y="11"/>
                  </a:lnTo>
                  <a:lnTo>
                    <a:pt x="305" y="7"/>
                  </a:lnTo>
                  <a:lnTo>
                    <a:pt x="303" y="3"/>
                  </a:lnTo>
                  <a:lnTo>
                    <a:pt x="300" y="0"/>
                  </a:lnTo>
                  <a:lnTo>
                    <a:pt x="296" y="0"/>
                  </a:lnTo>
                  <a:lnTo>
                    <a:pt x="294" y="0"/>
                  </a:lnTo>
                  <a:lnTo>
                    <a:pt x="292" y="0"/>
                  </a:lnTo>
                  <a:close/>
                  <a:moveTo>
                    <a:pt x="891" y="359"/>
                  </a:moveTo>
                  <a:lnTo>
                    <a:pt x="895" y="355"/>
                  </a:lnTo>
                  <a:lnTo>
                    <a:pt x="895" y="354"/>
                  </a:lnTo>
                  <a:lnTo>
                    <a:pt x="897" y="354"/>
                  </a:lnTo>
                  <a:lnTo>
                    <a:pt x="891" y="359"/>
                  </a:lnTo>
                  <a:close/>
                </a:path>
              </a:pathLst>
            </a:custGeom>
            <a:solidFill>
              <a:srgbClr val="FFE600"/>
            </a:solidFill>
            <a:ln w="6350" cap="flat" cmpd="sng" algn="ctr">
              <a:solidFill>
                <a:srgbClr val="2E2E38"/>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646464"/>
                </a:solidFill>
                <a:effectLst/>
                <a:uLnTx/>
                <a:uFillTx/>
                <a:cs typeface="Times New Roman" panose="02020603050405020304" pitchFamily="18" charset="0"/>
              </a:endParaRPr>
            </a:p>
          </p:txBody>
        </p:sp>
        <p:sp>
          <p:nvSpPr>
            <p:cNvPr id="21" name="Freeform 41">
              <a:extLst>
                <a:ext uri="{FF2B5EF4-FFF2-40B4-BE49-F238E27FC236}">
                  <a16:creationId xmlns:a16="http://schemas.microsoft.com/office/drawing/2014/main" id="{F67D6C34-C295-6185-F185-28E4641811A6}"/>
                </a:ext>
              </a:extLst>
            </p:cNvPr>
            <p:cNvSpPr>
              <a:spLocks/>
            </p:cNvSpPr>
            <p:nvPr/>
          </p:nvSpPr>
          <p:spPr bwMode="auto">
            <a:xfrm>
              <a:off x="5275938" y="4449457"/>
              <a:ext cx="315945" cy="550157"/>
            </a:xfrm>
            <a:custGeom>
              <a:avLst/>
              <a:gdLst/>
              <a:ahLst/>
              <a:cxnLst>
                <a:cxn ang="0">
                  <a:pos x="126" y="38"/>
                </a:cxn>
                <a:cxn ang="0">
                  <a:pos x="153" y="71"/>
                </a:cxn>
                <a:cxn ang="0">
                  <a:pos x="164" y="91"/>
                </a:cxn>
                <a:cxn ang="0">
                  <a:pos x="193" y="109"/>
                </a:cxn>
                <a:cxn ang="0">
                  <a:pos x="196" y="162"/>
                </a:cxn>
                <a:cxn ang="0">
                  <a:pos x="158" y="236"/>
                </a:cxn>
                <a:cxn ang="0">
                  <a:pos x="117" y="258"/>
                </a:cxn>
                <a:cxn ang="0">
                  <a:pos x="57" y="283"/>
                </a:cxn>
                <a:cxn ang="0">
                  <a:pos x="48" y="307"/>
                </a:cxn>
                <a:cxn ang="0">
                  <a:pos x="53" y="327"/>
                </a:cxn>
                <a:cxn ang="0">
                  <a:pos x="77" y="347"/>
                </a:cxn>
                <a:cxn ang="0">
                  <a:pos x="75" y="381"/>
                </a:cxn>
                <a:cxn ang="0">
                  <a:pos x="57" y="421"/>
                </a:cxn>
                <a:cxn ang="0">
                  <a:pos x="44" y="450"/>
                </a:cxn>
                <a:cxn ang="0">
                  <a:pos x="17" y="459"/>
                </a:cxn>
                <a:cxn ang="0">
                  <a:pos x="13" y="497"/>
                </a:cxn>
                <a:cxn ang="0">
                  <a:pos x="2" y="523"/>
                </a:cxn>
                <a:cxn ang="0">
                  <a:pos x="6" y="588"/>
                </a:cxn>
                <a:cxn ang="0">
                  <a:pos x="37" y="664"/>
                </a:cxn>
                <a:cxn ang="0">
                  <a:pos x="98" y="713"/>
                </a:cxn>
                <a:cxn ang="0">
                  <a:pos x="135" y="748"/>
                </a:cxn>
                <a:cxn ang="0">
                  <a:pos x="151" y="806"/>
                </a:cxn>
                <a:cxn ang="0">
                  <a:pos x="167" y="831"/>
                </a:cxn>
                <a:cxn ang="0">
                  <a:pos x="191" y="810"/>
                </a:cxn>
                <a:cxn ang="0">
                  <a:pos x="220" y="811"/>
                </a:cxn>
                <a:cxn ang="0">
                  <a:pos x="236" y="830"/>
                </a:cxn>
                <a:cxn ang="0">
                  <a:pos x="242" y="860"/>
                </a:cxn>
                <a:cxn ang="0">
                  <a:pos x="225" y="922"/>
                </a:cxn>
                <a:cxn ang="0">
                  <a:pos x="233" y="980"/>
                </a:cxn>
                <a:cxn ang="0">
                  <a:pos x="273" y="1022"/>
                </a:cxn>
                <a:cxn ang="0">
                  <a:pos x="314" y="1044"/>
                </a:cxn>
                <a:cxn ang="0">
                  <a:pos x="367" y="1095"/>
                </a:cxn>
                <a:cxn ang="0">
                  <a:pos x="387" y="1147"/>
                </a:cxn>
                <a:cxn ang="0">
                  <a:pos x="378" y="1169"/>
                </a:cxn>
                <a:cxn ang="0">
                  <a:pos x="400" y="1218"/>
                </a:cxn>
                <a:cxn ang="0">
                  <a:pos x="429" y="1234"/>
                </a:cxn>
                <a:cxn ang="0">
                  <a:pos x="438" y="1222"/>
                </a:cxn>
                <a:cxn ang="0">
                  <a:pos x="460" y="1187"/>
                </a:cxn>
                <a:cxn ang="0">
                  <a:pos x="505" y="1193"/>
                </a:cxn>
                <a:cxn ang="0">
                  <a:pos x="534" y="1207"/>
                </a:cxn>
                <a:cxn ang="0">
                  <a:pos x="563" y="1213"/>
                </a:cxn>
                <a:cxn ang="0">
                  <a:pos x="563" y="1185"/>
                </a:cxn>
                <a:cxn ang="0">
                  <a:pos x="556" y="1151"/>
                </a:cxn>
                <a:cxn ang="0">
                  <a:pos x="583" y="1127"/>
                </a:cxn>
                <a:cxn ang="0">
                  <a:pos x="625" y="1107"/>
                </a:cxn>
                <a:cxn ang="0">
                  <a:pos x="608" y="1091"/>
                </a:cxn>
                <a:cxn ang="0">
                  <a:pos x="612" y="1066"/>
                </a:cxn>
                <a:cxn ang="0">
                  <a:pos x="610" y="1038"/>
                </a:cxn>
                <a:cxn ang="0">
                  <a:pos x="616" y="982"/>
                </a:cxn>
                <a:cxn ang="0">
                  <a:pos x="674" y="873"/>
                </a:cxn>
                <a:cxn ang="0">
                  <a:pos x="692" y="817"/>
                </a:cxn>
                <a:cxn ang="0">
                  <a:pos x="679" y="768"/>
                </a:cxn>
                <a:cxn ang="0">
                  <a:pos x="670" y="703"/>
                </a:cxn>
                <a:cxn ang="0">
                  <a:pos x="683" y="677"/>
                </a:cxn>
                <a:cxn ang="0">
                  <a:pos x="625" y="136"/>
                </a:cxn>
                <a:cxn ang="0">
                  <a:pos x="590" y="69"/>
                </a:cxn>
              </a:cxnLst>
              <a:rect l="0" t="0" r="r" b="b"/>
              <a:pathLst>
                <a:path w="692" h="1234">
                  <a:moveTo>
                    <a:pt x="570" y="0"/>
                  </a:moveTo>
                  <a:lnTo>
                    <a:pt x="126" y="26"/>
                  </a:lnTo>
                  <a:lnTo>
                    <a:pt x="124" y="29"/>
                  </a:lnTo>
                  <a:lnTo>
                    <a:pt x="124" y="35"/>
                  </a:lnTo>
                  <a:lnTo>
                    <a:pt x="126" y="38"/>
                  </a:lnTo>
                  <a:lnTo>
                    <a:pt x="131" y="46"/>
                  </a:lnTo>
                  <a:lnTo>
                    <a:pt x="138" y="53"/>
                  </a:lnTo>
                  <a:lnTo>
                    <a:pt x="144" y="60"/>
                  </a:lnTo>
                  <a:lnTo>
                    <a:pt x="149" y="66"/>
                  </a:lnTo>
                  <a:lnTo>
                    <a:pt x="153" y="71"/>
                  </a:lnTo>
                  <a:lnTo>
                    <a:pt x="153" y="78"/>
                  </a:lnTo>
                  <a:lnTo>
                    <a:pt x="155" y="84"/>
                  </a:lnTo>
                  <a:lnTo>
                    <a:pt x="158" y="89"/>
                  </a:lnTo>
                  <a:lnTo>
                    <a:pt x="160" y="91"/>
                  </a:lnTo>
                  <a:lnTo>
                    <a:pt x="164" y="91"/>
                  </a:lnTo>
                  <a:lnTo>
                    <a:pt x="171" y="95"/>
                  </a:lnTo>
                  <a:lnTo>
                    <a:pt x="180" y="96"/>
                  </a:lnTo>
                  <a:lnTo>
                    <a:pt x="184" y="98"/>
                  </a:lnTo>
                  <a:lnTo>
                    <a:pt x="187" y="100"/>
                  </a:lnTo>
                  <a:lnTo>
                    <a:pt x="193" y="109"/>
                  </a:lnTo>
                  <a:lnTo>
                    <a:pt x="198" y="116"/>
                  </a:lnTo>
                  <a:lnTo>
                    <a:pt x="200" y="127"/>
                  </a:lnTo>
                  <a:lnTo>
                    <a:pt x="202" y="136"/>
                  </a:lnTo>
                  <a:lnTo>
                    <a:pt x="200" y="149"/>
                  </a:lnTo>
                  <a:lnTo>
                    <a:pt x="196" y="162"/>
                  </a:lnTo>
                  <a:lnTo>
                    <a:pt x="193" y="174"/>
                  </a:lnTo>
                  <a:lnTo>
                    <a:pt x="187" y="187"/>
                  </a:lnTo>
                  <a:lnTo>
                    <a:pt x="175" y="211"/>
                  </a:lnTo>
                  <a:lnTo>
                    <a:pt x="164" y="231"/>
                  </a:lnTo>
                  <a:lnTo>
                    <a:pt x="158" y="236"/>
                  </a:lnTo>
                  <a:lnTo>
                    <a:pt x="155" y="240"/>
                  </a:lnTo>
                  <a:lnTo>
                    <a:pt x="153" y="242"/>
                  </a:lnTo>
                  <a:lnTo>
                    <a:pt x="144" y="247"/>
                  </a:lnTo>
                  <a:lnTo>
                    <a:pt x="137" y="251"/>
                  </a:lnTo>
                  <a:lnTo>
                    <a:pt x="117" y="258"/>
                  </a:lnTo>
                  <a:lnTo>
                    <a:pt x="97" y="263"/>
                  </a:lnTo>
                  <a:lnTo>
                    <a:pt x="78" y="269"/>
                  </a:lnTo>
                  <a:lnTo>
                    <a:pt x="69" y="272"/>
                  </a:lnTo>
                  <a:lnTo>
                    <a:pt x="62" y="278"/>
                  </a:lnTo>
                  <a:lnTo>
                    <a:pt x="57" y="283"/>
                  </a:lnTo>
                  <a:lnTo>
                    <a:pt x="53" y="287"/>
                  </a:lnTo>
                  <a:lnTo>
                    <a:pt x="51" y="291"/>
                  </a:lnTo>
                  <a:lnTo>
                    <a:pt x="48" y="298"/>
                  </a:lnTo>
                  <a:lnTo>
                    <a:pt x="48" y="303"/>
                  </a:lnTo>
                  <a:lnTo>
                    <a:pt x="48" y="307"/>
                  </a:lnTo>
                  <a:lnTo>
                    <a:pt x="48" y="312"/>
                  </a:lnTo>
                  <a:lnTo>
                    <a:pt x="48" y="316"/>
                  </a:lnTo>
                  <a:lnTo>
                    <a:pt x="49" y="321"/>
                  </a:lnTo>
                  <a:lnTo>
                    <a:pt x="51" y="323"/>
                  </a:lnTo>
                  <a:lnTo>
                    <a:pt x="53" y="327"/>
                  </a:lnTo>
                  <a:lnTo>
                    <a:pt x="59" y="332"/>
                  </a:lnTo>
                  <a:lnTo>
                    <a:pt x="64" y="336"/>
                  </a:lnTo>
                  <a:lnTo>
                    <a:pt x="69" y="340"/>
                  </a:lnTo>
                  <a:lnTo>
                    <a:pt x="75" y="345"/>
                  </a:lnTo>
                  <a:lnTo>
                    <a:pt x="77" y="347"/>
                  </a:lnTo>
                  <a:lnTo>
                    <a:pt x="78" y="350"/>
                  </a:lnTo>
                  <a:lnTo>
                    <a:pt x="78" y="356"/>
                  </a:lnTo>
                  <a:lnTo>
                    <a:pt x="78" y="360"/>
                  </a:lnTo>
                  <a:lnTo>
                    <a:pt x="78" y="369"/>
                  </a:lnTo>
                  <a:lnTo>
                    <a:pt x="75" y="381"/>
                  </a:lnTo>
                  <a:lnTo>
                    <a:pt x="69" y="390"/>
                  </a:lnTo>
                  <a:lnTo>
                    <a:pt x="64" y="401"/>
                  </a:lnTo>
                  <a:lnTo>
                    <a:pt x="59" y="412"/>
                  </a:lnTo>
                  <a:lnTo>
                    <a:pt x="59" y="416"/>
                  </a:lnTo>
                  <a:lnTo>
                    <a:pt x="57" y="421"/>
                  </a:lnTo>
                  <a:lnTo>
                    <a:pt x="55" y="430"/>
                  </a:lnTo>
                  <a:lnTo>
                    <a:pt x="51" y="439"/>
                  </a:lnTo>
                  <a:lnTo>
                    <a:pt x="49" y="445"/>
                  </a:lnTo>
                  <a:lnTo>
                    <a:pt x="48" y="448"/>
                  </a:lnTo>
                  <a:lnTo>
                    <a:pt x="44" y="450"/>
                  </a:lnTo>
                  <a:lnTo>
                    <a:pt x="39" y="454"/>
                  </a:lnTo>
                  <a:lnTo>
                    <a:pt x="31" y="456"/>
                  </a:lnTo>
                  <a:lnTo>
                    <a:pt x="26" y="456"/>
                  </a:lnTo>
                  <a:lnTo>
                    <a:pt x="22" y="458"/>
                  </a:lnTo>
                  <a:lnTo>
                    <a:pt x="17" y="459"/>
                  </a:lnTo>
                  <a:lnTo>
                    <a:pt x="15" y="461"/>
                  </a:lnTo>
                  <a:lnTo>
                    <a:pt x="11" y="468"/>
                  </a:lnTo>
                  <a:lnTo>
                    <a:pt x="11" y="476"/>
                  </a:lnTo>
                  <a:lnTo>
                    <a:pt x="11" y="487"/>
                  </a:lnTo>
                  <a:lnTo>
                    <a:pt x="13" y="497"/>
                  </a:lnTo>
                  <a:lnTo>
                    <a:pt x="11" y="501"/>
                  </a:lnTo>
                  <a:lnTo>
                    <a:pt x="11" y="503"/>
                  </a:lnTo>
                  <a:lnTo>
                    <a:pt x="6" y="510"/>
                  </a:lnTo>
                  <a:lnTo>
                    <a:pt x="2" y="517"/>
                  </a:lnTo>
                  <a:lnTo>
                    <a:pt x="2" y="523"/>
                  </a:lnTo>
                  <a:lnTo>
                    <a:pt x="0" y="530"/>
                  </a:lnTo>
                  <a:lnTo>
                    <a:pt x="0" y="543"/>
                  </a:lnTo>
                  <a:lnTo>
                    <a:pt x="0" y="563"/>
                  </a:lnTo>
                  <a:lnTo>
                    <a:pt x="2" y="576"/>
                  </a:lnTo>
                  <a:lnTo>
                    <a:pt x="6" y="588"/>
                  </a:lnTo>
                  <a:lnTo>
                    <a:pt x="10" y="601"/>
                  </a:lnTo>
                  <a:lnTo>
                    <a:pt x="13" y="614"/>
                  </a:lnTo>
                  <a:lnTo>
                    <a:pt x="19" y="628"/>
                  </a:lnTo>
                  <a:lnTo>
                    <a:pt x="24" y="641"/>
                  </a:lnTo>
                  <a:lnTo>
                    <a:pt x="37" y="664"/>
                  </a:lnTo>
                  <a:lnTo>
                    <a:pt x="44" y="674"/>
                  </a:lnTo>
                  <a:lnTo>
                    <a:pt x="49" y="683"/>
                  </a:lnTo>
                  <a:lnTo>
                    <a:pt x="57" y="690"/>
                  </a:lnTo>
                  <a:lnTo>
                    <a:pt x="64" y="695"/>
                  </a:lnTo>
                  <a:lnTo>
                    <a:pt x="98" y="713"/>
                  </a:lnTo>
                  <a:lnTo>
                    <a:pt x="108" y="719"/>
                  </a:lnTo>
                  <a:lnTo>
                    <a:pt x="117" y="724"/>
                  </a:lnTo>
                  <a:lnTo>
                    <a:pt x="124" y="732"/>
                  </a:lnTo>
                  <a:lnTo>
                    <a:pt x="131" y="739"/>
                  </a:lnTo>
                  <a:lnTo>
                    <a:pt x="135" y="748"/>
                  </a:lnTo>
                  <a:lnTo>
                    <a:pt x="138" y="757"/>
                  </a:lnTo>
                  <a:lnTo>
                    <a:pt x="142" y="766"/>
                  </a:lnTo>
                  <a:lnTo>
                    <a:pt x="144" y="777"/>
                  </a:lnTo>
                  <a:lnTo>
                    <a:pt x="147" y="797"/>
                  </a:lnTo>
                  <a:lnTo>
                    <a:pt x="151" y="806"/>
                  </a:lnTo>
                  <a:lnTo>
                    <a:pt x="155" y="815"/>
                  </a:lnTo>
                  <a:lnTo>
                    <a:pt x="158" y="822"/>
                  </a:lnTo>
                  <a:lnTo>
                    <a:pt x="162" y="828"/>
                  </a:lnTo>
                  <a:lnTo>
                    <a:pt x="166" y="830"/>
                  </a:lnTo>
                  <a:lnTo>
                    <a:pt x="167" y="831"/>
                  </a:lnTo>
                  <a:lnTo>
                    <a:pt x="171" y="830"/>
                  </a:lnTo>
                  <a:lnTo>
                    <a:pt x="175" y="828"/>
                  </a:lnTo>
                  <a:lnTo>
                    <a:pt x="182" y="819"/>
                  </a:lnTo>
                  <a:lnTo>
                    <a:pt x="186" y="815"/>
                  </a:lnTo>
                  <a:lnTo>
                    <a:pt x="191" y="810"/>
                  </a:lnTo>
                  <a:lnTo>
                    <a:pt x="196" y="808"/>
                  </a:lnTo>
                  <a:lnTo>
                    <a:pt x="202" y="806"/>
                  </a:lnTo>
                  <a:lnTo>
                    <a:pt x="204" y="806"/>
                  </a:lnTo>
                  <a:lnTo>
                    <a:pt x="213" y="808"/>
                  </a:lnTo>
                  <a:lnTo>
                    <a:pt x="220" y="811"/>
                  </a:lnTo>
                  <a:lnTo>
                    <a:pt x="222" y="813"/>
                  </a:lnTo>
                  <a:lnTo>
                    <a:pt x="225" y="817"/>
                  </a:lnTo>
                  <a:lnTo>
                    <a:pt x="229" y="819"/>
                  </a:lnTo>
                  <a:lnTo>
                    <a:pt x="231" y="822"/>
                  </a:lnTo>
                  <a:lnTo>
                    <a:pt x="236" y="830"/>
                  </a:lnTo>
                  <a:lnTo>
                    <a:pt x="240" y="839"/>
                  </a:lnTo>
                  <a:lnTo>
                    <a:pt x="242" y="846"/>
                  </a:lnTo>
                  <a:lnTo>
                    <a:pt x="242" y="853"/>
                  </a:lnTo>
                  <a:lnTo>
                    <a:pt x="242" y="855"/>
                  </a:lnTo>
                  <a:lnTo>
                    <a:pt x="242" y="860"/>
                  </a:lnTo>
                  <a:lnTo>
                    <a:pt x="242" y="866"/>
                  </a:lnTo>
                  <a:lnTo>
                    <a:pt x="238" y="879"/>
                  </a:lnTo>
                  <a:lnTo>
                    <a:pt x="233" y="900"/>
                  </a:lnTo>
                  <a:lnTo>
                    <a:pt x="229" y="911"/>
                  </a:lnTo>
                  <a:lnTo>
                    <a:pt x="225" y="922"/>
                  </a:lnTo>
                  <a:lnTo>
                    <a:pt x="224" y="933"/>
                  </a:lnTo>
                  <a:lnTo>
                    <a:pt x="224" y="944"/>
                  </a:lnTo>
                  <a:lnTo>
                    <a:pt x="225" y="958"/>
                  </a:lnTo>
                  <a:lnTo>
                    <a:pt x="229" y="973"/>
                  </a:lnTo>
                  <a:lnTo>
                    <a:pt x="233" y="980"/>
                  </a:lnTo>
                  <a:lnTo>
                    <a:pt x="236" y="987"/>
                  </a:lnTo>
                  <a:lnTo>
                    <a:pt x="242" y="993"/>
                  </a:lnTo>
                  <a:lnTo>
                    <a:pt x="247" y="998"/>
                  </a:lnTo>
                  <a:lnTo>
                    <a:pt x="260" y="1009"/>
                  </a:lnTo>
                  <a:lnTo>
                    <a:pt x="273" y="1022"/>
                  </a:lnTo>
                  <a:lnTo>
                    <a:pt x="278" y="1026"/>
                  </a:lnTo>
                  <a:lnTo>
                    <a:pt x="284" y="1029"/>
                  </a:lnTo>
                  <a:lnTo>
                    <a:pt x="296" y="1036"/>
                  </a:lnTo>
                  <a:lnTo>
                    <a:pt x="309" y="1040"/>
                  </a:lnTo>
                  <a:lnTo>
                    <a:pt x="314" y="1044"/>
                  </a:lnTo>
                  <a:lnTo>
                    <a:pt x="322" y="1047"/>
                  </a:lnTo>
                  <a:lnTo>
                    <a:pt x="334" y="1056"/>
                  </a:lnTo>
                  <a:lnTo>
                    <a:pt x="345" y="1067"/>
                  </a:lnTo>
                  <a:lnTo>
                    <a:pt x="356" y="1080"/>
                  </a:lnTo>
                  <a:lnTo>
                    <a:pt x="367" y="1095"/>
                  </a:lnTo>
                  <a:lnTo>
                    <a:pt x="376" y="1109"/>
                  </a:lnTo>
                  <a:lnTo>
                    <a:pt x="378" y="1116"/>
                  </a:lnTo>
                  <a:lnTo>
                    <a:pt x="382" y="1124"/>
                  </a:lnTo>
                  <a:lnTo>
                    <a:pt x="387" y="1140"/>
                  </a:lnTo>
                  <a:lnTo>
                    <a:pt x="387" y="1147"/>
                  </a:lnTo>
                  <a:lnTo>
                    <a:pt x="387" y="1154"/>
                  </a:lnTo>
                  <a:lnTo>
                    <a:pt x="383" y="1156"/>
                  </a:lnTo>
                  <a:lnTo>
                    <a:pt x="380" y="1160"/>
                  </a:lnTo>
                  <a:lnTo>
                    <a:pt x="378" y="1164"/>
                  </a:lnTo>
                  <a:lnTo>
                    <a:pt x="378" y="1169"/>
                  </a:lnTo>
                  <a:lnTo>
                    <a:pt x="380" y="1178"/>
                  </a:lnTo>
                  <a:lnTo>
                    <a:pt x="382" y="1187"/>
                  </a:lnTo>
                  <a:lnTo>
                    <a:pt x="387" y="1198"/>
                  </a:lnTo>
                  <a:lnTo>
                    <a:pt x="392" y="1209"/>
                  </a:lnTo>
                  <a:lnTo>
                    <a:pt x="400" y="1218"/>
                  </a:lnTo>
                  <a:lnTo>
                    <a:pt x="409" y="1225"/>
                  </a:lnTo>
                  <a:lnTo>
                    <a:pt x="412" y="1229"/>
                  </a:lnTo>
                  <a:lnTo>
                    <a:pt x="416" y="1231"/>
                  </a:lnTo>
                  <a:lnTo>
                    <a:pt x="425" y="1234"/>
                  </a:lnTo>
                  <a:lnTo>
                    <a:pt x="429" y="1234"/>
                  </a:lnTo>
                  <a:lnTo>
                    <a:pt x="431" y="1234"/>
                  </a:lnTo>
                  <a:lnTo>
                    <a:pt x="434" y="1232"/>
                  </a:lnTo>
                  <a:lnTo>
                    <a:pt x="440" y="1231"/>
                  </a:lnTo>
                  <a:lnTo>
                    <a:pt x="438" y="1227"/>
                  </a:lnTo>
                  <a:lnTo>
                    <a:pt x="438" y="1222"/>
                  </a:lnTo>
                  <a:lnTo>
                    <a:pt x="440" y="1218"/>
                  </a:lnTo>
                  <a:lnTo>
                    <a:pt x="443" y="1209"/>
                  </a:lnTo>
                  <a:lnTo>
                    <a:pt x="447" y="1202"/>
                  </a:lnTo>
                  <a:lnTo>
                    <a:pt x="452" y="1194"/>
                  </a:lnTo>
                  <a:lnTo>
                    <a:pt x="460" y="1187"/>
                  </a:lnTo>
                  <a:lnTo>
                    <a:pt x="467" y="1183"/>
                  </a:lnTo>
                  <a:lnTo>
                    <a:pt x="474" y="1182"/>
                  </a:lnTo>
                  <a:lnTo>
                    <a:pt x="483" y="1183"/>
                  </a:lnTo>
                  <a:lnTo>
                    <a:pt x="490" y="1185"/>
                  </a:lnTo>
                  <a:lnTo>
                    <a:pt x="505" y="1193"/>
                  </a:lnTo>
                  <a:lnTo>
                    <a:pt x="512" y="1194"/>
                  </a:lnTo>
                  <a:lnTo>
                    <a:pt x="519" y="1196"/>
                  </a:lnTo>
                  <a:lnTo>
                    <a:pt x="525" y="1198"/>
                  </a:lnTo>
                  <a:lnTo>
                    <a:pt x="530" y="1203"/>
                  </a:lnTo>
                  <a:lnTo>
                    <a:pt x="534" y="1207"/>
                  </a:lnTo>
                  <a:lnTo>
                    <a:pt x="539" y="1213"/>
                  </a:lnTo>
                  <a:lnTo>
                    <a:pt x="545" y="1216"/>
                  </a:lnTo>
                  <a:lnTo>
                    <a:pt x="552" y="1216"/>
                  </a:lnTo>
                  <a:lnTo>
                    <a:pt x="558" y="1216"/>
                  </a:lnTo>
                  <a:lnTo>
                    <a:pt x="563" y="1213"/>
                  </a:lnTo>
                  <a:lnTo>
                    <a:pt x="567" y="1207"/>
                  </a:lnTo>
                  <a:lnTo>
                    <a:pt x="570" y="1203"/>
                  </a:lnTo>
                  <a:lnTo>
                    <a:pt x="570" y="1196"/>
                  </a:lnTo>
                  <a:lnTo>
                    <a:pt x="570" y="1194"/>
                  </a:lnTo>
                  <a:lnTo>
                    <a:pt x="563" y="1185"/>
                  </a:lnTo>
                  <a:lnTo>
                    <a:pt x="558" y="1178"/>
                  </a:lnTo>
                  <a:lnTo>
                    <a:pt x="554" y="1171"/>
                  </a:lnTo>
                  <a:lnTo>
                    <a:pt x="552" y="1162"/>
                  </a:lnTo>
                  <a:lnTo>
                    <a:pt x="554" y="1156"/>
                  </a:lnTo>
                  <a:lnTo>
                    <a:pt x="556" y="1151"/>
                  </a:lnTo>
                  <a:lnTo>
                    <a:pt x="558" y="1145"/>
                  </a:lnTo>
                  <a:lnTo>
                    <a:pt x="561" y="1142"/>
                  </a:lnTo>
                  <a:lnTo>
                    <a:pt x="567" y="1136"/>
                  </a:lnTo>
                  <a:lnTo>
                    <a:pt x="572" y="1133"/>
                  </a:lnTo>
                  <a:lnTo>
                    <a:pt x="583" y="1127"/>
                  </a:lnTo>
                  <a:lnTo>
                    <a:pt x="596" y="1122"/>
                  </a:lnTo>
                  <a:lnTo>
                    <a:pt x="608" y="1116"/>
                  </a:lnTo>
                  <a:lnTo>
                    <a:pt x="619" y="1113"/>
                  </a:lnTo>
                  <a:lnTo>
                    <a:pt x="623" y="1111"/>
                  </a:lnTo>
                  <a:lnTo>
                    <a:pt x="625" y="1107"/>
                  </a:lnTo>
                  <a:lnTo>
                    <a:pt x="625" y="1105"/>
                  </a:lnTo>
                  <a:lnTo>
                    <a:pt x="623" y="1104"/>
                  </a:lnTo>
                  <a:lnTo>
                    <a:pt x="617" y="1098"/>
                  </a:lnTo>
                  <a:lnTo>
                    <a:pt x="610" y="1095"/>
                  </a:lnTo>
                  <a:lnTo>
                    <a:pt x="608" y="1091"/>
                  </a:lnTo>
                  <a:lnTo>
                    <a:pt x="607" y="1089"/>
                  </a:lnTo>
                  <a:lnTo>
                    <a:pt x="605" y="1084"/>
                  </a:lnTo>
                  <a:lnTo>
                    <a:pt x="607" y="1076"/>
                  </a:lnTo>
                  <a:lnTo>
                    <a:pt x="610" y="1069"/>
                  </a:lnTo>
                  <a:lnTo>
                    <a:pt x="612" y="1066"/>
                  </a:lnTo>
                  <a:lnTo>
                    <a:pt x="614" y="1062"/>
                  </a:lnTo>
                  <a:lnTo>
                    <a:pt x="621" y="1055"/>
                  </a:lnTo>
                  <a:lnTo>
                    <a:pt x="617" y="1051"/>
                  </a:lnTo>
                  <a:lnTo>
                    <a:pt x="616" y="1047"/>
                  </a:lnTo>
                  <a:lnTo>
                    <a:pt x="610" y="1038"/>
                  </a:lnTo>
                  <a:lnTo>
                    <a:pt x="608" y="1031"/>
                  </a:lnTo>
                  <a:lnTo>
                    <a:pt x="608" y="1020"/>
                  </a:lnTo>
                  <a:lnTo>
                    <a:pt x="608" y="1011"/>
                  </a:lnTo>
                  <a:lnTo>
                    <a:pt x="610" y="1002"/>
                  </a:lnTo>
                  <a:lnTo>
                    <a:pt x="616" y="982"/>
                  </a:lnTo>
                  <a:lnTo>
                    <a:pt x="625" y="960"/>
                  </a:lnTo>
                  <a:lnTo>
                    <a:pt x="636" y="940"/>
                  </a:lnTo>
                  <a:lnTo>
                    <a:pt x="646" y="920"/>
                  </a:lnTo>
                  <a:lnTo>
                    <a:pt x="657" y="902"/>
                  </a:lnTo>
                  <a:lnTo>
                    <a:pt x="674" y="873"/>
                  </a:lnTo>
                  <a:lnTo>
                    <a:pt x="683" y="859"/>
                  </a:lnTo>
                  <a:lnTo>
                    <a:pt x="688" y="844"/>
                  </a:lnTo>
                  <a:lnTo>
                    <a:pt x="690" y="837"/>
                  </a:lnTo>
                  <a:lnTo>
                    <a:pt x="692" y="831"/>
                  </a:lnTo>
                  <a:lnTo>
                    <a:pt x="692" y="817"/>
                  </a:lnTo>
                  <a:lnTo>
                    <a:pt x="692" y="808"/>
                  </a:lnTo>
                  <a:lnTo>
                    <a:pt x="690" y="799"/>
                  </a:lnTo>
                  <a:lnTo>
                    <a:pt x="686" y="790"/>
                  </a:lnTo>
                  <a:lnTo>
                    <a:pt x="683" y="779"/>
                  </a:lnTo>
                  <a:lnTo>
                    <a:pt x="679" y="768"/>
                  </a:lnTo>
                  <a:lnTo>
                    <a:pt x="674" y="752"/>
                  </a:lnTo>
                  <a:lnTo>
                    <a:pt x="670" y="733"/>
                  </a:lnTo>
                  <a:lnTo>
                    <a:pt x="670" y="713"/>
                  </a:lnTo>
                  <a:lnTo>
                    <a:pt x="670" y="708"/>
                  </a:lnTo>
                  <a:lnTo>
                    <a:pt x="670" y="703"/>
                  </a:lnTo>
                  <a:lnTo>
                    <a:pt x="672" y="693"/>
                  </a:lnTo>
                  <a:lnTo>
                    <a:pt x="674" y="688"/>
                  </a:lnTo>
                  <a:lnTo>
                    <a:pt x="676" y="684"/>
                  </a:lnTo>
                  <a:lnTo>
                    <a:pt x="679" y="681"/>
                  </a:lnTo>
                  <a:lnTo>
                    <a:pt x="683" y="677"/>
                  </a:lnTo>
                  <a:lnTo>
                    <a:pt x="639" y="165"/>
                  </a:lnTo>
                  <a:lnTo>
                    <a:pt x="637" y="164"/>
                  </a:lnTo>
                  <a:lnTo>
                    <a:pt x="634" y="158"/>
                  </a:lnTo>
                  <a:lnTo>
                    <a:pt x="630" y="151"/>
                  </a:lnTo>
                  <a:lnTo>
                    <a:pt x="625" y="136"/>
                  </a:lnTo>
                  <a:lnTo>
                    <a:pt x="621" y="124"/>
                  </a:lnTo>
                  <a:lnTo>
                    <a:pt x="616" y="109"/>
                  </a:lnTo>
                  <a:lnTo>
                    <a:pt x="610" y="100"/>
                  </a:lnTo>
                  <a:lnTo>
                    <a:pt x="603" y="89"/>
                  </a:lnTo>
                  <a:lnTo>
                    <a:pt x="590" y="69"/>
                  </a:lnTo>
                  <a:lnTo>
                    <a:pt x="578" y="49"/>
                  </a:lnTo>
                  <a:lnTo>
                    <a:pt x="574" y="38"/>
                  </a:lnTo>
                  <a:lnTo>
                    <a:pt x="572" y="27"/>
                  </a:lnTo>
                  <a:lnTo>
                    <a:pt x="570" y="0"/>
                  </a:lnTo>
                  <a:close/>
                </a:path>
              </a:pathLst>
            </a:custGeom>
            <a:solidFill>
              <a:srgbClr val="FFE600"/>
            </a:solidFill>
            <a:ln w="6350" cap="flat" cmpd="sng" algn="ctr">
              <a:solidFill>
                <a:srgbClr val="2E2E38"/>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646464"/>
                </a:solidFill>
                <a:effectLst/>
                <a:uLnTx/>
                <a:uFillTx/>
                <a:cs typeface="Times New Roman" panose="02020603050405020304" pitchFamily="18" charset="0"/>
              </a:endParaRPr>
            </a:p>
          </p:txBody>
        </p:sp>
        <p:sp>
          <p:nvSpPr>
            <p:cNvPr id="22" name="Line 43">
              <a:extLst>
                <a:ext uri="{FF2B5EF4-FFF2-40B4-BE49-F238E27FC236}">
                  <a16:creationId xmlns:a16="http://schemas.microsoft.com/office/drawing/2014/main" id="{BF848E2A-724C-A181-CADC-E5AB897F5AE8}"/>
                </a:ext>
              </a:extLst>
            </p:cNvPr>
            <p:cNvSpPr>
              <a:spLocks noChangeShapeType="1"/>
            </p:cNvSpPr>
            <p:nvPr/>
          </p:nvSpPr>
          <p:spPr bwMode="auto">
            <a:xfrm>
              <a:off x="5353779" y="4814146"/>
              <a:ext cx="915" cy="894"/>
            </a:xfrm>
            <a:prstGeom prst="line">
              <a:avLst/>
            </a:prstGeom>
            <a:noFill/>
            <a:ln w="3175">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646464"/>
                </a:solidFill>
                <a:effectLst/>
                <a:uLnTx/>
                <a:uFillTx/>
                <a:cs typeface="Times New Roman" panose="02020603050405020304" pitchFamily="18" charset="0"/>
              </a:endParaRPr>
            </a:p>
          </p:txBody>
        </p:sp>
        <p:sp>
          <p:nvSpPr>
            <p:cNvPr id="23" name="Freeform 44">
              <a:extLst>
                <a:ext uri="{FF2B5EF4-FFF2-40B4-BE49-F238E27FC236}">
                  <a16:creationId xmlns:a16="http://schemas.microsoft.com/office/drawing/2014/main" id="{A56E0567-E0DB-078A-7123-B2D80F29CD5B}"/>
                </a:ext>
              </a:extLst>
            </p:cNvPr>
            <p:cNvSpPr>
              <a:spLocks/>
            </p:cNvSpPr>
            <p:nvPr/>
          </p:nvSpPr>
          <p:spPr bwMode="auto">
            <a:xfrm>
              <a:off x="4340007" y="4104384"/>
              <a:ext cx="560458" cy="369149"/>
            </a:xfrm>
            <a:custGeom>
              <a:avLst/>
              <a:gdLst/>
              <a:ahLst/>
              <a:cxnLst>
                <a:cxn ang="0">
                  <a:pos x="49" y="109"/>
                </a:cxn>
                <a:cxn ang="0">
                  <a:pos x="17" y="423"/>
                </a:cxn>
                <a:cxn ang="0">
                  <a:pos x="0" y="650"/>
                </a:cxn>
                <a:cxn ang="0">
                  <a:pos x="403" y="686"/>
                </a:cxn>
                <a:cxn ang="0">
                  <a:pos x="572" y="697"/>
                </a:cxn>
                <a:cxn ang="0">
                  <a:pos x="742" y="706"/>
                </a:cxn>
                <a:cxn ang="0">
                  <a:pos x="888" y="706"/>
                </a:cxn>
                <a:cxn ang="0">
                  <a:pos x="937" y="748"/>
                </a:cxn>
                <a:cxn ang="0">
                  <a:pos x="964" y="761"/>
                </a:cxn>
                <a:cxn ang="0">
                  <a:pos x="980" y="757"/>
                </a:cxn>
                <a:cxn ang="0">
                  <a:pos x="1007" y="744"/>
                </a:cxn>
                <a:cxn ang="0">
                  <a:pos x="1045" y="739"/>
                </a:cxn>
                <a:cxn ang="0">
                  <a:pos x="1069" y="739"/>
                </a:cxn>
                <a:cxn ang="0">
                  <a:pos x="1114" y="753"/>
                </a:cxn>
                <a:cxn ang="0">
                  <a:pos x="1143" y="773"/>
                </a:cxn>
                <a:cxn ang="0">
                  <a:pos x="1165" y="802"/>
                </a:cxn>
                <a:cxn ang="0">
                  <a:pos x="1198" y="822"/>
                </a:cxn>
                <a:cxn ang="0">
                  <a:pos x="1211" y="815"/>
                </a:cxn>
                <a:cxn ang="0">
                  <a:pos x="1192" y="786"/>
                </a:cxn>
                <a:cxn ang="0">
                  <a:pos x="1189" y="766"/>
                </a:cxn>
                <a:cxn ang="0">
                  <a:pos x="1198" y="739"/>
                </a:cxn>
                <a:cxn ang="0">
                  <a:pos x="1211" y="712"/>
                </a:cxn>
                <a:cxn ang="0">
                  <a:pos x="1212" y="688"/>
                </a:cxn>
                <a:cxn ang="0">
                  <a:pos x="1200" y="648"/>
                </a:cxn>
                <a:cxn ang="0">
                  <a:pos x="1198" y="599"/>
                </a:cxn>
                <a:cxn ang="0">
                  <a:pos x="1223" y="599"/>
                </a:cxn>
                <a:cxn ang="0">
                  <a:pos x="1220" y="483"/>
                </a:cxn>
                <a:cxn ang="0">
                  <a:pos x="1218" y="439"/>
                </a:cxn>
                <a:cxn ang="0">
                  <a:pos x="1221" y="223"/>
                </a:cxn>
                <a:cxn ang="0">
                  <a:pos x="1218" y="196"/>
                </a:cxn>
                <a:cxn ang="0">
                  <a:pos x="1209" y="183"/>
                </a:cxn>
                <a:cxn ang="0">
                  <a:pos x="1187" y="174"/>
                </a:cxn>
                <a:cxn ang="0">
                  <a:pos x="1174" y="165"/>
                </a:cxn>
                <a:cxn ang="0">
                  <a:pos x="1165" y="147"/>
                </a:cxn>
                <a:cxn ang="0">
                  <a:pos x="1163" y="133"/>
                </a:cxn>
                <a:cxn ang="0">
                  <a:pos x="1174" y="116"/>
                </a:cxn>
                <a:cxn ang="0">
                  <a:pos x="1191" y="102"/>
                </a:cxn>
                <a:cxn ang="0">
                  <a:pos x="1198" y="85"/>
                </a:cxn>
                <a:cxn ang="0">
                  <a:pos x="1200" y="65"/>
                </a:cxn>
                <a:cxn ang="0">
                  <a:pos x="1091" y="58"/>
                </a:cxn>
                <a:cxn ang="0">
                  <a:pos x="793" y="47"/>
                </a:cxn>
                <a:cxn ang="0">
                  <a:pos x="305" y="20"/>
                </a:cxn>
              </a:cxnLst>
              <a:rect l="0" t="0" r="r" b="b"/>
              <a:pathLst>
                <a:path w="1223" h="828">
                  <a:moveTo>
                    <a:pt x="64" y="0"/>
                  </a:moveTo>
                  <a:lnTo>
                    <a:pt x="56" y="49"/>
                  </a:lnTo>
                  <a:lnTo>
                    <a:pt x="49" y="109"/>
                  </a:lnTo>
                  <a:lnTo>
                    <a:pt x="42" y="167"/>
                  </a:lnTo>
                  <a:lnTo>
                    <a:pt x="36" y="209"/>
                  </a:lnTo>
                  <a:lnTo>
                    <a:pt x="17" y="423"/>
                  </a:lnTo>
                  <a:lnTo>
                    <a:pt x="6" y="563"/>
                  </a:lnTo>
                  <a:lnTo>
                    <a:pt x="2" y="615"/>
                  </a:lnTo>
                  <a:lnTo>
                    <a:pt x="0" y="650"/>
                  </a:lnTo>
                  <a:lnTo>
                    <a:pt x="189" y="666"/>
                  </a:lnTo>
                  <a:lnTo>
                    <a:pt x="294" y="677"/>
                  </a:lnTo>
                  <a:lnTo>
                    <a:pt x="403" y="686"/>
                  </a:lnTo>
                  <a:lnTo>
                    <a:pt x="457" y="690"/>
                  </a:lnTo>
                  <a:lnTo>
                    <a:pt x="514" y="693"/>
                  </a:lnTo>
                  <a:lnTo>
                    <a:pt x="572" y="697"/>
                  </a:lnTo>
                  <a:lnTo>
                    <a:pt x="628" y="701"/>
                  </a:lnTo>
                  <a:lnTo>
                    <a:pt x="686" y="704"/>
                  </a:lnTo>
                  <a:lnTo>
                    <a:pt x="742" y="706"/>
                  </a:lnTo>
                  <a:lnTo>
                    <a:pt x="799" y="706"/>
                  </a:lnTo>
                  <a:lnTo>
                    <a:pt x="855" y="708"/>
                  </a:lnTo>
                  <a:lnTo>
                    <a:pt x="888" y="706"/>
                  </a:lnTo>
                  <a:lnTo>
                    <a:pt x="904" y="722"/>
                  </a:lnTo>
                  <a:lnTo>
                    <a:pt x="924" y="741"/>
                  </a:lnTo>
                  <a:lnTo>
                    <a:pt x="937" y="748"/>
                  </a:lnTo>
                  <a:lnTo>
                    <a:pt x="947" y="755"/>
                  </a:lnTo>
                  <a:lnTo>
                    <a:pt x="958" y="759"/>
                  </a:lnTo>
                  <a:lnTo>
                    <a:pt x="964" y="761"/>
                  </a:lnTo>
                  <a:lnTo>
                    <a:pt x="969" y="761"/>
                  </a:lnTo>
                  <a:lnTo>
                    <a:pt x="971" y="761"/>
                  </a:lnTo>
                  <a:lnTo>
                    <a:pt x="980" y="757"/>
                  </a:lnTo>
                  <a:lnTo>
                    <a:pt x="991" y="753"/>
                  </a:lnTo>
                  <a:lnTo>
                    <a:pt x="1002" y="748"/>
                  </a:lnTo>
                  <a:lnTo>
                    <a:pt x="1007" y="744"/>
                  </a:lnTo>
                  <a:lnTo>
                    <a:pt x="1011" y="744"/>
                  </a:lnTo>
                  <a:lnTo>
                    <a:pt x="1033" y="741"/>
                  </a:lnTo>
                  <a:lnTo>
                    <a:pt x="1045" y="739"/>
                  </a:lnTo>
                  <a:lnTo>
                    <a:pt x="1056" y="739"/>
                  </a:lnTo>
                  <a:lnTo>
                    <a:pt x="1060" y="739"/>
                  </a:lnTo>
                  <a:lnTo>
                    <a:pt x="1069" y="739"/>
                  </a:lnTo>
                  <a:lnTo>
                    <a:pt x="1080" y="741"/>
                  </a:lnTo>
                  <a:lnTo>
                    <a:pt x="1103" y="748"/>
                  </a:lnTo>
                  <a:lnTo>
                    <a:pt x="1114" y="753"/>
                  </a:lnTo>
                  <a:lnTo>
                    <a:pt x="1125" y="759"/>
                  </a:lnTo>
                  <a:lnTo>
                    <a:pt x="1136" y="766"/>
                  </a:lnTo>
                  <a:lnTo>
                    <a:pt x="1143" y="773"/>
                  </a:lnTo>
                  <a:lnTo>
                    <a:pt x="1151" y="784"/>
                  </a:lnTo>
                  <a:lnTo>
                    <a:pt x="1158" y="793"/>
                  </a:lnTo>
                  <a:lnTo>
                    <a:pt x="1165" y="802"/>
                  </a:lnTo>
                  <a:lnTo>
                    <a:pt x="1174" y="811"/>
                  </a:lnTo>
                  <a:lnTo>
                    <a:pt x="1185" y="815"/>
                  </a:lnTo>
                  <a:lnTo>
                    <a:pt x="1198" y="822"/>
                  </a:lnTo>
                  <a:lnTo>
                    <a:pt x="1214" y="828"/>
                  </a:lnTo>
                  <a:lnTo>
                    <a:pt x="1220" y="828"/>
                  </a:lnTo>
                  <a:lnTo>
                    <a:pt x="1211" y="815"/>
                  </a:lnTo>
                  <a:lnTo>
                    <a:pt x="1201" y="800"/>
                  </a:lnTo>
                  <a:lnTo>
                    <a:pt x="1196" y="793"/>
                  </a:lnTo>
                  <a:lnTo>
                    <a:pt x="1192" y="786"/>
                  </a:lnTo>
                  <a:lnTo>
                    <a:pt x="1191" y="779"/>
                  </a:lnTo>
                  <a:lnTo>
                    <a:pt x="1189" y="770"/>
                  </a:lnTo>
                  <a:lnTo>
                    <a:pt x="1189" y="766"/>
                  </a:lnTo>
                  <a:lnTo>
                    <a:pt x="1189" y="759"/>
                  </a:lnTo>
                  <a:lnTo>
                    <a:pt x="1191" y="751"/>
                  </a:lnTo>
                  <a:lnTo>
                    <a:pt x="1198" y="739"/>
                  </a:lnTo>
                  <a:lnTo>
                    <a:pt x="1205" y="726"/>
                  </a:lnTo>
                  <a:lnTo>
                    <a:pt x="1209" y="719"/>
                  </a:lnTo>
                  <a:lnTo>
                    <a:pt x="1211" y="712"/>
                  </a:lnTo>
                  <a:lnTo>
                    <a:pt x="1212" y="704"/>
                  </a:lnTo>
                  <a:lnTo>
                    <a:pt x="1212" y="697"/>
                  </a:lnTo>
                  <a:lnTo>
                    <a:pt x="1212" y="688"/>
                  </a:lnTo>
                  <a:lnTo>
                    <a:pt x="1209" y="679"/>
                  </a:lnTo>
                  <a:lnTo>
                    <a:pt x="1203" y="661"/>
                  </a:lnTo>
                  <a:lnTo>
                    <a:pt x="1200" y="648"/>
                  </a:lnTo>
                  <a:lnTo>
                    <a:pt x="1200" y="632"/>
                  </a:lnTo>
                  <a:lnTo>
                    <a:pt x="1198" y="603"/>
                  </a:lnTo>
                  <a:lnTo>
                    <a:pt x="1198" y="599"/>
                  </a:lnTo>
                  <a:lnTo>
                    <a:pt x="1205" y="599"/>
                  </a:lnTo>
                  <a:lnTo>
                    <a:pt x="1216" y="599"/>
                  </a:lnTo>
                  <a:lnTo>
                    <a:pt x="1223" y="599"/>
                  </a:lnTo>
                  <a:lnTo>
                    <a:pt x="1223" y="563"/>
                  </a:lnTo>
                  <a:lnTo>
                    <a:pt x="1221" y="523"/>
                  </a:lnTo>
                  <a:lnTo>
                    <a:pt x="1220" y="483"/>
                  </a:lnTo>
                  <a:lnTo>
                    <a:pt x="1218" y="461"/>
                  </a:lnTo>
                  <a:lnTo>
                    <a:pt x="1218" y="441"/>
                  </a:lnTo>
                  <a:lnTo>
                    <a:pt x="1218" y="439"/>
                  </a:lnTo>
                  <a:lnTo>
                    <a:pt x="1220" y="336"/>
                  </a:lnTo>
                  <a:lnTo>
                    <a:pt x="1221" y="234"/>
                  </a:lnTo>
                  <a:lnTo>
                    <a:pt x="1221" y="223"/>
                  </a:lnTo>
                  <a:lnTo>
                    <a:pt x="1221" y="212"/>
                  </a:lnTo>
                  <a:lnTo>
                    <a:pt x="1220" y="202"/>
                  </a:lnTo>
                  <a:lnTo>
                    <a:pt x="1218" y="196"/>
                  </a:lnTo>
                  <a:lnTo>
                    <a:pt x="1216" y="191"/>
                  </a:lnTo>
                  <a:lnTo>
                    <a:pt x="1212" y="187"/>
                  </a:lnTo>
                  <a:lnTo>
                    <a:pt x="1209" y="183"/>
                  </a:lnTo>
                  <a:lnTo>
                    <a:pt x="1203" y="180"/>
                  </a:lnTo>
                  <a:lnTo>
                    <a:pt x="1198" y="178"/>
                  </a:lnTo>
                  <a:lnTo>
                    <a:pt x="1187" y="174"/>
                  </a:lnTo>
                  <a:lnTo>
                    <a:pt x="1183" y="173"/>
                  </a:lnTo>
                  <a:lnTo>
                    <a:pt x="1180" y="169"/>
                  </a:lnTo>
                  <a:lnTo>
                    <a:pt x="1174" y="165"/>
                  </a:lnTo>
                  <a:lnTo>
                    <a:pt x="1171" y="158"/>
                  </a:lnTo>
                  <a:lnTo>
                    <a:pt x="1167" y="153"/>
                  </a:lnTo>
                  <a:lnTo>
                    <a:pt x="1165" y="147"/>
                  </a:lnTo>
                  <a:lnTo>
                    <a:pt x="1163" y="142"/>
                  </a:lnTo>
                  <a:lnTo>
                    <a:pt x="1163" y="138"/>
                  </a:lnTo>
                  <a:lnTo>
                    <a:pt x="1163" y="133"/>
                  </a:lnTo>
                  <a:lnTo>
                    <a:pt x="1165" y="129"/>
                  </a:lnTo>
                  <a:lnTo>
                    <a:pt x="1171" y="124"/>
                  </a:lnTo>
                  <a:lnTo>
                    <a:pt x="1174" y="116"/>
                  </a:lnTo>
                  <a:lnTo>
                    <a:pt x="1180" y="113"/>
                  </a:lnTo>
                  <a:lnTo>
                    <a:pt x="1185" y="107"/>
                  </a:lnTo>
                  <a:lnTo>
                    <a:pt x="1191" y="102"/>
                  </a:lnTo>
                  <a:lnTo>
                    <a:pt x="1196" y="96"/>
                  </a:lnTo>
                  <a:lnTo>
                    <a:pt x="1198" y="91"/>
                  </a:lnTo>
                  <a:lnTo>
                    <a:pt x="1198" y="85"/>
                  </a:lnTo>
                  <a:lnTo>
                    <a:pt x="1198" y="75"/>
                  </a:lnTo>
                  <a:lnTo>
                    <a:pt x="1198" y="73"/>
                  </a:lnTo>
                  <a:lnTo>
                    <a:pt x="1200" y="65"/>
                  </a:lnTo>
                  <a:lnTo>
                    <a:pt x="1201" y="60"/>
                  </a:lnTo>
                  <a:lnTo>
                    <a:pt x="1151" y="60"/>
                  </a:lnTo>
                  <a:lnTo>
                    <a:pt x="1091" y="58"/>
                  </a:lnTo>
                  <a:lnTo>
                    <a:pt x="1025" y="56"/>
                  </a:lnTo>
                  <a:lnTo>
                    <a:pt x="953" y="55"/>
                  </a:lnTo>
                  <a:lnTo>
                    <a:pt x="793" y="47"/>
                  </a:lnTo>
                  <a:lnTo>
                    <a:pt x="626" y="38"/>
                  </a:lnTo>
                  <a:lnTo>
                    <a:pt x="461" y="29"/>
                  </a:lnTo>
                  <a:lnTo>
                    <a:pt x="305" y="20"/>
                  </a:lnTo>
                  <a:lnTo>
                    <a:pt x="169" y="9"/>
                  </a:lnTo>
                  <a:lnTo>
                    <a:pt x="64" y="0"/>
                  </a:lnTo>
                  <a:close/>
                </a:path>
              </a:pathLst>
            </a:custGeom>
            <a:solidFill>
              <a:srgbClr val="FFE600"/>
            </a:solidFill>
            <a:ln w="6350" cap="flat" cmpd="sng" algn="ctr">
              <a:solidFill>
                <a:srgbClr val="2E2E38"/>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646464"/>
                </a:solidFill>
                <a:effectLst/>
                <a:uLnTx/>
                <a:uFillTx/>
                <a:cs typeface="Times New Roman" panose="02020603050405020304" pitchFamily="18" charset="0"/>
              </a:endParaRPr>
            </a:p>
          </p:txBody>
        </p:sp>
        <p:sp>
          <p:nvSpPr>
            <p:cNvPr id="24" name="Line 46">
              <a:extLst>
                <a:ext uri="{FF2B5EF4-FFF2-40B4-BE49-F238E27FC236}">
                  <a16:creationId xmlns:a16="http://schemas.microsoft.com/office/drawing/2014/main" id="{8F683546-EC14-4810-27A2-D458FB779E99}"/>
                </a:ext>
              </a:extLst>
            </p:cNvPr>
            <p:cNvSpPr>
              <a:spLocks noChangeShapeType="1"/>
            </p:cNvSpPr>
            <p:nvPr/>
          </p:nvSpPr>
          <p:spPr bwMode="auto">
            <a:xfrm>
              <a:off x="4891308" y="4365640"/>
              <a:ext cx="915" cy="894"/>
            </a:xfrm>
            <a:prstGeom prst="line">
              <a:avLst/>
            </a:prstGeom>
            <a:noFill/>
            <a:ln w="3175">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646464"/>
                </a:solidFill>
                <a:effectLst/>
                <a:uLnTx/>
                <a:uFillTx/>
                <a:cs typeface="Times New Roman" panose="02020603050405020304" pitchFamily="18" charset="0"/>
              </a:endParaRPr>
            </a:p>
          </p:txBody>
        </p:sp>
        <p:sp>
          <p:nvSpPr>
            <p:cNvPr id="25" name="Freeform 47">
              <a:extLst>
                <a:ext uri="{FF2B5EF4-FFF2-40B4-BE49-F238E27FC236}">
                  <a16:creationId xmlns:a16="http://schemas.microsoft.com/office/drawing/2014/main" id="{75B2F7D1-3098-80D0-8C63-E73B55FBB21D}"/>
                </a:ext>
              </a:extLst>
            </p:cNvPr>
            <p:cNvSpPr>
              <a:spLocks/>
            </p:cNvSpPr>
            <p:nvPr/>
          </p:nvSpPr>
          <p:spPr bwMode="auto">
            <a:xfrm>
              <a:off x="4445322" y="4700016"/>
              <a:ext cx="596174" cy="318324"/>
            </a:xfrm>
            <a:custGeom>
              <a:avLst/>
              <a:gdLst/>
              <a:ahLst/>
              <a:cxnLst>
                <a:cxn ang="0">
                  <a:pos x="49" y="0"/>
                </a:cxn>
                <a:cxn ang="0">
                  <a:pos x="34" y="194"/>
                </a:cxn>
                <a:cxn ang="0">
                  <a:pos x="20" y="394"/>
                </a:cxn>
                <a:cxn ang="0">
                  <a:pos x="7" y="566"/>
                </a:cxn>
                <a:cxn ang="0">
                  <a:pos x="0" y="679"/>
                </a:cxn>
                <a:cxn ang="0">
                  <a:pos x="58" y="682"/>
                </a:cxn>
                <a:cxn ang="0">
                  <a:pos x="118" y="688"/>
                </a:cxn>
                <a:cxn ang="0">
                  <a:pos x="246" y="695"/>
                </a:cxn>
                <a:cxn ang="0">
                  <a:pos x="381" y="700"/>
                </a:cxn>
                <a:cxn ang="0">
                  <a:pos x="517" y="706"/>
                </a:cxn>
                <a:cxn ang="0">
                  <a:pos x="655" y="709"/>
                </a:cxn>
                <a:cxn ang="0">
                  <a:pos x="789" y="713"/>
                </a:cxn>
                <a:cxn ang="0">
                  <a:pos x="916" y="715"/>
                </a:cxn>
                <a:cxn ang="0">
                  <a:pos x="1032" y="715"/>
                </a:cxn>
                <a:cxn ang="0">
                  <a:pos x="1117" y="715"/>
                </a:cxn>
                <a:cxn ang="0">
                  <a:pos x="1156" y="715"/>
                </a:cxn>
                <a:cxn ang="0">
                  <a:pos x="1190" y="713"/>
                </a:cxn>
                <a:cxn ang="0">
                  <a:pos x="1254" y="711"/>
                </a:cxn>
                <a:cxn ang="0">
                  <a:pos x="1301" y="709"/>
                </a:cxn>
                <a:cxn ang="0">
                  <a:pos x="1295" y="247"/>
                </a:cxn>
                <a:cxn ang="0">
                  <a:pos x="1290" y="243"/>
                </a:cxn>
                <a:cxn ang="0">
                  <a:pos x="1283" y="239"/>
                </a:cxn>
                <a:cxn ang="0">
                  <a:pos x="1277" y="236"/>
                </a:cxn>
                <a:cxn ang="0">
                  <a:pos x="1272" y="230"/>
                </a:cxn>
                <a:cxn ang="0">
                  <a:pos x="1261" y="218"/>
                </a:cxn>
                <a:cxn ang="0">
                  <a:pos x="1250" y="207"/>
                </a:cxn>
                <a:cxn ang="0">
                  <a:pos x="1244" y="201"/>
                </a:cxn>
                <a:cxn ang="0">
                  <a:pos x="1239" y="194"/>
                </a:cxn>
                <a:cxn ang="0">
                  <a:pos x="1232" y="181"/>
                </a:cxn>
                <a:cxn ang="0">
                  <a:pos x="1226" y="169"/>
                </a:cxn>
                <a:cxn ang="0">
                  <a:pos x="1219" y="156"/>
                </a:cxn>
                <a:cxn ang="0">
                  <a:pos x="1214" y="145"/>
                </a:cxn>
                <a:cxn ang="0">
                  <a:pos x="1212" y="141"/>
                </a:cxn>
                <a:cxn ang="0">
                  <a:pos x="1212" y="138"/>
                </a:cxn>
                <a:cxn ang="0">
                  <a:pos x="1212" y="134"/>
                </a:cxn>
                <a:cxn ang="0">
                  <a:pos x="1214" y="132"/>
                </a:cxn>
                <a:cxn ang="0">
                  <a:pos x="1219" y="127"/>
                </a:cxn>
                <a:cxn ang="0">
                  <a:pos x="1226" y="120"/>
                </a:cxn>
                <a:cxn ang="0">
                  <a:pos x="1234" y="111"/>
                </a:cxn>
                <a:cxn ang="0">
                  <a:pos x="1239" y="101"/>
                </a:cxn>
                <a:cxn ang="0">
                  <a:pos x="1241" y="94"/>
                </a:cxn>
                <a:cxn ang="0">
                  <a:pos x="1239" y="92"/>
                </a:cxn>
                <a:cxn ang="0">
                  <a:pos x="1239" y="89"/>
                </a:cxn>
                <a:cxn ang="0">
                  <a:pos x="1234" y="83"/>
                </a:cxn>
                <a:cxn ang="0">
                  <a:pos x="1232" y="81"/>
                </a:cxn>
                <a:cxn ang="0">
                  <a:pos x="1226" y="80"/>
                </a:cxn>
                <a:cxn ang="0">
                  <a:pos x="1217" y="74"/>
                </a:cxn>
                <a:cxn ang="0">
                  <a:pos x="1205" y="67"/>
                </a:cxn>
                <a:cxn ang="0">
                  <a:pos x="1192" y="62"/>
                </a:cxn>
                <a:cxn ang="0">
                  <a:pos x="1181" y="52"/>
                </a:cxn>
                <a:cxn ang="0">
                  <a:pos x="1170" y="43"/>
                </a:cxn>
                <a:cxn ang="0">
                  <a:pos x="1114" y="43"/>
                </a:cxn>
                <a:cxn ang="0">
                  <a:pos x="1047" y="45"/>
                </a:cxn>
                <a:cxn ang="0">
                  <a:pos x="951" y="43"/>
                </a:cxn>
                <a:cxn ang="0">
                  <a:pos x="840" y="42"/>
                </a:cxn>
                <a:cxn ang="0">
                  <a:pos x="722" y="38"/>
                </a:cxn>
                <a:cxn ang="0">
                  <a:pos x="595" y="32"/>
                </a:cxn>
                <a:cxn ang="0">
                  <a:pos x="461" y="25"/>
                </a:cxn>
                <a:cxn ang="0">
                  <a:pos x="324" y="18"/>
                </a:cxn>
                <a:cxn ang="0">
                  <a:pos x="187" y="9"/>
                </a:cxn>
                <a:cxn ang="0">
                  <a:pos x="49" y="0"/>
                </a:cxn>
              </a:cxnLst>
              <a:rect l="0" t="0" r="r" b="b"/>
              <a:pathLst>
                <a:path w="1301" h="715">
                  <a:moveTo>
                    <a:pt x="49" y="0"/>
                  </a:moveTo>
                  <a:lnTo>
                    <a:pt x="34" y="194"/>
                  </a:lnTo>
                  <a:lnTo>
                    <a:pt x="20" y="394"/>
                  </a:lnTo>
                  <a:lnTo>
                    <a:pt x="7" y="566"/>
                  </a:lnTo>
                  <a:lnTo>
                    <a:pt x="0" y="679"/>
                  </a:lnTo>
                  <a:lnTo>
                    <a:pt x="58" y="682"/>
                  </a:lnTo>
                  <a:lnTo>
                    <a:pt x="118" y="688"/>
                  </a:lnTo>
                  <a:lnTo>
                    <a:pt x="246" y="695"/>
                  </a:lnTo>
                  <a:lnTo>
                    <a:pt x="381" y="700"/>
                  </a:lnTo>
                  <a:lnTo>
                    <a:pt x="517" y="706"/>
                  </a:lnTo>
                  <a:lnTo>
                    <a:pt x="655" y="709"/>
                  </a:lnTo>
                  <a:lnTo>
                    <a:pt x="789" y="713"/>
                  </a:lnTo>
                  <a:lnTo>
                    <a:pt x="916" y="715"/>
                  </a:lnTo>
                  <a:lnTo>
                    <a:pt x="1032" y="715"/>
                  </a:lnTo>
                  <a:lnTo>
                    <a:pt x="1117" y="715"/>
                  </a:lnTo>
                  <a:lnTo>
                    <a:pt x="1156" y="715"/>
                  </a:lnTo>
                  <a:lnTo>
                    <a:pt x="1190" y="713"/>
                  </a:lnTo>
                  <a:lnTo>
                    <a:pt x="1254" y="711"/>
                  </a:lnTo>
                  <a:lnTo>
                    <a:pt x="1301" y="709"/>
                  </a:lnTo>
                  <a:lnTo>
                    <a:pt x="1295" y="247"/>
                  </a:lnTo>
                  <a:lnTo>
                    <a:pt x="1290" y="243"/>
                  </a:lnTo>
                  <a:lnTo>
                    <a:pt x="1283" y="239"/>
                  </a:lnTo>
                  <a:lnTo>
                    <a:pt x="1277" y="236"/>
                  </a:lnTo>
                  <a:lnTo>
                    <a:pt x="1272" y="230"/>
                  </a:lnTo>
                  <a:lnTo>
                    <a:pt x="1261" y="218"/>
                  </a:lnTo>
                  <a:lnTo>
                    <a:pt x="1250" y="207"/>
                  </a:lnTo>
                  <a:lnTo>
                    <a:pt x="1244" y="201"/>
                  </a:lnTo>
                  <a:lnTo>
                    <a:pt x="1239" y="194"/>
                  </a:lnTo>
                  <a:lnTo>
                    <a:pt x="1232" y="181"/>
                  </a:lnTo>
                  <a:lnTo>
                    <a:pt x="1226" y="169"/>
                  </a:lnTo>
                  <a:lnTo>
                    <a:pt x="1219" y="156"/>
                  </a:lnTo>
                  <a:lnTo>
                    <a:pt x="1214" y="145"/>
                  </a:lnTo>
                  <a:lnTo>
                    <a:pt x="1212" y="141"/>
                  </a:lnTo>
                  <a:lnTo>
                    <a:pt x="1212" y="138"/>
                  </a:lnTo>
                  <a:lnTo>
                    <a:pt x="1212" y="134"/>
                  </a:lnTo>
                  <a:lnTo>
                    <a:pt x="1214" y="132"/>
                  </a:lnTo>
                  <a:lnTo>
                    <a:pt x="1219" y="127"/>
                  </a:lnTo>
                  <a:lnTo>
                    <a:pt x="1226" y="120"/>
                  </a:lnTo>
                  <a:lnTo>
                    <a:pt x="1234" y="111"/>
                  </a:lnTo>
                  <a:lnTo>
                    <a:pt x="1239" y="101"/>
                  </a:lnTo>
                  <a:lnTo>
                    <a:pt x="1241" y="94"/>
                  </a:lnTo>
                  <a:lnTo>
                    <a:pt x="1239" y="92"/>
                  </a:lnTo>
                  <a:lnTo>
                    <a:pt x="1239" y="89"/>
                  </a:lnTo>
                  <a:lnTo>
                    <a:pt x="1234" y="83"/>
                  </a:lnTo>
                  <a:lnTo>
                    <a:pt x="1232" y="81"/>
                  </a:lnTo>
                  <a:lnTo>
                    <a:pt x="1226" y="80"/>
                  </a:lnTo>
                  <a:lnTo>
                    <a:pt x="1217" y="74"/>
                  </a:lnTo>
                  <a:lnTo>
                    <a:pt x="1205" y="67"/>
                  </a:lnTo>
                  <a:lnTo>
                    <a:pt x="1192" y="62"/>
                  </a:lnTo>
                  <a:lnTo>
                    <a:pt x="1181" y="52"/>
                  </a:lnTo>
                  <a:lnTo>
                    <a:pt x="1170" y="43"/>
                  </a:lnTo>
                  <a:lnTo>
                    <a:pt x="1114" y="43"/>
                  </a:lnTo>
                  <a:lnTo>
                    <a:pt x="1047" y="45"/>
                  </a:lnTo>
                  <a:lnTo>
                    <a:pt x="951" y="43"/>
                  </a:lnTo>
                  <a:lnTo>
                    <a:pt x="840" y="42"/>
                  </a:lnTo>
                  <a:lnTo>
                    <a:pt x="722" y="38"/>
                  </a:lnTo>
                  <a:lnTo>
                    <a:pt x="595" y="32"/>
                  </a:lnTo>
                  <a:lnTo>
                    <a:pt x="461" y="25"/>
                  </a:lnTo>
                  <a:lnTo>
                    <a:pt x="324" y="18"/>
                  </a:lnTo>
                  <a:lnTo>
                    <a:pt x="187" y="9"/>
                  </a:lnTo>
                  <a:lnTo>
                    <a:pt x="49" y="0"/>
                  </a:lnTo>
                  <a:close/>
                </a:path>
              </a:pathLst>
            </a:custGeom>
            <a:solidFill>
              <a:srgbClr val="FFE600"/>
            </a:solidFill>
            <a:ln w="6350" cap="flat" cmpd="sng" algn="ctr">
              <a:solidFill>
                <a:srgbClr val="2E2E38"/>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646464"/>
                </a:solidFill>
                <a:effectLst/>
                <a:uLnTx/>
                <a:uFillTx/>
                <a:cs typeface="Times New Roman" panose="02020603050405020304" pitchFamily="18" charset="0"/>
              </a:endParaRPr>
            </a:p>
          </p:txBody>
        </p:sp>
        <p:sp>
          <p:nvSpPr>
            <p:cNvPr id="26" name="Freeform 49">
              <a:extLst>
                <a:ext uri="{FF2B5EF4-FFF2-40B4-BE49-F238E27FC236}">
                  <a16:creationId xmlns:a16="http://schemas.microsoft.com/office/drawing/2014/main" id="{E32D6708-08C9-D8E2-977F-881FADABD3B4}"/>
                </a:ext>
              </a:extLst>
            </p:cNvPr>
            <p:cNvSpPr>
              <a:spLocks/>
            </p:cNvSpPr>
            <p:nvPr/>
          </p:nvSpPr>
          <p:spPr bwMode="auto">
            <a:xfrm>
              <a:off x="4320218" y="4392768"/>
              <a:ext cx="663941" cy="326349"/>
            </a:xfrm>
            <a:custGeom>
              <a:avLst/>
              <a:gdLst/>
              <a:ahLst/>
              <a:cxnLst>
                <a:cxn ang="0">
                  <a:pos x="46" y="33"/>
                </a:cxn>
                <a:cxn ang="0">
                  <a:pos x="0" y="448"/>
                </a:cxn>
                <a:cxn ang="0">
                  <a:pos x="258" y="466"/>
                </a:cxn>
                <a:cxn ang="0">
                  <a:pos x="334" y="512"/>
                </a:cxn>
                <a:cxn ang="0">
                  <a:pos x="330" y="653"/>
                </a:cxn>
                <a:cxn ang="0">
                  <a:pos x="604" y="704"/>
                </a:cxn>
                <a:cxn ang="0">
                  <a:pos x="1002" y="724"/>
                </a:cxn>
                <a:cxn ang="0">
                  <a:pos x="1327" y="731"/>
                </a:cxn>
                <a:cxn ang="0">
                  <a:pos x="1434" y="729"/>
                </a:cxn>
                <a:cxn ang="0">
                  <a:pos x="1446" y="724"/>
                </a:cxn>
                <a:cxn ang="0">
                  <a:pos x="1441" y="711"/>
                </a:cxn>
                <a:cxn ang="0">
                  <a:pos x="1436" y="691"/>
                </a:cxn>
                <a:cxn ang="0">
                  <a:pos x="1416" y="671"/>
                </a:cxn>
                <a:cxn ang="0">
                  <a:pos x="1397" y="650"/>
                </a:cxn>
                <a:cxn ang="0">
                  <a:pos x="1390" y="626"/>
                </a:cxn>
                <a:cxn ang="0">
                  <a:pos x="1392" y="599"/>
                </a:cxn>
                <a:cxn ang="0">
                  <a:pos x="1372" y="590"/>
                </a:cxn>
                <a:cxn ang="0">
                  <a:pos x="1363" y="573"/>
                </a:cxn>
                <a:cxn ang="0">
                  <a:pos x="1354" y="524"/>
                </a:cxn>
                <a:cxn ang="0">
                  <a:pos x="1358" y="504"/>
                </a:cxn>
                <a:cxn ang="0">
                  <a:pos x="1361" y="479"/>
                </a:cxn>
                <a:cxn ang="0">
                  <a:pos x="1350" y="448"/>
                </a:cxn>
                <a:cxn ang="0">
                  <a:pos x="1341" y="421"/>
                </a:cxn>
                <a:cxn ang="0">
                  <a:pos x="1327" y="390"/>
                </a:cxn>
                <a:cxn ang="0">
                  <a:pos x="1323" y="368"/>
                </a:cxn>
                <a:cxn ang="0">
                  <a:pos x="1321" y="325"/>
                </a:cxn>
                <a:cxn ang="0">
                  <a:pos x="1314" y="303"/>
                </a:cxn>
                <a:cxn ang="0">
                  <a:pos x="1292" y="268"/>
                </a:cxn>
                <a:cxn ang="0">
                  <a:pos x="1278" y="238"/>
                </a:cxn>
                <a:cxn ang="0">
                  <a:pos x="1278" y="201"/>
                </a:cxn>
                <a:cxn ang="0">
                  <a:pos x="1270" y="183"/>
                </a:cxn>
                <a:cxn ang="0">
                  <a:pos x="1260" y="176"/>
                </a:cxn>
                <a:cxn ang="0">
                  <a:pos x="1223" y="161"/>
                </a:cxn>
                <a:cxn ang="0">
                  <a:pos x="1209" y="147"/>
                </a:cxn>
                <a:cxn ang="0">
                  <a:pos x="1192" y="123"/>
                </a:cxn>
                <a:cxn ang="0">
                  <a:pos x="1163" y="103"/>
                </a:cxn>
                <a:cxn ang="0">
                  <a:pos x="1129" y="91"/>
                </a:cxn>
                <a:cxn ang="0">
                  <a:pos x="1105" y="89"/>
                </a:cxn>
                <a:cxn ang="0">
                  <a:pos x="1060" y="94"/>
                </a:cxn>
                <a:cxn ang="0">
                  <a:pos x="1029" y="107"/>
                </a:cxn>
                <a:cxn ang="0">
                  <a:pos x="1013" y="111"/>
                </a:cxn>
                <a:cxn ang="0">
                  <a:pos x="996" y="105"/>
                </a:cxn>
                <a:cxn ang="0">
                  <a:pos x="962" y="82"/>
                </a:cxn>
                <a:cxn ang="0">
                  <a:pos x="904" y="58"/>
                </a:cxn>
                <a:cxn ang="0">
                  <a:pos x="735" y="54"/>
                </a:cxn>
                <a:cxn ang="0">
                  <a:pos x="563" y="43"/>
                </a:cxn>
                <a:cxn ang="0">
                  <a:pos x="238" y="16"/>
                </a:cxn>
              </a:cxnLst>
              <a:rect l="0" t="0" r="r" b="b"/>
              <a:pathLst>
                <a:path w="1450" h="731">
                  <a:moveTo>
                    <a:pt x="49" y="0"/>
                  </a:moveTo>
                  <a:lnTo>
                    <a:pt x="47" y="13"/>
                  </a:lnTo>
                  <a:lnTo>
                    <a:pt x="46" y="33"/>
                  </a:lnTo>
                  <a:lnTo>
                    <a:pt x="40" y="87"/>
                  </a:lnTo>
                  <a:lnTo>
                    <a:pt x="26" y="230"/>
                  </a:lnTo>
                  <a:lnTo>
                    <a:pt x="0" y="448"/>
                  </a:lnTo>
                  <a:lnTo>
                    <a:pt x="15" y="450"/>
                  </a:lnTo>
                  <a:lnTo>
                    <a:pt x="164" y="461"/>
                  </a:lnTo>
                  <a:lnTo>
                    <a:pt x="258" y="466"/>
                  </a:lnTo>
                  <a:lnTo>
                    <a:pt x="300" y="468"/>
                  </a:lnTo>
                  <a:lnTo>
                    <a:pt x="336" y="470"/>
                  </a:lnTo>
                  <a:lnTo>
                    <a:pt x="334" y="512"/>
                  </a:lnTo>
                  <a:lnTo>
                    <a:pt x="334" y="562"/>
                  </a:lnTo>
                  <a:lnTo>
                    <a:pt x="332" y="620"/>
                  </a:lnTo>
                  <a:lnTo>
                    <a:pt x="330" y="653"/>
                  </a:lnTo>
                  <a:lnTo>
                    <a:pt x="329" y="686"/>
                  </a:lnTo>
                  <a:lnTo>
                    <a:pt x="467" y="695"/>
                  </a:lnTo>
                  <a:lnTo>
                    <a:pt x="604" y="704"/>
                  </a:lnTo>
                  <a:lnTo>
                    <a:pt x="741" y="711"/>
                  </a:lnTo>
                  <a:lnTo>
                    <a:pt x="875" y="718"/>
                  </a:lnTo>
                  <a:lnTo>
                    <a:pt x="1002" y="724"/>
                  </a:lnTo>
                  <a:lnTo>
                    <a:pt x="1120" y="728"/>
                  </a:lnTo>
                  <a:lnTo>
                    <a:pt x="1231" y="729"/>
                  </a:lnTo>
                  <a:lnTo>
                    <a:pt x="1327" y="731"/>
                  </a:lnTo>
                  <a:lnTo>
                    <a:pt x="1383" y="729"/>
                  </a:lnTo>
                  <a:lnTo>
                    <a:pt x="1410" y="729"/>
                  </a:lnTo>
                  <a:lnTo>
                    <a:pt x="1434" y="729"/>
                  </a:lnTo>
                  <a:lnTo>
                    <a:pt x="1437" y="729"/>
                  </a:lnTo>
                  <a:lnTo>
                    <a:pt x="1450" y="729"/>
                  </a:lnTo>
                  <a:lnTo>
                    <a:pt x="1446" y="724"/>
                  </a:lnTo>
                  <a:lnTo>
                    <a:pt x="1443" y="718"/>
                  </a:lnTo>
                  <a:lnTo>
                    <a:pt x="1443" y="715"/>
                  </a:lnTo>
                  <a:lnTo>
                    <a:pt x="1441" y="711"/>
                  </a:lnTo>
                  <a:lnTo>
                    <a:pt x="1439" y="702"/>
                  </a:lnTo>
                  <a:lnTo>
                    <a:pt x="1437" y="697"/>
                  </a:lnTo>
                  <a:lnTo>
                    <a:pt x="1436" y="691"/>
                  </a:lnTo>
                  <a:lnTo>
                    <a:pt x="1430" y="686"/>
                  </a:lnTo>
                  <a:lnTo>
                    <a:pt x="1426" y="680"/>
                  </a:lnTo>
                  <a:lnTo>
                    <a:pt x="1416" y="671"/>
                  </a:lnTo>
                  <a:lnTo>
                    <a:pt x="1405" y="662"/>
                  </a:lnTo>
                  <a:lnTo>
                    <a:pt x="1401" y="657"/>
                  </a:lnTo>
                  <a:lnTo>
                    <a:pt x="1397" y="650"/>
                  </a:lnTo>
                  <a:lnTo>
                    <a:pt x="1394" y="642"/>
                  </a:lnTo>
                  <a:lnTo>
                    <a:pt x="1392" y="633"/>
                  </a:lnTo>
                  <a:lnTo>
                    <a:pt x="1390" y="626"/>
                  </a:lnTo>
                  <a:lnTo>
                    <a:pt x="1388" y="617"/>
                  </a:lnTo>
                  <a:lnTo>
                    <a:pt x="1390" y="608"/>
                  </a:lnTo>
                  <a:lnTo>
                    <a:pt x="1392" y="599"/>
                  </a:lnTo>
                  <a:lnTo>
                    <a:pt x="1381" y="595"/>
                  </a:lnTo>
                  <a:lnTo>
                    <a:pt x="1377" y="591"/>
                  </a:lnTo>
                  <a:lnTo>
                    <a:pt x="1372" y="590"/>
                  </a:lnTo>
                  <a:lnTo>
                    <a:pt x="1367" y="582"/>
                  </a:lnTo>
                  <a:lnTo>
                    <a:pt x="1365" y="577"/>
                  </a:lnTo>
                  <a:lnTo>
                    <a:pt x="1363" y="573"/>
                  </a:lnTo>
                  <a:lnTo>
                    <a:pt x="1359" y="550"/>
                  </a:lnTo>
                  <a:lnTo>
                    <a:pt x="1356" y="537"/>
                  </a:lnTo>
                  <a:lnTo>
                    <a:pt x="1354" y="524"/>
                  </a:lnTo>
                  <a:lnTo>
                    <a:pt x="1354" y="522"/>
                  </a:lnTo>
                  <a:lnTo>
                    <a:pt x="1356" y="513"/>
                  </a:lnTo>
                  <a:lnTo>
                    <a:pt x="1358" y="504"/>
                  </a:lnTo>
                  <a:lnTo>
                    <a:pt x="1359" y="495"/>
                  </a:lnTo>
                  <a:lnTo>
                    <a:pt x="1361" y="486"/>
                  </a:lnTo>
                  <a:lnTo>
                    <a:pt x="1361" y="479"/>
                  </a:lnTo>
                  <a:lnTo>
                    <a:pt x="1358" y="468"/>
                  </a:lnTo>
                  <a:lnTo>
                    <a:pt x="1354" y="459"/>
                  </a:lnTo>
                  <a:lnTo>
                    <a:pt x="1350" y="448"/>
                  </a:lnTo>
                  <a:lnTo>
                    <a:pt x="1347" y="437"/>
                  </a:lnTo>
                  <a:lnTo>
                    <a:pt x="1345" y="428"/>
                  </a:lnTo>
                  <a:lnTo>
                    <a:pt x="1341" y="421"/>
                  </a:lnTo>
                  <a:lnTo>
                    <a:pt x="1334" y="405"/>
                  </a:lnTo>
                  <a:lnTo>
                    <a:pt x="1330" y="397"/>
                  </a:lnTo>
                  <a:lnTo>
                    <a:pt x="1327" y="390"/>
                  </a:lnTo>
                  <a:lnTo>
                    <a:pt x="1325" y="383"/>
                  </a:lnTo>
                  <a:lnTo>
                    <a:pt x="1323" y="374"/>
                  </a:lnTo>
                  <a:lnTo>
                    <a:pt x="1323" y="368"/>
                  </a:lnTo>
                  <a:lnTo>
                    <a:pt x="1323" y="352"/>
                  </a:lnTo>
                  <a:lnTo>
                    <a:pt x="1323" y="337"/>
                  </a:lnTo>
                  <a:lnTo>
                    <a:pt x="1321" y="325"/>
                  </a:lnTo>
                  <a:lnTo>
                    <a:pt x="1319" y="317"/>
                  </a:lnTo>
                  <a:lnTo>
                    <a:pt x="1318" y="310"/>
                  </a:lnTo>
                  <a:lnTo>
                    <a:pt x="1314" y="303"/>
                  </a:lnTo>
                  <a:lnTo>
                    <a:pt x="1310" y="296"/>
                  </a:lnTo>
                  <a:lnTo>
                    <a:pt x="1301" y="283"/>
                  </a:lnTo>
                  <a:lnTo>
                    <a:pt x="1292" y="268"/>
                  </a:lnTo>
                  <a:lnTo>
                    <a:pt x="1283" y="254"/>
                  </a:lnTo>
                  <a:lnTo>
                    <a:pt x="1280" y="245"/>
                  </a:lnTo>
                  <a:lnTo>
                    <a:pt x="1278" y="238"/>
                  </a:lnTo>
                  <a:lnTo>
                    <a:pt x="1278" y="227"/>
                  </a:lnTo>
                  <a:lnTo>
                    <a:pt x="1278" y="207"/>
                  </a:lnTo>
                  <a:lnTo>
                    <a:pt x="1278" y="201"/>
                  </a:lnTo>
                  <a:lnTo>
                    <a:pt x="1276" y="194"/>
                  </a:lnTo>
                  <a:lnTo>
                    <a:pt x="1274" y="187"/>
                  </a:lnTo>
                  <a:lnTo>
                    <a:pt x="1270" y="183"/>
                  </a:lnTo>
                  <a:lnTo>
                    <a:pt x="1269" y="178"/>
                  </a:lnTo>
                  <a:lnTo>
                    <a:pt x="1265" y="178"/>
                  </a:lnTo>
                  <a:lnTo>
                    <a:pt x="1260" y="176"/>
                  </a:lnTo>
                  <a:lnTo>
                    <a:pt x="1245" y="170"/>
                  </a:lnTo>
                  <a:lnTo>
                    <a:pt x="1232" y="165"/>
                  </a:lnTo>
                  <a:lnTo>
                    <a:pt x="1223" y="161"/>
                  </a:lnTo>
                  <a:lnTo>
                    <a:pt x="1218" y="156"/>
                  </a:lnTo>
                  <a:lnTo>
                    <a:pt x="1214" y="152"/>
                  </a:lnTo>
                  <a:lnTo>
                    <a:pt x="1209" y="147"/>
                  </a:lnTo>
                  <a:lnTo>
                    <a:pt x="1207" y="143"/>
                  </a:lnTo>
                  <a:lnTo>
                    <a:pt x="1200" y="134"/>
                  </a:lnTo>
                  <a:lnTo>
                    <a:pt x="1192" y="123"/>
                  </a:lnTo>
                  <a:lnTo>
                    <a:pt x="1185" y="116"/>
                  </a:lnTo>
                  <a:lnTo>
                    <a:pt x="1174" y="109"/>
                  </a:lnTo>
                  <a:lnTo>
                    <a:pt x="1163" y="103"/>
                  </a:lnTo>
                  <a:lnTo>
                    <a:pt x="1152" y="98"/>
                  </a:lnTo>
                  <a:lnTo>
                    <a:pt x="1142" y="94"/>
                  </a:lnTo>
                  <a:lnTo>
                    <a:pt x="1129" y="91"/>
                  </a:lnTo>
                  <a:lnTo>
                    <a:pt x="1118" y="89"/>
                  </a:lnTo>
                  <a:lnTo>
                    <a:pt x="1109" y="89"/>
                  </a:lnTo>
                  <a:lnTo>
                    <a:pt x="1105" y="89"/>
                  </a:lnTo>
                  <a:lnTo>
                    <a:pt x="1094" y="89"/>
                  </a:lnTo>
                  <a:lnTo>
                    <a:pt x="1082" y="91"/>
                  </a:lnTo>
                  <a:lnTo>
                    <a:pt x="1060" y="94"/>
                  </a:lnTo>
                  <a:lnTo>
                    <a:pt x="1051" y="98"/>
                  </a:lnTo>
                  <a:lnTo>
                    <a:pt x="1040" y="103"/>
                  </a:lnTo>
                  <a:lnTo>
                    <a:pt x="1029" y="107"/>
                  </a:lnTo>
                  <a:lnTo>
                    <a:pt x="1020" y="111"/>
                  </a:lnTo>
                  <a:lnTo>
                    <a:pt x="1018" y="111"/>
                  </a:lnTo>
                  <a:lnTo>
                    <a:pt x="1013" y="111"/>
                  </a:lnTo>
                  <a:lnTo>
                    <a:pt x="1007" y="109"/>
                  </a:lnTo>
                  <a:lnTo>
                    <a:pt x="1002" y="107"/>
                  </a:lnTo>
                  <a:lnTo>
                    <a:pt x="996" y="105"/>
                  </a:lnTo>
                  <a:lnTo>
                    <a:pt x="986" y="98"/>
                  </a:lnTo>
                  <a:lnTo>
                    <a:pt x="973" y="91"/>
                  </a:lnTo>
                  <a:lnTo>
                    <a:pt x="962" y="82"/>
                  </a:lnTo>
                  <a:lnTo>
                    <a:pt x="953" y="72"/>
                  </a:lnTo>
                  <a:lnTo>
                    <a:pt x="937" y="56"/>
                  </a:lnTo>
                  <a:lnTo>
                    <a:pt x="904" y="58"/>
                  </a:lnTo>
                  <a:lnTo>
                    <a:pt x="848" y="56"/>
                  </a:lnTo>
                  <a:lnTo>
                    <a:pt x="791" y="56"/>
                  </a:lnTo>
                  <a:lnTo>
                    <a:pt x="735" y="54"/>
                  </a:lnTo>
                  <a:lnTo>
                    <a:pt x="677" y="51"/>
                  </a:lnTo>
                  <a:lnTo>
                    <a:pt x="621" y="47"/>
                  </a:lnTo>
                  <a:lnTo>
                    <a:pt x="563" y="43"/>
                  </a:lnTo>
                  <a:lnTo>
                    <a:pt x="452" y="36"/>
                  </a:lnTo>
                  <a:lnTo>
                    <a:pt x="343" y="27"/>
                  </a:lnTo>
                  <a:lnTo>
                    <a:pt x="238" y="16"/>
                  </a:lnTo>
                  <a:lnTo>
                    <a:pt x="49" y="0"/>
                  </a:lnTo>
                  <a:close/>
                </a:path>
              </a:pathLst>
            </a:custGeom>
            <a:solidFill>
              <a:srgbClr val="FFE600"/>
            </a:solidFill>
            <a:ln w="6350" cap="flat" cmpd="sng" algn="ctr">
              <a:solidFill>
                <a:srgbClr val="2E2E38"/>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646464"/>
                </a:solidFill>
                <a:effectLst/>
                <a:uLnTx/>
                <a:uFillTx/>
                <a:cs typeface="Times New Roman" panose="02020603050405020304" pitchFamily="18" charset="0"/>
              </a:endParaRPr>
            </a:p>
          </p:txBody>
        </p:sp>
        <p:sp>
          <p:nvSpPr>
            <p:cNvPr id="27" name="Line 51">
              <a:extLst>
                <a:ext uri="{FF2B5EF4-FFF2-40B4-BE49-F238E27FC236}">
                  <a16:creationId xmlns:a16="http://schemas.microsoft.com/office/drawing/2014/main" id="{827CF5D0-FF2D-4F48-820C-9F237B7971CA}"/>
                </a:ext>
              </a:extLst>
            </p:cNvPr>
            <p:cNvSpPr>
              <a:spLocks noChangeShapeType="1"/>
            </p:cNvSpPr>
            <p:nvPr/>
          </p:nvSpPr>
          <p:spPr bwMode="auto">
            <a:xfrm>
              <a:off x="4897719" y="4479773"/>
              <a:ext cx="915" cy="894"/>
            </a:xfrm>
            <a:prstGeom prst="line">
              <a:avLst/>
            </a:prstGeom>
            <a:noFill/>
            <a:ln w="3175">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646464"/>
                </a:solidFill>
                <a:effectLst/>
                <a:uLnTx/>
                <a:uFillTx/>
                <a:cs typeface="Times New Roman" panose="02020603050405020304" pitchFamily="18" charset="0"/>
              </a:endParaRPr>
            </a:p>
          </p:txBody>
        </p:sp>
        <p:sp>
          <p:nvSpPr>
            <p:cNvPr id="28" name="Freeform 52">
              <a:extLst>
                <a:ext uri="{FF2B5EF4-FFF2-40B4-BE49-F238E27FC236}">
                  <a16:creationId xmlns:a16="http://schemas.microsoft.com/office/drawing/2014/main" id="{8ACC07CB-12F7-2F7F-78BE-D7F606216353}"/>
                </a:ext>
              </a:extLst>
            </p:cNvPr>
            <p:cNvSpPr>
              <a:spLocks/>
            </p:cNvSpPr>
            <p:nvPr/>
          </p:nvSpPr>
          <p:spPr bwMode="auto">
            <a:xfrm>
              <a:off x="5397735" y="4976430"/>
              <a:ext cx="685005" cy="230050"/>
            </a:xfrm>
            <a:custGeom>
              <a:avLst/>
              <a:gdLst/>
              <a:ahLst/>
              <a:cxnLst>
                <a:cxn ang="0">
                  <a:pos x="1241" y="30"/>
                </a:cxn>
                <a:cxn ang="0">
                  <a:pos x="971" y="66"/>
                </a:cxn>
                <a:cxn ang="0">
                  <a:pos x="893" y="75"/>
                </a:cxn>
                <a:cxn ang="0">
                  <a:pos x="514" y="109"/>
                </a:cxn>
                <a:cxn ang="0">
                  <a:pos x="372" y="108"/>
                </a:cxn>
                <a:cxn ang="0">
                  <a:pos x="374" y="151"/>
                </a:cxn>
                <a:cxn ang="0">
                  <a:pos x="341" y="153"/>
                </a:cxn>
                <a:cxn ang="0">
                  <a:pos x="260" y="151"/>
                </a:cxn>
                <a:cxn ang="0">
                  <a:pos x="167" y="162"/>
                </a:cxn>
                <a:cxn ang="0">
                  <a:pos x="122" y="193"/>
                </a:cxn>
                <a:cxn ang="0">
                  <a:pos x="109" y="218"/>
                </a:cxn>
                <a:cxn ang="0">
                  <a:pos x="113" y="229"/>
                </a:cxn>
                <a:cxn ang="0">
                  <a:pos x="115" y="242"/>
                </a:cxn>
                <a:cxn ang="0">
                  <a:pos x="107" y="247"/>
                </a:cxn>
                <a:cxn ang="0">
                  <a:pos x="100" y="253"/>
                </a:cxn>
                <a:cxn ang="0">
                  <a:pos x="89" y="282"/>
                </a:cxn>
                <a:cxn ang="0">
                  <a:pos x="93" y="294"/>
                </a:cxn>
                <a:cxn ang="0">
                  <a:pos x="86" y="305"/>
                </a:cxn>
                <a:cxn ang="0">
                  <a:pos x="66" y="329"/>
                </a:cxn>
                <a:cxn ang="0">
                  <a:pos x="60" y="345"/>
                </a:cxn>
                <a:cxn ang="0">
                  <a:pos x="55" y="378"/>
                </a:cxn>
                <a:cxn ang="0">
                  <a:pos x="38" y="402"/>
                </a:cxn>
                <a:cxn ang="0">
                  <a:pos x="29" y="420"/>
                </a:cxn>
                <a:cxn ang="0">
                  <a:pos x="26" y="436"/>
                </a:cxn>
                <a:cxn ang="0">
                  <a:pos x="27" y="465"/>
                </a:cxn>
                <a:cxn ang="0">
                  <a:pos x="17" y="483"/>
                </a:cxn>
                <a:cxn ang="0">
                  <a:pos x="0" y="505"/>
                </a:cxn>
                <a:cxn ang="0">
                  <a:pos x="2" y="516"/>
                </a:cxn>
                <a:cxn ang="0">
                  <a:pos x="379" y="483"/>
                </a:cxn>
                <a:cxn ang="0">
                  <a:pos x="722" y="456"/>
                </a:cxn>
                <a:cxn ang="0">
                  <a:pos x="842" y="445"/>
                </a:cxn>
                <a:cxn ang="0">
                  <a:pos x="1073" y="385"/>
                </a:cxn>
                <a:cxn ang="0">
                  <a:pos x="1076" y="363"/>
                </a:cxn>
                <a:cxn ang="0">
                  <a:pos x="1087" y="354"/>
                </a:cxn>
                <a:cxn ang="0">
                  <a:pos x="1107" y="343"/>
                </a:cxn>
                <a:cxn ang="0">
                  <a:pos x="1125" y="318"/>
                </a:cxn>
                <a:cxn ang="0">
                  <a:pos x="1151" y="285"/>
                </a:cxn>
                <a:cxn ang="0">
                  <a:pos x="1178" y="269"/>
                </a:cxn>
                <a:cxn ang="0">
                  <a:pos x="1218" y="253"/>
                </a:cxn>
                <a:cxn ang="0">
                  <a:pos x="1245" y="229"/>
                </a:cxn>
                <a:cxn ang="0">
                  <a:pos x="1270" y="198"/>
                </a:cxn>
                <a:cxn ang="0">
                  <a:pos x="1292" y="175"/>
                </a:cxn>
                <a:cxn ang="0">
                  <a:pos x="1325" y="157"/>
                </a:cxn>
                <a:cxn ang="0">
                  <a:pos x="1358" y="147"/>
                </a:cxn>
                <a:cxn ang="0">
                  <a:pos x="1367" y="151"/>
                </a:cxn>
                <a:cxn ang="0">
                  <a:pos x="1374" y="149"/>
                </a:cxn>
                <a:cxn ang="0">
                  <a:pos x="1387" y="137"/>
                </a:cxn>
                <a:cxn ang="0">
                  <a:pos x="1401" y="115"/>
                </a:cxn>
                <a:cxn ang="0">
                  <a:pos x="1414" y="109"/>
                </a:cxn>
                <a:cxn ang="0">
                  <a:pos x="1427" y="113"/>
                </a:cxn>
                <a:cxn ang="0">
                  <a:pos x="1439" y="109"/>
                </a:cxn>
                <a:cxn ang="0">
                  <a:pos x="1450" y="91"/>
                </a:cxn>
                <a:cxn ang="0">
                  <a:pos x="1459" y="71"/>
                </a:cxn>
                <a:cxn ang="0">
                  <a:pos x="1476" y="62"/>
                </a:cxn>
                <a:cxn ang="0">
                  <a:pos x="1486" y="53"/>
                </a:cxn>
                <a:cxn ang="0">
                  <a:pos x="1492" y="33"/>
                </a:cxn>
              </a:cxnLst>
              <a:rect l="0" t="0" r="r" b="b"/>
              <a:pathLst>
                <a:path w="1495" h="516">
                  <a:moveTo>
                    <a:pt x="1495" y="0"/>
                  </a:moveTo>
                  <a:lnTo>
                    <a:pt x="1318" y="19"/>
                  </a:lnTo>
                  <a:lnTo>
                    <a:pt x="1241" y="30"/>
                  </a:lnTo>
                  <a:lnTo>
                    <a:pt x="1147" y="42"/>
                  </a:lnTo>
                  <a:lnTo>
                    <a:pt x="1002" y="62"/>
                  </a:lnTo>
                  <a:lnTo>
                    <a:pt x="971" y="66"/>
                  </a:lnTo>
                  <a:lnTo>
                    <a:pt x="940" y="69"/>
                  </a:lnTo>
                  <a:lnTo>
                    <a:pt x="915" y="73"/>
                  </a:lnTo>
                  <a:lnTo>
                    <a:pt x="893" y="75"/>
                  </a:lnTo>
                  <a:lnTo>
                    <a:pt x="800" y="82"/>
                  </a:lnTo>
                  <a:lnTo>
                    <a:pt x="659" y="97"/>
                  </a:lnTo>
                  <a:lnTo>
                    <a:pt x="514" y="109"/>
                  </a:lnTo>
                  <a:lnTo>
                    <a:pt x="412" y="118"/>
                  </a:lnTo>
                  <a:lnTo>
                    <a:pt x="410" y="109"/>
                  </a:lnTo>
                  <a:lnTo>
                    <a:pt x="372" y="108"/>
                  </a:lnTo>
                  <a:lnTo>
                    <a:pt x="376" y="122"/>
                  </a:lnTo>
                  <a:lnTo>
                    <a:pt x="383" y="147"/>
                  </a:lnTo>
                  <a:lnTo>
                    <a:pt x="374" y="151"/>
                  </a:lnTo>
                  <a:lnTo>
                    <a:pt x="363" y="153"/>
                  </a:lnTo>
                  <a:lnTo>
                    <a:pt x="352" y="153"/>
                  </a:lnTo>
                  <a:lnTo>
                    <a:pt x="341" y="153"/>
                  </a:lnTo>
                  <a:lnTo>
                    <a:pt x="303" y="151"/>
                  </a:lnTo>
                  <a:lnTo>
                    <a:pt x="269" y="151"/>
                  </a:lnTo>
                  <a:lnTo>
                    <a:pt x="260" y="151"/>
                  </a:lnTo>
                  <a:lnTo>
                    <a:pt x="229" y="153"/>
                  </a:lnTo>
                  <a:lnTo>
                    <a:pt x="198" y="157"/>
                  </a:lnTo>
                  <a:lnTo>
                    <a:pt x="167" y="162"/>
                  </a:lnTo>
                  <a:lnTo>
                    <a:pt x="151" y="166"/>
                  </a:lnTo>
                  <a:lnTo>
                    <a:pt x="136" y="171"/>
                  </a:lnTo>
                  <a:lnTo>
                    <a:pt x="122" y="193"/>
                  </a:lnTo>
                  <a:lnTo>
                    <a:pt x="113" y="207"/>
                  </a:lnTo>
                  <a:lnTo>
                    <a:pt x="111" y="213"/>
                  </a:lnTo>
                  <a:lnTo>
                    <a:pt x="109" y="218"/>
                  </a:lnTo>
                  <a:lnTo>
                    <a:pt x="109" y="220"/>
                  </a:lnTo>
                  <a:lnTo>
                    <a:pt x="109" y="224"/>
                  </a:lnTo>
                  <a:lnTo>
                    <a:pt x="113" y="229"/>
                  </a:lnTo>
                  <a:lnTo>
                    <a:pt x="115" y="233"/>
                  </a:lnTo>
                  <a:lnTo>
                    <a:pt x="115" y="238"/>
                  </a:lnTo>
                  <a:lnTo>
                    <a:pt x="115" y="242"/>
                  </a:lnTo>
                  <a:lnTo>
                    <a:pt x="113" y="244"/>
                  </a:lnTo>
                  <a:lnTo>
                    <a:pt x="111" y="245"/>
                  </a:lnTo>
                  <a:lnTo>
                    <a:pt x="107" y="247"/>
                  </a:lnTo>
                  <a:lnTo>
                    <a:pt x="102" y="249"/>
                  </a:lnTo>
                  <a:lnTo>
                    <a:pt x="100" y="251"/>
                  </a:lnTo>
                  <a:lnTo>
                    <a:pt x="100" y="253"/>
                  </a:lnTo>
                  <a:lnTo>
                    <a:pt x="93" y="267"/>
                  </a:lnTo>
                  <a:lnTo>
                    <a:pt x="91" y="275"/>
                  </a:lnTo>
                  <a:lnTo>
                    <a:pt x="89" y="282"/>
                  </a:lnTo>
                  <a:lnTo>
                    <a:pt x="91" y="285"/>
                  </a:lnTo>
                  <a:lnTo>
                    <a:pt x="93" y="291"/>
                  </a:lnTo>
                  <a:lnTo>
                    <a:pt x="93" y="294"/>
                  </a:lnTo>
                  <a:lnTo>
                    <a:pt x="91" y="296"/>
                  </a:lnTo>
                  <a:lnTo>
                    <a:pt x="89" y="300"/>
                  </a:lnTo>
                  <a:lnTo>
                    <a:pt x="86" y="305"/>
                  </a:lnTo>
                  <a:lnTo>
                    <a:pt x="78" y="314"/>
                  </a:lnTo>
                  <a:lnTo>
                    <a:pt x="69" y="324"/>
                  </a:lnTo>
                  <a:lnTo>
                    <a:pt x="66" y="329"/>
                  </a:lnTo>
                  <a:lnTo>
                    <a:pt x="64" y="331"/>
                  </a:lnTo>
                  <a:lnTo>
                    <a:pt x="62" y="334"/>
                  </a:lnTo>
                  <a:lnTo>
                    <a:pt x="60" y="345"/>
                  </a:lnTo>
                  <a:lnTo>
                    <a:pt x="58" y="356"/>
                  </a:lnTo>
                  <a:lnTo>
                    <a:pt x="58" y="367"/>
                  </a:lnTo>
                  <a:lnTo>
                    <a:pt x="55" y="378"/>
                  </a:lnTo>
                  <a:lnTo>
                    <a:pt x="51" y="385"/>
                  </a:lnTo>
                  <a:lnTo>
                    <a:pt x="46" y="391"/>
                  </a:lnTo>
                  <a:lnTo>
                    <a:pt x="38" y="402"/>
                  </a:lnTo>
                  <a:lnTo>
                    <a:pt x="35" y="407"/>
                  </a:lnTo>
                  <a:lnTo>
                    <a:pt x="31" y="412"/>
                  </a:lnTo>
                  <a:lnTo>
                    <a:pt x="29" y="420"/>
                  </a:lnTo>
                  <a:lnTo>
                    <a:pt x="27" y="423"/>
                  </a:lnTo>
                  <a:lnTo>
                    <a:pt x="27" y="429"/>
                  </a:lnTo>
                  <a:lnTo>
                    <a:pt x="26" y="436"/>
                  </a:lnTo>
                  <a:lnTo>
                    <a:pt x="27" y="445"/>
                  </a:lnTo>
                  <a:lnTo>
                    <a:pt x="27" y="456"/>
                  </a:lnTo>
                  <a:lnTo>
                    <a:pt x="27" y="465"/>
                  </a:lnTo>
                  <a:lnTo>
                    <a:pt x="26" y="469"/>
                  </a:lnTo>
                  <a:lnTo>
                    <a:pt x="24" y="474"/>
                  </a:lnTo>
                  <a:lnTo>
                    <a:pt x="17" y="483"/>
                  </a:lnTo>
                  <a:lnTo>
                    <a:pt x="9" y="492"/>
                  </a:lnTo>
                  <a:lnTo>
                    <a:pt x="2" y="500"/>
                  </a:lnTo>
                  <a:lnTo>
                    <a:pt x="0" y="505"/>
                  </a:lnTo>
                  <a:lnTo>
                    <a:pt x="0" y="509"/>
                  </a:lnTo>
                  <a:lnTo>
                    <a:pt x="0" y="512"/>
                  </a:lnTo>
                  <a:lnTo>
                    <a:pt x="2" y="516"/>
                  </a:lnTo>
                  <a:lnTo>
                    <a:pt x="56" y="510"/>
                  </a:lnTo>
                  <a:lnTo>
                    <a:pt x="145" y="503"/>
                  </a:lnTo>
                  <a:lnTo>
                    <a:pt x="379" y="483"/>
                  </a:lnTo>
                  <a:lnTo>
                    <a:pt x="526" y="471"/>
                  </a:lnTo>
                  <a:lnTo>
                    <a:pt x="663" y="461"/>
                  </a:lnTo>
                  <a:lnTo>
                    <a:pt x="722" y="456"/>
                  </a:lnTo>
                  <a:lnTo>
                    <a:pt x="773" y="452"/>
                  </a:lnTo>
                  <a:lnTo>
                    <a:pt x="815" y="449"/>
                  </a:lnTo>
                  <a:lnTo>
                    <a:pt x="842" y="445"/>
                  </a:lnTo>
                  <a:lnTo>
                    <a:pt x="944" y="431"/>
                  </a:lnTo>
                  <a:lnTo>
                    <a:pt x="1074" y="414"/>
                  </a:lnTo>
                  <a:lnTo>
                    <a:pt x="1073" y="385"/>
                  </a:lnTo>
                  <a:lnTo>
                    <a:pt x="1074" y="374"/>
                  </a:lnTo>
                  <a:lnTo>
                    <a:pt x="1074" y="369"/>
                  </a:lnTo>
                  <a:lnTo>
                    <a:pt x="1076" y="363"/>
                  </a:lnTo>
                  <a:lnTo>
                    <a:pt x="1080" y="360"/>
                  </a:lnTo>
                  <a:lnTo>
                    <a:pt x="1084" y="356"/>
                  </a:lnTo>
                  <a:lnTo>
                    <a:pt x="1087" y="354"/>
                  </a:lnTo>
                  <a:lnTo>
                    <a:pt x="1098" y="349"/>
                  </a:lnTo>
                  <a:lnTo>
                    <a:pt x="1104" y="345"/>
                  </a:lnTo>
                  <a:lnTo>
                    <a:pt x="1107" y="343"/>
                  </a:lnTo>
                  <a:lnTo>
                    <a:pt x="1114" y="336"/>
                  </a:lnTo>
                  <a:lnTo>
                    <a:pt x="1120" y="327"/>
                  </a:lnTo>
                  <a:lnTo>
                    <a:pt x="1125" y="318"/>
                  </a:lnTo>
                  <a:lnTo>
                    <a:pt x="1136" y="302"/>
                  </a:lnTo>
                  <a:lnTo>
                    <a:pt x="1143" y="293"/>
                  </a:lnTo>
                  <a:lnTo>
                    <a:pt x="1151" y="285"/>
                  </a:lnTo>
                  <a:lnTo>
                    <a:pt x="1160" y="278"/>
                  </a:lnTo>
                  <a:lnTo>
                    <a:pt x="1169" y="273"/>
                  </a:lnTo>
                  <a:lnTo>
                    <a:pt x="1178" y="269"/>
                  </a:lnTo>
                  <a:lnTo>
                    <a:pt x="1189" y="265"/>
                  </a:lnTo>
                  <a:lnTo>
                    <a:pt x="1209" y="256"/>
                  </a:lnTo>
                  <a:lnTo>
                    <a:pt x="1218" y="253"/>
                  </a:lnTo>
                  <a:lnTo>
                    <a:pt x="1227" y="247"/>
                  </a:lnTo>
                  <a:lnTo>
                    <a:pt x="1236" y="238"/>
                  </a:lnTo>
                  <a:lnTo>
                    <a:pt x="1245" y="229"/>
                  </a:lnTo>
                  <a:lnTo>
                    <a:pt x="1254" y="218"/>
                  </a:lnTo>
                  <a:lnTo>
                    <a:pt x="1261" y="207"/>
                  </a:lnTo>
                  <a:lnTo>
                    <a:pt x="1270" y="198"/>
                  </a:lnTo>
                  <a:lnTo>
                    <a:pt x="1278" y="187"/>
                  </a:lnTo>
                  <a:lnTo>
                    <a:pt x="1287" y="178"/>
                  </a:lnTo>
                  <a:lnTo>
                    <a:pt x="1292" y="175"/>
                  </a:lnTo>
                  <a:lnTo>
                    <a:pt x="1296" y="171"/>
                  </a:lnTo>
                  <a:lnTo>
                    <a:pt x="1310" y="164"/>
                  </a:lnTo>
                  <a:lnTo>
                    <a:pt x="1325" y="157"/>
                  </a:lnTo>
                  <a:lnTo>
                    <a:pt x="1341" y="151"/>
                  </a:lnTo>
                  <a:lnTo>
                    <a:pt x="1354" y="149"/>
                  </a:lnTo>
                  <a:lnTo>
                    <a:pt x="1358" y="147"/>
                  </a:lnTo>
                  <a:lnTo>
                    <a:pt x="1361" y="149"/>
                  </a:lnTo>
                  <a:lnTo>
                    <a:pt x="1365" y="149"/>
                  </a:lnTo>
                  <a:lnTo>
                    <a:pt x="1367" y="151"/>
                  </a:lnTo>
                  <a:lnTo>
                    <a:pt x="1368" y="151"/>
                  </a:lnTo>
                  <a:lnTo>
                    <a:pt x="1372" y="151"/>
                  </a:lnTo>
                  <a:lnTo>
                    <a:pt x="1374" y="149"/>
                  </a:lnTo>
                  <a:lnTo>
                    <a:pt x="1378" y="146"/>
                  </a:lnTo>
                  <a:lnTo>
                    <a:pt x="1383" y="142"/>
                  </a:lnTo>
                  <a:lnTo>
                    <a:pt x="1387" y="137"/>
                  </a:lnTo>
                  <a:lnTo>
                    <a:pt x="1390" y="133"/>
                  </a:lnTo>
                  <a:lnTo>
                    <a:pt x="1396" y="124"/>
                  </a:lnTo>
                  <a:lnTo>
                    <a:pt x="1401" y="115"/>
                  </a:lnTo>
                  <a:lnTo>
                    <a:pt x="1405" y="113"/>
                  </a:lnTo>
                  <a:lnTo>
                    <a:pt x="1410" y="109"/>
                  </a:lnTo>
                  <a:lnTo>
                    <a:pt x="1414" y="109"/>
                  </a:lnTo>
                  <a:lnTo>
                    <a:pt x="1419" y="109"/>
                  </a:lnTo>
                  <a:lnTo>
                    <a:pt x="1423" y="111"/>
                  </a:lnTo>
                  <a:lnTo>
                    <a:pt x="1427" y="113"/>
                  </a:lnTo>
                  <a:lnTo>
                    <a:pt x="1430" y="113"/>
                  </a:lnTo>
                  <a:lnTo>
                    <a:pt x="1434" y="113"/>
                  </a:lnTo>
                  <a:lnTo>
                    <a:pt x="1439" y="109"/>
                  </a:lnTo>
                  <a:lnTo>
                    <a:pt x="1443" y="108"/>
                  </a:lnTo>
                  <a:lnTo>
                    <a:pt x="1445" y="102"/>
                  </a:lnTo>
                  <a:lnTo>
                    <a:pt x="1450" y="91"/>
                  </a:lnTo>
                  <a:lnTo>
                    <a:pt x="1454" y="80"/>
                  </a:lnTo>
                  <a:lnTo>
                    <a:pt x="1457" y="75"/>
                  </a:lnTo>
                  <a:lnTo>
                    <a:pt x="1459" y="71"/>
                  </a:lnTo>
                  <a:lnTo>
                    <a:pt x="1463" y="68"/>
                  </a:lnTo>
                  <a:lnTo>
                    <a:pt x="1466" y="66"/>
                  </a:lnTo>
                  <a:lnTo>
                    <a:pt x="1476" y="62"/>
                  </a:lnTo>
                  <a:lnTo>
                    <a:pt x="1479" y="59"/>
                  </a:lnTo>
                  <a:lnTo>
                    <a:pt x="1485" y="57"/>
                  </a:lnTo>
                  <a:lnTo>
                    <a:pt x="1486" y="53"/>
                  </a:lnTo>
                  <a:lnTo>
                    <a:pt x="1490" y="48"/>
                  </a:lnTo>
                  <a:lnTo>
                    <a:pt x="1492" y="40"/>
                  </a:lnTo>
                  <a:lnTo>
                    <a:pt x="1492" y="33"/>
                  </a:lnTo>
                  <a:lnTo>
                    <a:pt x="1494" y="13"/>
                  </a:lnTo>
                  <a:lnTo>
                    <a:pt x="1495" y="0"/>
                  </a:lnTo>
                  <a:close/>
                </a:path>
              </a:pathLst>
            </a:custGeom>
            <a:solidFill>
              <a:srgbClr val="FFE600"/>
            </a:solidFill>
            <a:ln w="6350" cap="flat" cmpd="sng" algn="ctr">
              <a:solidFill>
                <a:srgbClr val="2E2E38"/>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646464"/>
                </a:solidFill>
                <a:effectLst/>
                <a:uLnTx/>
                <a:uFillTx/>
                <a:cs typeface="Times New Roman" panose="02020603050405020304" pitchFamily="18" charset="0"/>
              </a:endParaRPr>
            </a:p>
          </p:txBody>
        </p:sp>
        <p:sp>
          <p:nvSpPr>
            <p:cNvPr id="29" name="Line 54">
              <a:extLst>
                <a:ext uri="{FF2B5EF4-FFF2-40B4-BE49-F238E27FC236}">
                  <a16:creationId xmlns:a16="http://schemas.microsoft.com/office/drawing/2014/main" id="{7798028A-6AD1-E0BC-229A-A14EA1A4235B}"/>
                </a:ext>
              </a:extLst>
            </p:cNvPr>
            <p:cNvSpPr>
              <a:spLocks noChangeShapeType="1"/>
            </p:cNvSpPr>
            <p:nvPr/>
          </p:nvSpPr>
          <p:spPr bwMode="auto">
            <a:xfrm>
              <a:off x="5445355" y="5101263"/>
              <a:ext cx="915" cy="894"/>
            </a:xfrm>
            <a:prstGeom prst="line">
              <a:avLst/>
            </a:prstGeom>
            <a:noFill/>
            <a:ln w="3175">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646464"/>
                </a:solidFill>
                <a:effectLst/>
                <a:uLnTx/>
                <a:uFillTx/>
                <a:cs typeface="Times New Roman" panose="02020603050405020304" pitchFamily="18" charset="0"/>
              </a:endParaRPr>
            </a:p>
          </p:txBody>
        </p:sp>
        <p:sp>
          <p:nvSpPr>
            <p:cNvPr id="30" name="Freeform 55">
              <a:extLst>
                <a:ext uri="{FF2B5EF4-FFF2-40B4-BE49-F238E27FC236}">
                  <a16:creationId xmlns:a16="http://schemas.microsoft.com/office/drawing/2014/main" id="{39D975DD-1368-5250-BF25-C6E0414B532E}"/>
                </a:ext>
              </a:extLst>
            </p:cNvPr>
            <p:cNvSpPr>
              <a:spLocks/>
            </p:cNvSpPr>
            <p:nvPr/>
          </p:nvSpPr>
          <p:spPr bwMode="auto">
            <a:xfrm>
              <a:off x="4364732" y="4999613"/>
              <a:ext cx="692331" cy="353099"/>
            </a:xfrm>
            <a:custGeom>
              <a:avLst/>
              <a:gdLst/>
              <a:ahLst/>
              <a:cxnLst>
                <a:cxn ang="0">
                  <a:pos x="0" y="107"/>
                </a:cxn>
                <a:cxn ang="0">
                  <a:pos x="519" y="567"/>
                </a:cxn>
                <a:cxn ang="0">
                  <a:pos x="553" y="596"/>
                </a:cxn>
                <a:cxn ang="0">
                  <a:pos x="578" y="610"/>
                </a:cxn>
                <a:cxn ang="0">
                  <a:pos x="606" y="606"/>
                </a:cxn>
                <a:cxn ang="0">
                  <a:pos x="631" y="605"/>
                </a:cxn>
                <a:cxn ang="0">
                  <a:pos x="644" y="612"/>
                </a:cxn>
                <a:cxn ang="0">
                  <a:pos x="651" y="623"/>
                </a:cxn>
                <a:cxn ang="0">
                  <a:pos x="653" y="641"/>
                </a:cxn>
                <a:cxn ang="0">
                  <a:pos x="666" y="650"/>
                </a:cxn>
                <a:cxn ang="0">
                  <a:pos x="693" y="657"/>
                </a:cxn>
                <a:cxn ang="0">
                  <a:pos x="733" y="672"/>
                </a:cxn>
                <a:cxn ang="0">
                  <a:pos x="774" y="679"/>
                </a:cxn>
                <a:cxn ang="0">
                  <a:pos x="814" y="675"/>
                </a:cxn>
                <a:cxn ang="0">
                  <a:pos x="842" y="683"/>
                </a:cxn>
                <a:cxn ang="0">
                  <a:pos x="853" y="695"/>
                </a:cxn>
                <a:cxn ang="0">
                  <a:pos x="869" y="715"/>
                </a:cxn>
                <a:cxn ang="0">
                  <a:pos x="885" y="726"/>
                </a:cxn>
                <a:cxn ang="0">
                  <a:pos x="914" y="726"/>
                </a:cxn>
                <a:cxn ang="0">
                  <a:pos x="945" y="726"/>
                </a:cxn>
                <a:cxn ang="0">
                  <a:pos x="970" y="737"/>
                </a:cxn>
                <a:cxn ang="0">
                  <a:pos x="1001" y="741"/>
                </a:cxn>
                <a:cxn ang="0">
                  <a:pos x="1047" y="732"/>
                </a:cxn>
                <a:cxn ang="0">
                  <a:pos x="1094" y="730"/>
                </a:cxn>
                <a:cxn ang="0">
                  <a:pos x="1139" y="744"/>
                </a:cxn>
                <a:cxn ang="0">
                  <a:pos x="1176" y="764"/>
                </a:cxn>
                <a:cxn ang="0">
                  <a:pos x="1192" y="762"/>
                </a:cxn>
                <a:cxn ang="0">
                  <a:pos x="1230" y="743"/>
                </a:cxn>
                <a:cxn ang="0">
                  <a:pos x="1254" y="733"/>
                </a:cxn>
                <a:cxn ang="0">
                  <a:pos x="1299" y="735"/>
                </a:cxn>
                <a:cxn ang="0">
                  <a:pos x="1335" y="730"/>
                </a:cxn>
                <a:cxn ang="0">
                  <a:pos x="1381" y="728"/>
                </a:cxn>
                <a:cxn ang="0">
                  <a:pos x="1397" y="735"/>
                </a:cxn>
                <a:cxn ang="0">
                  <a:pos x="1413" y="744"/>
                </a:cxn>
                <a:cxn ang="0">
                  <a:pos x="1439" y="755"/>
                </a:cxn>
                <a:cxn ang="0">
                  <a:pos x="1469" y="779"/>
                </a:cxn>
                <a:cxn ang="0">
                  <a:pos x="1493" y="792"/>
                </a:cxn>
                <a:cxn ang="0">
                  <a:pos x="1509" y="790"/>
                </a:cxn>
                <a:cxn ang="0">
                  <a:pos x="1477" y="38"/>
                </a:cxn>
                <a:cxn ang="0">
                  <a:pos x="1293" y="44"/>
                </a:cxn>
                <a:cxn ang="0">
                  <a:pos x="965" y="42"/>
                </a:cxn>
                <a:cxn ang="0">
                  <a:pos x="557" y="29"/>
                </a:cxn>
                <a:cxn ang="0">
                  <a:pos x="176" y="8"/>
                </a:cxn>
              </a:cxnLst>
              <a:rect l="0" t="0" r="r" b="b"/>
              <a:pathLst>
                <a:path w="1511" h="793">
                  <a:moveTo>
                    <a:pt x="9" y="0"/>
                  </a:moveTo>
                  <a:lnTo>
                    <a:pt x="0" y="102"/>
                  </a:lnTo>
                  <a:lnTo>
                    <a:pt x="0" y="107"/>
                  </a:lnTo>
                  <a:lnTo>
                    <a:pt x="524" y="136"/>
                  </a:lnTo>
                  <a:lnTo>
                    <a:pt x="510" y="565"/>
                  </a:lnTo>
                  <a:lnTo>
                    <a:pt x="519" y="567"/>
                  </a:lnTo>
                  <a:lnTo>
                    <a:pt x="526" y="572"/>
                  </a:lnTo>
                  <a:lnTo>
                    <a:pt x="537" y="583"/>
                  </a:lnTo>
                  <a:lnTo>
                    <a:pt x="553" y="596"/>
                  </a:lnTo>
                  <a:lnTo>
                    <a:pt x="560" y="601"/>
                  </a:lnTo>
                  <a:lnTo>
                    <a:pt x="569" y="606"/>
                  </a:lnTo>
                  <a:lnTo>
                    <a:pt x="578" y="610"/>
                  </a:lnTo>
                  <a:lnTo>
                    <a:pt x="588" y="610"/>
                  </a:lnTo>
                  <a:lnTo>
                    <a:pt x="597" y="610"/>
                  </a:lnTo>
                  <a:lnTo>
                    <a:pt x="606" y="606"/>
                  </a:lnTo>
                  <a:lnTo>
                    <a:pt x="613" y="605"/>
                  </a:lnTo>
                  <a:lnTo>
                    <a:pt x="620" y="605"/>
                  </a:lnTo>
                  <a:lnTo>
                    <a:pt x="631" y="605"/>
                  </a:lnTo>
                  <a:lnTo>
                    <a:pt x="635" y="606"/>
                  </a:lnTo>
                  <a:lnTo>
                    <a:pt x="638" y="608"/>
                  </a:lnTo>
                  <a:lnTo>
                    <a:pt x="644" y="612"/>
                  </a:lnTo>
                  <a:lnTo>
                    <a:pt x="647" y="615"/>
                  </a:lnTo>
                  <a:lnTo>
                    <a:pt x="649" y="619"/>
                  </a:lnTo>
                  <a:lnTo>
                    <a:pt x="651" y="623"/>
                  </a:lnTo>
                  <a:lnTo>
                    <a:pt x="653" y="628"/>
                  </a:lnTo>
                  <a:lnTo>
                    <a:pt x="651" y="637"/>
                  </a:lnTo>
                  <a:lnTo>
                    <a:pt x="653" y="641"/>
                  </a:lnTo>
                  <a:lnTo>
                    <a:pt x="655" y="646"/>
                  </a:lnTo>
                  <a:lnTo>
                    <a:pt x="660" y="648"/>
                  </a:lnTo>
                  <a:lnTo>
                    <a:pt x="666" y="650"/>
                  </a:lnTo>
                  <a:lnTo>
                    <a:pt x="678" y="654"/>
                  </a:lnTo>
                  <a:lnTo>
                    <a:pt x="686" y="654"/>
                  </a:lnTo>
                  <a:lnTo>
                    <a:pt x="693" y="657"/>
                  </a:lnTo>
                  <a:lnTo>
                    <a:pt x="706" y="663"/>
                  </a:lnTo>
                  <a:lnTo>
                    <a:pt x="720" y="668"/>
                  </a:lnTo>
                  <a:lnTo>
                    <a:pt x="733" y="672"/>
                  </a:lnTo>
                  <a:lnTo>
                    <a:pt x="744" y="675"/>
                  </a:lnTo>
                  <a:lnTo>
                    <a:pt x="755" y="677"/>
                  </a:lnTo>
                  <a:lnTo>
                    <a:pt x="774" y="679"/>
                  </a:lnTo>
                  <a:lnTo>
                    <a:pt x="785" y="677"/>
                  </a:lnTo>
                  <a:lnTo>
                    <a:pt x="800" y="675"/>
                  </a:lnTo>
                  <a:lnTo>
                    <a:pt x="814" y="675"/>
                  </a:lnTo>
                  <a:lnTo>
                    <a:pt x="825" y="675"/>
                  </a:lnTo>
                  <a:lnTo>
                    <a:pt x="836" y="679"/>
                  </a:lnTo>
                  <a:lnTo>
                    <a:pt x="842" y="683"/>
                  </a:lnTo>
                  <a:lnTo>
                    <a:pt x="845" y="686"/>
                  </a:lnTo>
                  <a:lnTo>
                    <a:pt x="849" y="690"/>
                  </a:lnTo>
                  <a:lnTo>
                    <a:pt x="853" y="695"/>
                  </a:lnTo>
                  <a:lnTo>
                    <a:pt x="860" y="706"/>
                  </a:lnTo>
                  <a:lnTo>
                    <a:pt x="863" y="712"/>
                  </a:lnTo>
                  <a:lnTo>
                    <a:pt x="869" y="715"/>
                  </a:lnTo>
                  <a:lnTo>
                    <a:pt x="874" y="721"/>
                  </a:lnTo>
                  <a:lnTo>
                    <a:pt x="880" y="724"/>
                  </a:lnTo>
                  <a:lnTo>
                    <a:pt x="885" y="726"/>
                  </a:lnTo>
                  <a:lnTo>
                    <a:pt x="892" y="728"/>
                  </a:lnTo>
                  <a:lnTo>
                    <a:pt x="896" y="728"/>
                  </a:lnTo>
                  <a:lnTo>
                    <a:pt x="914" y="726"/>
                  </a:lnTo>
                  <a:lnTo>
                    <a:pt x="931" y="724"/>
                  </a:lnTo>
                  <a:lnTo>
                    <a:pt x="940" y="726"/>
                  </a:lnTo>
                  <a:lnTo>
                    <a:pt x="945" y="726"/>
                  </a:lnTo>
                  <a:lnTo>
                    <a:pt x="950" y="730"/>
                  </a:lnTo>
                  <a:lnTo>
                    <a:pt x="961" y="733"/>
                  </a:lnTo>
                  <a:lnTo>
                    <a:pt x="970" y="737"/>
                  </a:lnTo>
                  <a:lnTo>
                    <a:pt x="980" y="741"/>
                  </a:lnTo>
                  <a:lnTo>
                    <a:pt x="990" y="741"/>
                  </a:lnTo>
                  <a:lnTo>
                    <a:pt x="1001" y="741"/>
                  </a:lnTo>
                  <a:lnTo>
                    <a:pt x="1018" y="739"/>
                  </a:lnTo>
                  <a:lnTo>
                    <a:pt x="1032" y="735"/>
                  </a:lnTo>
                  <a:lnTo>
                    <a:pt x="1047" y="732"/>
                  </a:lnTo>
                  <a:lnTo>
                    <a:pt x="1063" y="730"/>
                  </a:lnTo>
                  <a:lnTo>
                    <a:pt x="1079" y="730"/>
                  </a:lnTo>
                  <a:lnTo>
                    <a:pt x="1094" y="730"/>
                  </a:lnTo>
                  <a:lnTo>
                    <a:pt x="1110" y="733"/>
                  </a:lnTo>
                  <a:lnTo>
                    <a:pt x="1125" y="739"/>
                  </a:lnTo>
                  <a:lnTo>
                    <a:pt x="1139" y="744"/>
                  </a:lnTo>
                  <a:lnTo>
                    <a:pt x="1159" y="757"/>
                  </a:lnTo>
                  <a:lnTo>
                    <a:pt x="1170" y="762"/>
                  </a:lnTo>
                  <a:lnTo>
                    <a:pt x="1176" y="764"/>
                  </a:lnTo>
                  <a:lnTo>
                    <a:pt x="1181" y="764"/>
                  </a:lnTo>
                  <a:lnTo>
                    <a:pt x="1185" y="764"/>
                  </a:lnTo>
                  <a:lnTo>
                    <a:pt x="1192" y="762"/>
                  </a:lnTo>
                  <a:lnTo>
                    <a:pt x="1199" y="759"/>
                  </a:lnTo>
                  <a:lnTo>
                    <a:pt x="1214" y="752"/>
                  </a:lnTo>
                  <a:lnTo>
                    <a:pt x="1230" y="743"/>
                  </a:lnTo>
                  <a:lnTo>
                    <a:pt x="1244" y="737"/>
                  </a:lnTo>
                  <a:lnTo>
                    <a:pt x="1248" y="735"/>
                  </a:lnTo>
                  <a:lnTo>
                    <a:pt x="1254" y="733"/>
                  </a:lnTo>
                  <a:lnTo>
                    <a:pt x="1266" y="733"/>
                  </a:lnTo>
                  <a:lnTo>
                    <a:pt x="1283" y="733"/>
                  </a:lnTo>
                  <a:lnTo>
                    <a:pt x="1299" y="735"/>
                  </a:lnTo>
                  <a:lnTo>
                    <a:pt x="1303" y="735"/>
                  </a:lnTo>
                  <a:lnTo>
                    <a:pt x="1319" y="733"/>
                  </a:lnTo>
                  <a:lnTo>
                    <a:pt x="1335" y="730"/>
                  </a:lnTo>
                  <a:lnTo>
                    <a:pt x="1352" y="728"/>
                  </a:lnTo>
                  <a:lnTo>
                    <a:pt x="1366" y="728"/>
                  </a:lnTo>
                  <a:lnTo>
                    <a:pt x="1381" y="728"/>
                  </a:lnTo>
                  <a:lnTo>
                    <a:pt x="1386" y="730"/>
                  </a:lnTo>
                  <a:lnTo>
                    <a:pt x="1391" y="732"/>
                  </a:lnTo>
                  <a:lnTo>
                    <a:pt x="1397" y="735"/>
                  </a:lnTo>
                  <a:lnTo>
                    <a:pt x="1404" y="741"/>
                  </a:lnTo>
                  <a:lnTo>
                    <a:pt x="1408" y="743"/>
                  </a:lnTo>
                  <a:lnTo>
                    <a:pt x="1413" y="744"/>
                  </a:lnTo>
                  <a:lnTo>
                    <a:pt x="1420" y="746"/>
                  </a:lnTo>
                  <a:lnTo>
                    <a:pt x="1426" y="748"/>
                  </a:lnTo>
                  <a:lnTo>
                    <a:pt x="1439" y="755"/>
                  </a:lnTo>
                  <a:lnTo>
                    <a:pt x="1450" y="764"/>
                  </a:lnTo>
                  <a:lnTo>
                    <a:pt x="1462" y="772"/>
                  </a:lnTo>
                  <a:lnTo>
                    <a:pt x="1469" y="779"/>
                  </a:lnTo>
                  <a:lnTo>
                    <a:pt x="1479" y="786"/>
                  </a:lnTo>
                  <a:lnTo>
                    <a:pt x="1488" y="790"/>
                  </a:lnTo>
                  <a:lnTo>
                    <a:pt x="1493" y="792"/>
                  </a:lnTo>
                  <a:lnTo>
                    <a:pt x="1499" y="793"/>
                  </a:lnTo>
                  <a:lnTo>
                    <a:pt x="1504" y="792"/>
                  </a:lnTo>
                  <a:lnTo>
                    <a:pt x="1509" y="790"/>
                  </a:lnTo>
                  <a:lnTo>
                    <a:pt x="1511" y="387"/>
                  </a:lnTo>
                  <a:lnTo>
                    <a:pt x="1479" y="151"/>
                  </a:lnTo>
                  <a:lnTo>
                    <a:pt x="1477" y="38"/>
                  </a:lnTo>
                  <a:lnTo>
                    <a:pt x="1430" y="40"/>
                  </a:lnTo>
                  <a:lnTo>
                    <a:pt x="1366" y="42"/>
                  </a:lnTo>
                  <a:lnTo>
                    <a:pt x="1293" y="44"/>
                  </a:lnTo>
                  <a:lnTo>
                    <a:pt x="1208" y="44"/>
                  </a:lnTo>
                  <a:lnTo>
                    <a:pt x="1092" y="44"/>
                  </a:lnTo>
                  <a:lnTo>
                    <a:pt x="965" y="42"/>
                  </a:lnTo>
                  <a:lnTo>
                    <a:pt x="831" y="38"/>
                  </a:lnTo>
                  <a:lnTo>
                    <a:pt x="693" y="35"/>
                  </a:lnTo>
                  <a:lnTo>
                    <a:pt x="557" y="29"/>
                  </a:lnTo>
                  <a:lnTo>
                    <a:pt x="422" y="24"/>
                  </a:lnTo>
                  <a:lnTo>
                    <a:pt x="294" y="17"/>
                  </a:lnTo>
                  <a:lnTo>
                    <a:pt x="176" y="8"/>
                  </a:lnTo>
                  <a:lnTo>
                    <a:pt x="9" y="0"/>
                  </a:lnTo>
                  <a:close/>
                </a:path>
              </a:pathLst>
            </a:custGeom>
            <a:solidFill>
              <a:srgbClr val="FFE600"/>
            </a:solidFill>
            <a:ln w="6350" cap="flat" cmpd="sng" algn="ctr">
              <a:solidFill>
                <a:srgbClr val="2E2E38"/>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646464"/>
                </a:solidFill>
                <a:effectLst/>
                <a:uLnTx/>
                <a:uFillTx/>
                <a:cs typeface="Times New Roman" panose="02020603050405020304" pitchFamily="18" charset="0"/>
              </a:endParaRPr>
            </a:p>
          </p:txBody>
        </p:sp>
        <p:sp>
          <p:nvSpPr>
            <p:cNvPr id="31" name="Freeform 57">
              <a:extLst>
                <a:ext uri="{FF2B5EF4-FFF2-40B4-BE49-F238E27FC236}">
                  <a16:creationId xmlns:a16="http://schemas.microsoft.com/office/drawing/2014/main" id="{69D9227F-313A-A109-8F43-2CB2DE5F8556}"/>
                </a:ext>
              </a:extLst>
            </p:cNvPr>
            <p:cNvSpPr>
              <a:spLocks/>
            </p:cNvSpPr>
            <p:nvPr/>
          </p:nvSpPr>
          <p:spPr bwMode="auto">
            <a:xfrm>
              <a:off x="3888526" y="4551998"/>
              <a:ext cx="582437" cy="450290"/>
            </a:xfrm>
            <a:custGeom>
              <a:avLst/>
              <a:gdLst/>
              <a:ahLst/>
              <a:cxnLst>
                <a:cxn ang="0">
                  <a:pos x="120" y="0"/>
                </a:cxn>
                <a:cxn ang="0">
                  <a:pos x="118" y="16"/>
                </a:cxn>
                <a:cxn ang="0">
                  <a:pos x="114" y="40"/>
                </a:cxn>
                <a:cxn ang="0">
                  <a:pos x="100" y="150"/>
                </a:cxn>
                <a:cxn ang="0">
                  <a:pos x="67" y="408"/>
                </a:cxn>
                <a:cxn ang="0">
                  <a:pos x="0" y="885"/>
                </a:cxn>
                <a:cxn ang="0">
                  <a:pos x="13" y="887"/>
                </a:cxn>
                <a:cxn ang="0">
                  <a:pos x="227" y="914"/>
                </a:cxn>
                <a:cxn ang="0">
                  <a:pos x="368" y="933"/>
                </a:cxn>
                <a:cxn ang="0">
                  <a:pos x="486" y="947"/>
                </a:cxn>
                <a:cxn ang="0">
                  <a:pos x="822" y="980"/>
                </a:cxn>
                <a:cxn ang="0">
                  <a:pos x="1051" y="1003"/>
                </a:cxn>
                <a:cxn ang="0">
                  <a:pos x="1203" y="1011"/>
                </a:cxn>
                <a:cxn ang="0">
                  <a:pos x="1218" y="1011"/>
                </a:cxn>
                <a:cxn ang="0">
                  <a:pos x="1219" y="963"/>
                </a:cxn>
                <a:cxn ang="0">
                  <a:pos x="1225" y="898"/>
                </a:cxn>
                <a:cxn ang="0">
                  <a:pos x="1238" y="726"/>
                </a:cxn>
                <a:cxn ang="0">
                  <a:pos x="1252" y="526"/>
                </a:cxn>
                <a:cxn ang="0">
                  <a:pos x="1267" y="332"/>
                </a:cxn>
                <a:cxn ang="0">
                  <a:pos x="1268" y="272"/>
                </a:cxn>
                <a:cxn ang="0">
                  <a:pos x="1272" y="217"/>
                </a:cxn>
                <a:cxn ang="0">
                  <a:pos x="1274" y="129"/>
                </a:cxn>
                <a:cxn ang="0">
                  <a:pos x="1274" y="116"/>
                </a:cxn>
                <a:cxn ang="0">
                  <a:pos x="1187" y="112"/>
                </a:cxn>
                <a:cxn ang="0">
                  <a:pos x="1136" y="109"/>
                </a:cxn>
                <a:cxn ang="0">
                  <a:pos x="1083" y="105"/>
                </a:cxn>
                <a:cxn ang="0">
                  <a:pos x="993" y="98"/>
                </a:cxn>
                <a:cxn ang="0">
                  <a:pos x="938" y="94"/>
                </a:cxn>
                <a:cxn ang="0">
                  <a:pos x="778" y="74"/>
                </a:cxn>
                <a:cxn ang="0">
                  <a:pos x="664" y="61"/>
                </a:cxn>
                <a:cxn ang="0">
                  <a:pos x="612" y="56"/>
                </a:cxn>
                <a:cxn ang="0">
                  <a:pos x="568" y="52"/>
                </a:cxn>
                <a:cxn ang="0">
                  <a:pos x="512" y="47"/>
                </a:cxn>
                <a:cxn ang="0">
                  <a:pos x="448" y="41"/>
                </a:cxn>
                <a:cxn ang="0">
                  <a:pos x="314" y="25"/>
                </a:cxn>
                <a:cxn ang="0">
                  <a:pos x="196" y="9"/>
                </a:cxn>
                <a:cxn ang="0">
                  <a:pos x="120" y="0"/>
                </a:cxn>
              </a:cxnLst>
              <a:rect l="0" t="0" r="r" b="b"/>
              <a:pathLst>
                <a:path w="1274" h="1011">
                  <a:moveTo>
                    <a:pt x="120" y="0"/>
                  </a:moveTo>
                  <a:lnTo>
                    <a:pt x="118" y="16"/>
                  </a:lnTo>
                  <a:lnTo>
                    <a:pt x="114" y="40"/>
                  </a:lnTo>
                  <a:lnTo>
                    <a:pt x="100" y="150"/>
                  </a:lnTo>
                  <a:lnTo>
                    <a:pt x="67" y="408"/>
                  </a:lnTo>
                  <a:lnTo>
                    <a:pt x="0" y="885"/>
                  </a:lnTo>
                  <a:lnTo>
                    <a:pt x="13" y="887"/>
                  </a:lnTo>
                  <a:lnTo>
                    <a:pt x="227" y="914"/>
                  </a:lnTo>
                  <a:lnTo>
                    <a:pt x="368" y="933"/>
                  </a:lnTo>
                  <a:lnTo>
                    <a:pt x="486" y="947"/>
                  </a:lnTo>
                  <a:lnTo>
                    <a:pt x="822" y="980"/>
                  </a:lnTo>
                  <a:lnTo>
                    <a:pt x="1051" y="1003"/>
                  </a:lnTo>
                  <a:lnTo>
                    <a:pt x="1203" y="1011"/>
                  </a:lnTo>
                  <a:lnTo>
                    <a:pt x="1218" y="1011"/>
                  </a:lnTo>
                  <a:lnTo>
                    <a:pt x="1219" y="963"/>
                  </a:lnTo>
                  <a:lnTo>
                    <a:pt x="1225" y="898"/>
                  </a:lnTo>
                  <a:lnTo>
                    <a:pt x="1238" y="726"/>
                  </a:lnTo>
                  <a:lnTo>
                    <a:pt x="1252" y="526"/>
                  </a:lnTo>
                  <a:lnTo>
                    <a:pt x="1267" y="332"/>
                  </a:lnTo>
                  <a:lnTo>
                    <a:pt x="1268" y="272"/>
                  </a:lnTo>
                  <a:lnTo>
                    <a:pt x="1272" y="217"/>
                  </a:lnTo>
                  <a:lnTo>
                    <a:pt x="1274" y="129"/>
                  </a:lnTo>
                  <a:lnTo>
                    <a:pt x="1274" y="116"/>
                  </a:lnTo>
                  <a:lnTo>
                    <a:pt x="1187" y="112"/>
                  </a:lnTo>
                  <a:lnTo>
                    <a:pt x="1136" y="109"/>
                  </a:lnTo>
                  <a:lnTo>
                    <a:pt x="1083" y="105"/>
                  </a:lnTo>
                  <a:lnTo>
                    <a:pt x="993" y="98"/>
                  </a:lnTo>
                  <a:lnTo>
                    <a:pt x="938" y="94"/>
                  </a:lnTo>
                  <a:lnTo>
                    <a:pt x="778" y="74"/>
                  </a:lnTo>
                  <a:lnTo>
                    <a:pt x="664" y="61"/>
                  </a:lnTo>
                  <a:lnTo>
                    <a:pt x="612" y="56"/>
                  </a:lnTo>
                  <a:lnTo>
                    <a:pt x="568" y="52"/>
                  </a:lnTo>
                  <a:lnTo>
                    <a:pt x="512" y="47"/>
                  </a:lnTo>
                  <a:lnTo>
                    <a:pt x="448" y="41"/>
                  </a:lnTo>
                  <a:lnTo>
                    <a:pt x="314" y="25"/>
                  </a:lnTo>
                  <a:lnTo>
                    <a:pt x="196" y="9"/>
                  </a:lnTo>
                  <a:lnTo>
                    <a:pt x="120" y="0"/>
                  </a:lnTo>
                  <a:close/>
                </a:path>
              </a:pathLst>
            </a:custGeom>
            <a:solidFill>
              <a:srgbClr val="FFE600"/>
            </a:solidFill>
            <a:ln w="6350" cap="flat" cmpd="sng" algn="ctr">
              <a:solidFill>
                <a:srgbClr val="2E2E38"/>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646464"/>
                </a:solidFill>
                <a:effectLst/>
                <a:uLnTx/>
                <a:uFillTx/>
                <a:cs typeface="Times New Roman" panose="02020603050405020304" pitchFamily="18" charset="0"/>
              </a:endParaRPr>
            </a:p>
          </p:txBody>
        </p:sp>
        <p:sp>
          <p:nvSpPr>
            <p:cNvPr id="32" name="Freeform 59">
              <a:extLst>
                <a:ext uri="{FF2B5EF4-FFF2-40B4-BE49-F238E27FC236}">
                  <a16:creationId xmlns:a16="http://schemas.microsoft.com/office/drawing/2014/main" id="{06B81696-1303-311F-8CDE-CA51E507CCD9}"/>
                </a:ext>
              </a:extLst>
            </p:cNvPr>
            <p:cNvSpPr>
              <a:spLocks noEditPoints="1"/>
            </p:cNvSpPr>
            <p:nvPr/>
          </p:nvSpPr>
          <p:spPr bwMode="auto">
            <a:xfrm>
              <a:off x="5042413" y="5054896"/>
              <a:ext cx="397449" cy="354880"/>
            </a:xfrm>
            <a:custGeom>
              <a:avLst/>
              <a:gdLst/>
              <a:ahLst/>
              <a:cxnLst>
                <a:cxn ang="0">
                  <a:pos x="635" y="7"/>
                </a:cxn>
                <a:cxn ang="0">
                  <a:pos x="422" y="16"/>
                </a:cxn>
                <a:cxn ang="0">
                  <a:pos x="1" y="39"/>
                </a:cxn>
                <a:cxn ang="0">
                  <a:pos x="30" y="664"/>
                </a:cxn>
                <a:cxn ang="0">
                  <a:pos x="34" y="673"/>
                </a:cxn>
                <a:cxn ang="0">
                  <a:pos x="38" y="676"/>
                </a:cxn>
                <a:cxn ang="0">
                  <a:pos x="49" y="676"/>
                </a:cxn>
                <a:cxn ang="0">
                  <a:pos x="65" y="671"/>
                </a:cxn>
                <a:cxn ang="0">
                  <a:pos x="76" y="673"/>
                </a:cxn>
                <a:cxn ang="0">
                  <a:pos x="103" y="678"/>
                </a:cxn>
                <a:cxn ang="0">
                  <a:pos x="116" y="780"/>
                </a:cxn>
                <a:cxn ang="0">
                  <a:pos x="130" y="794"/>
                </a:cxn>
                <a:cxn ang="0">
                  <a:pos x="635" y="769"/>
                </a:cxn>
                <a:cxn ang="0">
                  <a:pos x="642" y="745"/>
                </a:cxn>
                <a:cxn ang="0">
                  <a:pos x="642" y="725"/>
                </a:cxn>
                <a:cxn ang="0">
                  <a:pos x="640" y="709"/>
                </a:cxn>
                <a:cxn ang="0">
                  <a:pos x="633" y="682"/>
                </a:cxn>
                <a:cxn ang="0">
                  <a:pos x="633" y="656"/>
                </a:cxn>
                <a:cxn ang="0">
                  <a:pos x="640" y="626"/>
                </a:cxn>
                <a:cxn ang="0">
                  <a:pos x="656" y="582"/>
                </a:cxn>
                <a:cxn ang="0">
                  <a:pos x="669" y="548"/>
                </a:cxn>
                <a:cxn ang="0">
                  <a:pos x="680" y="526"/>
                </a:cxn>
                <a:cxn ang="0">
                  <a:pos x="715" y="477"/>
                </a:cxn>
                <a:cxn ang="0">
                  <a:pos x="725" y="459"/>
                </a:cxn>
                <a:cxn ang="0">
                  <a:pos x="736" y="417"/>
                </a:cxn>
                <a:cxn ang="0">
                  <a:pos x="745" y="397"/>
                </a:cxn>
                <a:cxn ang="0">
                  <a:pos x="753" y="382"/>
                </a:cxn>
                <a:cxn ang="0">
                  <a:pos x="771" y="362"/>
                </a:cxn>
                <a:cxn ang="0">
                  <a:pos x="778" y="348"/>
                </a:cxn>
                <a:cxn ang="0">
                  <a:pos x="776" y="335"/>
                </a:cxn>
                <a:cxn ang="0">
                  <a:pos x="776" y="328"/>
                </a:cxn>
                <a:cxn ang="0">
                  <a:pos x="785" y="315"/>
                </a:cxn>
                <a:cxn ang="0">
                  <a:pos x="800" y="297"/>
                </a:cxn>
                <a:cxn ang="0">
                  <a:pos x="803" y="279"/>
                </a:cxn>
                <a:cxn ang="0">
                  <a:pos x="802" y="259"/>
                </a:cxn>
                <a:cxn ang="0">
                  <a:pos x="805" y="243"/>
                </a:cxn>
                <a:cxn ang="0">
                  <a:pos x="811" y="230"/>
                </a:cxn>
                <a:cxn ang="0">
                  <a:pos x="822" y="214"/>
                </a:cxn>
                <a:cxn ang="0">
                  <a:pos x="832" y="196"/>
                </a:cxn>
                <a:cxn ang="0">
                  <a:pos x="834" y="179"/>
                </a:cxn>
                <a:cxn ang="0">
                  <a:pos x="838" y="157"/>
                </a:cxn>
                <a:cxn ang="0">
                  <a:pos x="854" y="137"/>
                </a:cxn>
                <a:cxn ang="0">
                  <a:pos x="865" y="123"/>
                </a:cxn>
                <a:cxn ang="0">
                  <a:pos x="869" y="114"/>
                </a:cxn>
                <a:cxn ang="0">
                  <a:pos x="867" y="108"/>
                </a:cxn>
                <a:cxn ang="0">
                  <a:pos x="843" y="107"/>
                </a:cxn>
                <a:cxn ang="0">
                  <a:pos x="794" y="112"/>
                </a:cxn>
                <a:cxn ang="0">
                  <a:pos x="751" y="112"/>
                </a:cxn>
                <a:cxn ang="0">
                  <a:pos x="754" y="98"/>
                </a:cxn>
                <a:cxn ang="0">
                  <a:pos x="762" y="83"/>
                </a:cxn>
                <a:cxn ang="0">
                  <a:pos x="769" y="79"/>
                </a:cxn>
                <a:cxn ang="0">
                  <a:pos x="776" y="74"/>
                </a:cxn>
                <a:cxn ang="0">
                  <a:pos x="776" y="65"/>
                </a:cxn>
                <a:cxn ang="0">
                  <a:pos x="782" y="54"/>
                </a:cxn>
                <a:cxn ang="0">
                  <a:pos x="791" y="47"/>
                </a:cxn>
                <a:cxn ang="0">
                  <a:pos x="796" y="43"/>
                </a:cxn>
                <a:cxn ang="0">
                  <a:pos x="798" y="36"/>
                </a:cxn>
                <a:cxn ang="0">
                  <a:pos x="794" y="25"/>
                </a:cxn>
                <a:cxn ang="0">
                  <a:pos x="787" y="14"/>
                </a:cxn>
                <a:cxn ang="0">
                  <a:pos x="783" y="7"/>
                </a:cxn>
                <a:cxn ang="0">
                  <a:pos x="783" y="0"/>
                </a:cxn>
                <a:cxn ang="0">
                  <a:pos x="783" y="32"/>
                </a:cxn>
              </a:cxnLst>
              <a:rect l="0" t="0" r="r" b="b"/>
              <a:pathLst>
                <a:path w="869" h="794">
                  <a:moveTo>
                    <a:pt x="783" y="0"/>
                  </a:moveTo>
                  <a:lnTo>
                    <a:pt x="635" y="7"/>
                  </a:lnTo>
                  <a:lnTo>
                    <a:pt x="515" y="12"/>
                  </a:lnTo>
                  <a:lnTo>
                    <a:pt x="422" y="16"/>
                  </a:lnTo>
                  <a:lnTo>
                    <a:pt x="0" y="25"/>
                  </a:lnTo>
                  <a:lnTo>
                    <a:pt x="1" y="39"/>
                  </a:lnTo>
                  <a:lnTo>
                    <a:pt x="32" y="261"/>
                  </a:lnTo>
                  <a:lnTo>
                    <a:pt x="30" y="664"/>
                  </a:lnTo>
                  <a:lnTo>
                    <a:pt x="32" y="671"/>
                  </a:lnTo>
                  <a:lnTo>
                    <a:pt x="34" y="673"/>
                  </a:lnTo>
                  <a:lnTo>
                    <a:pt x="34" y="675"/>
                  </a:lnTo>
                  <a:lnTo>
                    <a:pt x="38" y="676"/>
                  </a:lnTo>
                  <a:lnTo>
                    <a:pt x="43" y="676"/>
                  </a:lnTo>
                  <a:lnTo>
                    <a:pt x="49" y="676"/>
                  </a:lnTo>
                  <a:lnTo>
                    <a:pt x="54" y="675"/>
                  </a:lnTo>
                  <a:lnTo>
                    <a:pt x="65" y="671"/>
                  </a:lnTo>
                  <a:lnTo>
                    <a:pt x="67" y="671"/>
                  </a:lnTo>
                  <a:lnTo>
                    <a:pt x="76" y="673"/>
                  </a:lnTo>
                  <a:lnTo>
                    <a:pt x="90" y="676"/>
                  </a:lnTo>
                  <a:lnTo>
                    <a:pt x="103" y="678"/>
                  </a:lnTo>
                  <a:lnTo>
                    <a:pt x="114" y="682"/>
                  </a:lnTo>
                  <a:lnTo>
                    <a:pt x="116" y="780"/>
                  </a:lnTo>
                  <a:lnTo>
                    <a:pt x="116" y="794"/>
                  </a:lnTo>
                  <a:lnTo>
                    <a:pt x="130" y="794"/>
                  </a:lnTo>
                  <a:lnTo>
                    <a:pt x="633" y="780"/>
                  </a:lnTo>
                  <a:lnTo>
                    <a:pt x="635" y="769"/>
                  </a:lnTo>
                  <a:lnTo>
                    <a:pt x="638" y="756"/>
                  </a:lnTo>
                  <a:lnTo>
                    <a:pt x="642" y="745"/>
                  </a:lnTo>
                  <a:lnTo>
                    <a:pt x="642" y="733"/>
                  </a:lnTo>
                  <a:lnTo>
                    <a:pt x="642" y="725"/>
                  </a:lnTo>
                  <a:lnTo>
                    <a:pt x="642" y="718"/>
                  </a:lnTo>
                  <a:lnTo>
                    <a:pt x="640" y="709"/>
                  </a:lnTo>
                  <a:lnTo>
                    <a:pt x="636" y="695"/>
                  </a:lnTo>
                  <a:lnTo>
                    <a:pt x="633" y="682"/>
                  </a:lnTo>
                  <a:lnTo>
                    <a:pt x="633" y="666"/>
                  </a:lnTo>
                  <a:lnTo>
                    <a:pt x="633" y="656"/>
                  </a:lnTo>
                  <a:lnTo>
                    <a:pt x="635" y="647"/>
                  </a:lnTo>
                  <a:lnTo>
                    <a:pt x="640" y="626"/>
                  </a:lnTo>
                  <a:lnTo>
                    <a:pt x="649" y="604"/>
                  </a:lnTo>
                  <a:lnTo>
                    <a:pt x="656" y="582"/>
                  </a:lnTo>
                  <a:lnTo>
                    <a:pt x="666" y="560"/>
                  </a:lnTo>
                  <a:lnTo>
                    <a:pt x="669" y="548"/>
                  </a:lnTo>
                  <a:lnTo>
                    <a:pt x="675" y="537"/>
                  </a:lnTo>
                  <a:lnTo>
                    <a:pt x="680" y="526"/>
                  </a:lnTo>
                  <a:lnTo>
                    <a:pt x="685" y="517"/>
                  </a:lnTo>
                  <a:lnTo>
                    <a:pt x="715" y="477"/>
                  </a:lnTo>
                  <a:lnTo>
                    <a:pt x="720" y="468"/>
                  </a:lnTo>
                  <a:lnTo>
                    <a:pt x="725" y="459"/>
                  </a:lnTo>
                  <a:lnTo>
                    <a:pt x="731" y="437"/>
                  </a:lnTo>
                  <a:lnTo>
                    <a:pt x="736" y="417"/>
                  </a:lnTo>
                  <a:lnTo>
                    <a:pt x="740" y="406"/>
                  </a:lnTo>
                  <a:lnTo>
                    <a:pt x="745" y="397"/>
                  </a:lnTo>
                  <a:lnTo>
                    <a:pt x="749" y="390"/>
                  </a:lnTo>
                  <a:lnTo>
                    <a:pt x="753" y="382"/>
                  </a:lnTo>
                  <a:lnTo>
                    <a:pt x="765" y="370"/>
                  </a:lnTo>
                  <a:lnTo>
                    <a:pt x="771" y="362"/>
                  </a:lnTo>
                  <a:lnTo>
                    <a:pt x="774" y="355"/>
                  </a:lnTo>
                  <a:lnTo>
                    <a:pt x="778" y="348"/>
                  </a:lnTo>
                  <a:lnTo>
                    <a:pt x="778" y="339"/>
                  </a:lnTo>
                  <a:lnTo>
                    <a:pt x="776" y="335"/>
                  </a:lnTo>
                  <a:lnTo>
                    <a:pt x="776" y="332"/>
                  </a:lnTo>
                  <a:lnTo>
                    <a:pt x="776" y="328"/>
                  </a:lnTo>
                  <a:lnTo>
                    <a:pt x="778" y="323"/>
                  </a:lnTo>
                  <a:lnTo>
                    <a:pt x="785" y="315"/>
                  </a:lnTo>
                  <a:lnTo>
                    <a:pt x="793" y="306"/>
                  </a:lnTo>
                  <a:lnTo>
                    <a:pt x="800" y="297"/>
                  </a:lnTo>
                  <a:lnTo>
                    <a:pt x="803" y="288"/>
                  </a:lnTo>
                  <a:lnTo>
                    <a:pt x="803" y="279"/>
                  </a:lnTo>
                  <a:lnTo>
                    <a:pt x="803" y="268"/>
                  </a:lnTo>
                  <a:lnTo>
                    <a:pt x="802" y="259"/>
                  </a:lnTo>
                  <a:lnTo>
                    <a:pt x="803" y="252"/>
                  </a:lnTo>
                  <a:lnTo>
                    <a:pt x="805" y="243"/>
                  </a:lnTo>
                  <a:lnTo>
                    <a:pt x="807" y="235"/>
                  </a:lnTo>
                  <a:lnTo>
                    <a:pt x="811" y="230"/>
                  </a:lnTo>
                  <a:lnTo>
                    <a:pt x="814" y="225"/>
                  </a:lnTo>
                  <a:lnTo>
                    <a:pt x="822" y="214"/>
                  </a:lnTo>
                  <a:lnTo>
                    <a:pt x="831" y="201"/>
                  </a:lnTo>
                  <a:lnTo>
                    <a:pt x="832" y="196"/>
                  </a:lnTo>
                  <a:lnTo>
                    <a:pt x="834" y="190"/>
                  </a:lnTo>
                  <a:lnTo>
                    <a:pt x="834" y="179"/>
                  </a:lnTo>
                  <a:lnTo>
                    <a:pt x="836" y="168"/>
                  </a:lnTo>
                  <a:lnTo>
                    <a:pt x="838" y="157"/>
                  </a:lnTo>
                  <a:lnTo>
                    <a:pt x="845" y="147"/>
                  </a:lnTo>
                  <a:lnTo>
                    <a:pt x="854" y="137"/>
                  </a:lnTo>
                  <a:lnTo>
                    <a:pt x="862" y="128"/>
                  </a:lnTo>
                  <a:lnTo>
                    <a:pt x="865" y="123"/>
                  </a:lnTo>
                  <a:lnTo>
                    <a:pt x="869" y="117"/>
                  </a:lnTo>
                  <a:lnTo>
                    <a:pt x="869" y="114"/>
                  </a:lnTo>
                  <a:lnTo>
                    <a:pt x="867" y="112"/>
                  </a:lnTo>
                  <a:lnTo>
                    <a:pt x="867" y="108"/>
                  </a:lnTo>
                  <a:lnTo>
                    <a:pt x="865" y="105"/>
                  </a:lnTo>
                  <a:lnTo>
                    <a:pt x="843" y="107"/>
                  </a:lnTo>
                  <a:lnTo>
                    <a:pt x="818" y="110"/>
                  </a:lnTo>
                  <a:lnTo>
                    <a:pt x="794" y="112"/>
                  </a:lnTo>
                  <a:lnTo>
                    <a:pt x="769" y="112"/>
                  </a:lnTo>
                  <a:lnTo>
                    <a:pt x="751" y="112"/>
                  </a:lnTo>
                  <a:lnTo>
                    <a:pt x="753" y="105"/>
                  </a:lnTo>
                  <a:lnTo>
                    <a:pt x="754" y="98"/>
                  </a:lnTo>
                  <a:lnTo>
                    <a:pt x="758" y="88"/>
                  </a:lnTo>
                  <a:lnTo>
                    <a:pt x="762" y="83"/>
                  </a:lnTo>
                  <a:lnTo>
                    <a:pt x="765" y="81"/>
                  </a:lnTo>
                  <a:lnTo>
                    <a:pt x="769" y="79"/>
                  </a:lnTo>
                  <a:lnTo>
                    <a:pt x="773" y="78"/>
                  </a:lnTo>
                  <a:lnTo>
                    <a:pt x="776" y="74"/>
                  </a:lnTo>
                  <a:lnTo>
                    <a:pt x="776" y="70"/>
                  </a:lnTo>
                  <a:lnTo>
                    <a:pt x="776" y="65"/>
                  </a:lnTo>
                  <a:lnTo>
                    <a:pt x="778" y="58"/>
                  </a:lnTo>
                  <a:lnTo>
                    <a:pt x="782" y="54"/>
                  </a:lnTo>
                  <a:lnTo>
                    <a:pt x="785" y="50"/>
                  </a:lnTo>
                  <a:lnTo>
                    <a:pt x="791" y="47"/>
                  </a:lnTo>
                  <a:lnTo>
                    <a:pt x="794" y="45"/>
                  </a:lnTo>
                  <a:lnTo>
                    <a:pt x="796" y="43"/>
                  </a:lnTo>
                  <a:lnTo>
                    <a:pt x="798" y="39"/>
                  </a:lnTo>
                  <a:lnTo>
                    <a:pt x="798" y="36"/>
                  </a:lnTo>
                  <a:lnTo>
                    <a:pt x="798" y="32"/>
                  </a:lnTo>
                  <a:lnTo>
                    <a:pt x="794" y="25"/>
                  </a:lnTo>
                  <a:lnTo>
                    <a:pt x="791" y="18"/>
                  </a:lnTo>
                  <a:lnTo>
                    <a:pt x="787" y="14"/>
                  </a:lnTo>
                  <a:lnTo>
                    <a:pt x="785" y="10"/>
                  </a:lnTo>
                  <a:lnTo>
                    <a:pt x="783" y="7"/>
                  </a:lnTo>
                  <a:lnTo>
                    <a:pt x="783" y="1"/>
                  </a:lnTo>
                  <a:lnTo>
                    <a:pt x="783" y="0"/>
                  </a:lnTo>
                  <a:close/>
                  <a:moveTo>
                    <a:pt x="783" y="34"/>
                  </a:moveTo>
                  <a:lnTo>
                    <a:pt x="783" y="32"/>
                  </a:lnTo>
                  <a:lnTo>
                    <a:pt x="783" y="34"/>
                  </a:lnTo>
                  <a:close/>
                </a:path>
              </a:pathLst>
            </a:custGeom>
            <a:solidFill>
              <a:srgbClr val="FFE600"/>
            </a:solidFill>
            <a:ln w="6350" cap="flat" cmpd="sng" algn="ctr">
              <a:solidFill>
                <a:srgbClr val="2E2E38"/>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646464"/>
                </a:solidFill>
                <a:effectLst/>
                <a:uLnTx/>
                <a:uFillTx/>
                <a:cs typeface="Times New Roman" panose="02020603050405020304" pitchFamily="18" charset="0"/>
              </a:endParaRPr>
            </a:p>
          </p:txBody>
        </p:sp>
        <p:sp>
          <p:nvSpPr>
            <p:cNvPr id="33" name="Line 61">
              <a:extLst>
                <a:ext uri="{FF2B5EF4-FFF2-40B4-BE49-F238E27FC236}">
                  <a16:creationId xmlns:a16="http://schemas.microsoft.com/office/drawing/2014/main" id="{2F305CA2-C751-CE11-4831-3F5DA055B21B}"/>
                </a:ext>
              </a:extLst>
            </p:cNvPr>
            <p:cNvSpPr>
              <a:spLocks noChangeShapeType="1"/>
            </p:cNvSpPr>
            <p:nvPr/>
          </p:nvSpPr>
          <p:spPr bwMode="auto">
            <a:xfrm>
              <a:off x="5401398" y="5070053"/>
              <a:ext cx="915" cy="894"/>
            </a:xfrm>
            <a:prstGeom prst="line">
              <a:avLst/>
            </a:prstGeom>
            <a:noFill/>
            <a:ln w="3175">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646464"/>
                </a:solidFill>
                <a:effectLst/>
                <a:uLnTx/>
                <a:uFillTx/>
                <a:cs typeface="Times New Roman" panose="02020603050405020304" pitchFamily="18" charset="0"/>
              </a:endParaRPr>
            </a:p>
          </p:txBody>
        </p:sp>
        <p:sp>
          <p:nvSpPr>
            <p:cNvPr id="34" name="Freeform 62">
              <a:extLst>
                <a:ext uri="{FF2B5EF4-FFF2-40B4-BE49-F238E27FC236}">
                  <a16:creationId xmlns:a16="http://schemas.microsoft.com/office/drawing/2014/main" id="{7500543E-EEF9-9B3B-156C-C20BA9171B70}"/>
                </a:ext>
              </a:extLst>
            </p:cNvPr>
            <p:cNvSpPr>
              <a:spLocks/>
            </p:cNvSpPr>
            <p:nvPr/>
          </p:nvSpPr>
          <p:spPr bwMode="auto">
            <a:xfrm>
              <a:off x="3492908" y="4394174"/>
              <a:ext cx="449650" cy="552831"/>
            </a:xfrm>
            <a:custGeom>
              <a:avLst/>
              <a:gdLst/>
              <a:ahLst/>
              <a:cxnLst>
                <a:cxn ang="0">
                  <a:pos x="211" y="0"/>
                </a:cxn>
                <a:cxn ang="0">
                  <a:pos x="176" y="172"/>
                </a:cxn>
                <a:cxn ang="0">
                  <a:pos x="147" y="319"/>
                </a:cxn>
                <a:cxn ang="0">
                  <a:pos x="120" y="450"/>
                </a:cxn>
                <a:cxn ang="0">
                  <a:pos x="107" y="517"/>
                </a:cxn>
                <a:cxn ang="0">
                  <a:pos x="89" y="610"/>
                </a:cxn>
                <a:cxn ang="0">
                  <a:pos x="49" y="824"/>
                </a:cxn>
                <a:cxn ang="0">
                  <a:pos x="0" y="1091"/>
                </a:cxn>
                <a:cxn ang="0">
                  <a:pos x="151" y="1120"/>
                </a:cxn>
                <a:cxn ang="0">
                  <a:pos x="287" y="1145"/>
                </a:cxn>
                <a:cxn ang="0">
                  <a:pos x="356" y="1156"/>
                </a:cxn>
                <a:cxn ang="0">
                  <a:pos x="421" y="1165"/>
                </a:cxn>
                <a:cxn ang="0">
                  <a:pos x="537" y="1185"/>
                </a:cxn>
                <a:cxn ang="0">
                  <a:pos x="666" y="1205"/>
                </a:cxn>
                <a:cxn ang="0">
                  <a:pos x="849" y="1238"/>
                </a:cxn>
                <a:cxn ang="0">
                  <a:pos x="864" y="1239"/>
                </a:cxn>
                <a:cxn ang="0">
                  <a:pos x="866" y="1227"/>
                </a:cxn>
                <a:cxn ang="0">
                  <a:pos x="926" y="795"/>
                </a:cxn>
                <a:cxn ang="0">
                  <a:pos x="960" y="542"/>
                </a:cxn>
                <a:cxn ang="0">
                  <a:pos x="975" y="417"/>
                </a:cxn>
                <a:cxn ang="0">
                  <a:pos x="982" y="366"/>
                </a:cxn>
                <a:cxn ang="0">
                  <a:pos x="984" y="354"/>
                </a:cxn>
                <a:cxn ang="0">
                  <a:pos x="902" y="343"/>
                </a:cxn>
                <a:cxn ang="0">
                  <a:pos x="815" y="332"/>
                </a:cxn>
                <a:cxn ang="0">
                  <a:pos x="773" y="325"/>
                </a:cxn>
                <a:cxn ang="0">
                  <a:pos x="733" y="317"/>
                </a:cxn>
                <a:cxn ang="0">
                  <a:pos x="695" y="310"/>
                </a:cxn>
                <a:cxn ang="0">
                  <a:pos x="663" y="301"/>
                </a:cxn>
                <a:cxn ang="0">
                  <a:pos x="673" y="218"/>
                </a:cxn>
                <a:cxn ang="0">
                  <a:pos x="690" y="96"/>
                </a:cxn>
                <a:cxn ang="0">
                  <a:pos x="692" y="83"/>
                </a:cxn>
                <a:cxn ang="0">
                  <a:pos x="679" y="82"/>
                </a:cxn>
                <a:cxn ang="0">
                  <a:pos x="659" y="80"/>
                </a:cxn>
                <a:cxn ang="0">
                  <a:pos x="597" y="69"/>
                </a:cxn>
                <a:cxn ang="0">
                  <a:pos x="519" y="56"/>
                </a:cxn>
                <a:cxn ang="0">
                  <a:pos x="434" y="42"/>
                </a:cxn>
                <a:cxn ang="0">
                  <a:pos x="280" y="13"/>
                </a:cxn>
                <a:cxn ang="0">
                  <a:pos x="211" y="0"/>
                </a:cxn>
              </a:cxnLst>
              <a:rect l="0" t="0" r="r" b="b"/>
              <a:pathLst>
                <a:path w="984" h="1239">
                  <a:moveTo>
                    <a:pt x="211" y="0"/>
                  </a:moveTo>
                  <a:lnTo>
                    <a:pt x="176" y="172"/>
                  </a:lnTo>
                  <a:lnTo>
                    <a:pt x="147" y="319"/>
                  </a:lnTo>
                  <a:lnTo>
                    <a:pt x="120" y="450"/>
                  </a:lnTo>
                  <a:lnTo>
                    <a:pt x="107" y="517"/>
                  </a:lnTo>
                  <a:lnTo>
                    <a:pt x="89" y="610"/>
                  </a:lnTo>
                  <a:lnTo>
                    <a:pt x="49" y="824"/>
                  </a:lnTo>
                  <a:lnTo>
                    <a:pt x="0" y="1091"/>
                  </a:lnTo>
                  <a:lnTo>
                    <a:pt x="151" y="1120"/>
                  </a:lnTo>
                  <a:lnTo>
                    <a:pt x="287" y="1145"/>
                  </a:lnTo>
                  <a:lnTo>
                    <a:pt x="356" y="1156"/>
                  </a:lnTo>
                  <a:lnTo>
                    <a:pt x="421" y="1165"/>
                  </a:lnTo>
                  <a:lnTo>
                    <a:pt x="537" y="1185"/>
                  </a:lnTo>
                  <a:lnTo>
                    <a:pt x="666" y="1205"/>
                  </a:lnTo>
                  <a:lnTo>
                    <a:pt x="849" y="1238"/>
                  </a:lnTo>
                  <a:lnTo>
                    <a:pt x="864" y="1239"/>
                  </a:lnTo>
                  <a:lnTo>
                    <a:pt x="866" y="1227"/>
                  </a:lnTo>
                  <a:lnTo>
                    <a:pt x="926" y="795"/>
                  </a:lnTo>
                  <a:lnTo>
                    <a:pt x="960" y="542"/>
                  </a:lnTo>
                  <a:lnTo>
                    <a:pt x="975" y="417"/>
                  </a:lnTo>
                  <a:lnTo>
                    <a:pt x="982" y="366"/>
                  </a:lnTo>
                  <a:lnTo>
                    <a:pt x="984" y="354"/>
                  </a:lnTo>
                  <a:lnTo>
                    <a:pt x="902" y="343"/>
                  </a:lnTo>
                  <a:lnTo>
                    <a:pt x="815" y="332"/>
                  </a:lnTo>
                  <a:lnTo>
                    <a:pt x="773" y="325"/>
                  </a:lnTo>
                  <a:lnTo>
                    <a:pt x="733" y="317"/>
                  </a:lnTo>
                  <a:lnTo>
                    <a:pt x="695" y="310"/>
                  </a:lnTo>
                  <a:lnTo>
                    <a:pt x="663" y="301"/>
                  </a:lnTo>
                  <a:lnTo>
                    <a:pt x="673" y="218"/>
                  </a:lnTo>
                  <a:lnTo>
                    <a:pt x="690" y="96"/>
                  </a:lnTo>
                  <a:lnTo>
                    <a:pt x="692" y="83"/>
                  </a:lnTo>
                  <a:lnTo>
                    <a:pt x="679" y="82"/>
                  </a:lnTo>
                  <a:lnTo>
                    <a:pt x="659" y="80"/>
                  </a:lnTo>
                  <a:lnTo>
                    <a:pt x="597" y="69"/>
                  </a:lnTo>
                  <a:lnTo>
                    <a:pt x="519" y="56"/>
                  </a:lnTo>
                  <a:lnTo>
                    <a:pt x="434" y="42"/>
                  </a:lnTo>
                  <a:lnTo>
                    <a:pt x="280" y="13"/>
                  </a:lnTo>
                  <a:lnTo>
                    <a:pt x="211" y="0"/>
                  </a:lnTo>
                  <a:close/>
                </a:path>
              </a:pathLst>
            </a:custGeom>
            <a:solidFill>
              <a:srgbClr val="FFE600"/>
            </a:solidFill>
            <a:ln w="6350" cap="flat" cmpd="sng" algn="ctr">
              <a:solidFill>
                <a:srgbClr val="2E2E38"/>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646464"/>
                </a:solidFill>
                <a:effectLst/>
                <a:uLnTx/>
                <a:uFillTx/>
                <a:cs typeface="Times New Roman" panose="02020603050405020304" pitchFamily="18" charset="0"/>
              </a:endParaRPr>
            </a:p>
          </p:txBody>
        </p:sp>
        <p:sp>
          <p:nvSpPr>
            <p:cNvPr id="35" name="Freeform 64">
              <a:extLst>
                <a:ext uri="{FF2B5EF4-FFF2-40B4-BE49-F238E27FC236}">
                  <a16:creationId xmlns:a16="http://schemas.microsoft.com/office/drawing/2014/main" id="{88E8A2CD-F435-7DDD-4D2B-271D8FD205F5}"/>
                </a:ext>
              </a:extLst>
            </p:cNvPr>
            <p:cNvSpPr>
              <a:spLocks/>
            </p:cNvSpPr>
            <p:nvPr/>
          </p:nvSpPr>
          <p:spPr bwMode="auto">
            <a:xfrm>
              <a:off x="3796033" y="4138267"/>
              <a:ext cx="560458" cy="455641"/>
            </a:xfrm>
            <a:custGeom>
              <a:avLst/>
              <a:gdLst/>
              <a:ahLst/>
              <a:cxnLst>
                <a:cxn ang="0">
                  <a:pos x="138" y="0"/>
                </a:cxn>
                <a:cxn ang="0">
                  <a:pos x="116" y="120"/>
                </a:cxn>
                <a:cxn ang="0">
                  <a:pos x="96" y="234"/>
                </a:cxn>
                <a:cxn ang="0">
                  <a:pos x="85" y="293"/>
                </a:cxn>
                <a:cxn ang="0">
                  <a:pos x="76" y="347"/>
                </a:cxn>
                <a:cxn ang="0">
                  <a:pos x="56" y="487"/>
                </a:cxn>
                <a:cxn ang="0">
                  <a:pos x="29" y="657"/>
                </a:cxn>
                <a:cxn ang="0">
                  <a:pos x="10" y="786"/>
                </a:cxn>
                <a:cxn ang="0">
                  <a:pos x="0" y="875"/>
                </a:cxn>
                <a:cxn ang="0">
                  <a:pos x="32" y="884"/>
                </a:cxn>
                <a:cxn ang="0">
                  <a:pos x="70" y="891"/>
                </a:cxn>
                <a:cxn ang="0">
                  <a:pos x="110" y="899"/>
                </a:cxn>
                <a:cxn ang="0">
                  <a:pos x="152" y="906"/>
                </a:cxn>
                <a:cxn ang="0">
                  <a:pos x="196" y="911"/>
                </a:cxn>
                <a:cxn ang="0">
                  <a:pos x="239" y="917"/>
                </a:cxn>
                <a:cxn ang="0">
                  <a:pos x="321" y="928"/>
                </a:cxn>
                <a:cxn ang="0">
                  <a:pos x="515" y="953"/>
                </a:cxn>
                <a:cxn ang="0">
                  <a:pos x="582" y="960"/>
                </a:cxn>
                <a:cxn ang="0">
                  <a:pos x="649" y="969"/>
                </a:cxn>
                <a:cxn ang="0">
                  <a:pos x="713" y="975"/>
                </a:cxn>
                <a:cxn ang="0">
                  <a:pos x="769" y="980"/>
                </a:cxn>
                <a:cxn ang="0">
                  <a:pos x="809" y="984"/>
                </a:cxn>
                <a:cxn ang="0">
                  <a:pos x="856" y="989"/>
                </a:cxn>
                <a:cxn ang="0">
                  <a:pos x="960" y="1000"/>
                </a:cxn>
                <a:cxn ang="0">
                  <a:pos x="1126" y="1020"/>
                </a:cxn>
                <a:cxn ang="0">
                  <a:pos x="1139" y="1022"/>
                </a:cxn>
                <a:cxn ang="0">
                  <a:pos x="1141" y="1009"/>
                </a:cxn>
                <a:cxn ang="0">
                  <a:pos x="1166" y="783"/>
                </a:cxn>
                <a:cxn ang="0">
                  <a:pos x="1181" y="654"/>
                </a:cxn>
                <a:cxn ang="0">
                  <a:pos x="1186" y="605"/>
                </a:cxn>
                <a:cxn ang="0">
                  <a:pos x="1188" y="574"/>
                </a:cxn>
                <a:cxn ang="0">
                  <a:pos x="1190" y="543"/>
                </a:cxn>
                <a:cxn ang="0">
                  <a:pos x="1194" y="496"/>
                </a:cxn>
                <a:cxn ang="0">
                  <a:pos x="1203" y="369"/>
                </a:cxn>
                <a:cxn ang="0">
                  <a:pos x="1223" y="147"/>
                </a:cxn>
                <a:cxn ang="0">
                  <a:pos x="1224" y="133"/>
                </a:cxn>
                <a:cxn ang="0">
                  <a:pos x="1168" y="129"/>
                </a:cxn>
                <a:cxn ang="0">
                  <a:pos x="1027" y="117"/>
                </a:cxn>
                <a:cxn ang="0">
                  <a:pos x="940" y="107"/>
                </a:cxn>
                <a:cxn ang="0">
                  <a:pos x="849" y="98"/>
                </a:cxn>
                <a:cxn ang="0">
                  <a:pos x="760" y="89"/>
                </a:cxn>
                <a:cxn ang="0">
                  <a:pos x="678" y="78"/>
                </a:cxn>
                <a:cxn ang="0">
                  <a:pos x="510" y="55"/>
                </a:cxn>
                <a:cxn ang="0">
                  <a:pos x="333" y="29"/>
                </a:cxn>
                <a:cxn ang="0">
                  <a:pos x="138" y="0"/>
                </a:cxn>
              </a:cxnLst>
              <a:rect l="0" t="0" r="r" b="b"/>
              <a:pathLst>
                <a:path w="1224" h="1022">
                  <a:moveTo>
                    <a:pt x="138" y="0"/>
                  </a:moveTo>
                  <a:lnTo>
                    <a:pt x="116" y="120"/>
                  </a:lnTo>
                  <a:lnTo>
                    <a:pt x="96" y="234"/>
                  </a:lnTo>
                  <a:lnTo>
                    <a:pt x="85" y="293"/>
                  </a:lnTo>
                  <a:lnTo>
                    <a:pt x="76" y="347"/>
                  </a:lnTo>
                  <a:lnTo>
                    <a:pt x="56" y="487"/>
                  </a:lnTo>
                  <a:lnTo>
                    <a:pt x="29" y="657"/>
                  </a:lnTo>
                  <a:lnTo>
                    <a:pt x="10" y="786"/>
                  </a:lnTo>
                  <a:lnTo>
                    <a:pt x="0" y="875"/>
                  </a:lnTo>
                  <a:lnTo>
                    <a:pt x="32" y="884"/>
                  </a:lnTo>
                  <a:lnTo>
                    <a:pt x="70" y="891"/>
                  </a:lnTo>
                  <a:lnTo>
                    <a:pt x="110" y="899"/>
                  </a:lnTo>
                  <a:lnTo>
                    <a:pt x="152" y="906"/>
                  </a:lnTo>
                  <a:lnTo>
                    <a:pt x="196" y="911"/>
                  </a:lnTo>
                  <a:lnTo>
                    <a:pt x="239" y="917"/>
                  </a:lnTo>
                  <a:lnTo>
                    <a:pt x="321" y="928"/>
                  </a:lnTo>
                  <a:lnTo>
                    <a:pt x="515" y="953"/>
                  </a:lnTo>
                  <a:lnTo>
                    <a:pt x="582" y="960"/>
                  </a:lnTo>
                  <a:lnTo>
                    <a:pt x="649" y="969"/>
                  </a:lnTo>
                  <a:lnTo>
                    <a:pt x="713" y="975"/>
                  </a:lnTo>
                  <a:lnTo>
                    <a:pt x="769" y="980"/>
                  </a:lnTo>
                  <a:lnTo>
                    <a:pt x="809" y="984"/>
                  </a:lnTo>
                  <a:lnTo>
                    <a:pt x="856" y="989"/>
                  </a:lnTo>
                  <a:lnTo>
                    <a:pt x="960" y="1000"/>
                  </a:lnTo>
                  <a:lnTo>
                    <a:pt x="1126" y="1020"/>
                  </a:lnTo>
                  <a:lnTo>
                    <a:pt x="1139" y="1022"/>
                  </a:lnTo>
                  <a:lnTo>
                    <a:pt x="1141" y="1009"/>
                  </a:lnTo>
                  <a:lnTo>
                    <a:pt x="1166" y="783"/>
                  </a:lnTo>
                  <a:lnTo>
                    <a:pt x="1181" y="654"/>
                  </a:lnTo>
                  <a:lnTo>
                    <a:pt x="1186" y="605"/>
                  </a:lnTo>
                  <a:lnTo>
                    <a:pt x="1188" y="574"/>
                  </a:lnTo>
                  <a:lnTo>
                    <a:pt x="1190" y="543"/>
                  </a:lnTo>
                  <a:lnTo>
                    <a:pt x="1194" y="496"/>
                  </a:lnTo>
                  <a:lnTo>
                    <a:pt x="1203" y="369"/>
                  </a:lnTo>
                  <a:lnTo>
                    <a:pt x="1223" y="147"/>
                  </a:lnTo>
                  <a:lnTo>
                    <a:pt x="1224" y="133"/>
                  </a:lnTo>
                  <a:lnTo>
                    <a:pt x="1168" y="129"/>
                  </a:lnTo>
                  <a:lnTo>
                    <a:pt x="1027" y="117"/>
                  </a:lnTo>
                  <a:lnTo>
                    <a:pt x="940" y="107"/>
                  </a:lnTo>
                  <a:lnTo>
                    <a:pt x="849" y="98"/>
                  </a:lnTo>
                  <a:lnTo>
                    <a:pt x="760" y="89"/>
                  </a:lnTo>
                  <a:lnTo>
                    <a:pt x="678" y="78"/>
                  </a:lnTo>
                  <a:lnTo>
                    <a:pt x="510" y="55"/>
                  </a:lnTo>
                  <a:lnTo>
                    <a:pt x="333" y="29"/>
                  </a:lnTo>
                  <a:lnTo>
                    <a:pt x="138" y="0"/>
                  </a:lnTo>
                  <a:close/>
                </a:path>
              </a:pathLst>
            </a:custGeom>
            <a:solidFill>
              <a:srgbClr val="FFE600"/>
            </a:solidFill>
            <a:ln w="6350" cap="flat" cmpd="sng" algn="ctr">
              <a:solidFill>
                <a:srgbClr val="2E2E38"/>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646464"/>
                </a:solidFill>
                <a:effectLst/>
                <a:uLnTx/>
                <a:uFillTx/>
                <a:cs typeface="Times New Roman" panose="02020603050405020304" pitchFamily="18" charset="0"/>
              </a:endParaRPr>
            </a:p>
          </p:txBody>
        </p:sp>
        <p:sp>
          <p:nvSpPr>
            <p:cNvPr id="36" name="Freeform 66">
              <a:extLst>
                <a:ext uri="{FF2B5EF4-FFF2-40B4-BE49-F238E27FC236}">
                  <a16:creationId xmlns:a16="http://schemas.microsoft.com/office/drawing/2014/main" id="{230DB88E-67B2-239D-2DEF-EDF119206D83}"/>
                </a:ext>
              </a:extLst>
            </p:cNvPr>
            <p:cNvSpPr>
              <a:spLocks/>
            </p:cNvSpPr>
            <p:nvPr/>
          </p:nvSpPr>
          <p:spPr bwMode="auto">
            <a:xfrm>
              <a:off x="6539715" y="4005409"/>
              <a:ext cx="134621" cy="250558"/>
            </a:xfrm>
            <a:custGeom>
              <a:avLst/>
              <a:gdLst/>
              <a:ahLst/>
              <a:cxnLst>
                <a:cxn ang="0">
                  <a:pos x="270" y="3"/>
                </a:cxn>
                <a:cxn ang="0">
                  <a:pos x="170" y="29"/>
                </a:cxn>
                <a:cxn ang="0">
                  <a:pos x="0" y="76"/>
                </a:cxn>
                <a:cxn ang="0">
                  <a:pos x="0" y="101"/>
                </a:cxn>
                <a:cxn ang="0">
                  <a:pos x="1" y="114"/>
                </a:cxn>
                <a:cxn ang="0">
                  <a:pos x="12" y="134"/>
                </a:cxn>
                <a:cxn ang="0">
                  <a:pos x="16" y="154"/>
                </a:cxn>
                <a:cxn ang="0">
                  <a:pos x="21" y="176"/>
                </a:cxn>
                <a:cxn ang="0">
                  <a:pos x="34" y="194"/>
                </a:cxn>
                <a:cxn ang="0">
                  <a:pos x="34" y="208"/>
                </a:cxn>
                <a:cxn ang="0">
                  <a:pos x="34" y="221"/>
                </a:cxn>
                <a:cxn ang="0">
                  <a:pos x="38" y="234"/>
                </a:cxn>
                <a:cxn ang="0">
                  <a:pos x="36" y="248"/>
                </a:cxn>
                <a:cxn ang="0">
                  <a:pos x="32" y="268"/>
                </a:cxn>
                <a:cxn ang="0">
                  <a:pos x="47" y="316"/>
                </a:cxn>
                <a:cxn ang="0">
                  <a:pos x="58" y="352"/>
                </a:cxn>
                <a:cxn ang="0">
                  <a:pos x="61" y="383"/>
                </a:cxn>
                <a:cxn ang="0">
                  <a:pos x="70" y="375"/>
                </a:cxn>
                <a:cxn ang="0">
                  <a:pos x="81" y="386"/>
                </a:cxn>
                <a:cxn ang="0">
                  <a:pos x="96" y="419"/>
                </a:cxn>
                <a:cxn ang="0">
                  <a:pos x="107" y="463"/>
                </a:cxn>
                <a:cxn ang="0">
                  <a:pos x="121" y="524"/>
                </a:cxn>
                <a:cxn ang="0">
                  <a:pos x="130" y="561"/>
                </a:cxn>
                <a:cxn ang="0">
                  <a:pos x="246" y="521"/>
                </a:cxn>
                <a:cxn ang="0">
                  <a:pos x="230" y="493"/>
                </a:cxn>
                <a:cxn ang="0">
                  <a:pos x="232" y="477"/>
                </a:cxn>
                <a:cxn ang="0">
                  <a:pos x="235" y="463"/>
                </a:cxn>
                <a:cxn ang="0">
                  <a:pos x="232" y="430"/>
                </a:cxn>
                <a:cxn ang="0">
                  <a:pos x="228" y="375"/>
                </a:cxn>
                <a:cxn ang="0">
                  <a:pos x="226" y="361"/>
                </a:cxn>
                <a:cxn ang="0">
                  <a:pos x="221" y="357"/>
                </a:cxn>
                <a:cxn ang="0">
                  <a:pos x="223" y="346"/>
                </a:cxn>
                <a:cxn ang="0">
                  <a:pos x="225" y="328"/>
                </a:cxn>
                <a:cxn ang="0">
                  <a:pos x="226" y="312"/>
                </a:cxn>
                <a:cxn ang="0">
                  <a:pos x="235" y="290"/>
                </a:cxn>
                <a:cxn ang="0">
                  <a:pos x="237" y="265"/>
                </a:cxn>
                <a:cxn ang="0">
                  <a:pos x="241" y="248"/>
                </a:cxn>
                <a:cxn ang="0">
                  <a:pos x="237" y="243"/>
                </a:cxn>
                <a:cxn ang="0">
                  <a:pos x="241" y="234"/>
                </a:cxn>
                <a:cxn ang="0">
                  <a:pos x="243" y="212"/>
                </a:cxn>
                <a:cxn ang="0">
                  <a:pos x="234" y="203"/>
                </a:cxn>
                <a:cxn ang="0">
                  <a:pos x="234" y="181"/>
                </a:cxn>
                <a:cxn ang="0">
                  <a:pos x="241" y="169"/>
                </a:cxn>
                <a:cxn ang="0">
                  <a:pos x="248" y="167"/>
                </a:cxn>
                <a:cxn ang="0">
                  <a:pos x="257" y="165"/>
                </a:cxn>
                <a:cxn ang="0">
                  <a:pos x="261" y="154"/>
                </a:cxn>
                <a:cxn ang="0">
                  <a:pos x="275" y="143"/>
                </a:cxn>
                <a:cxn ang="0">
                  <a:pos x="288" y="132"/>
                </a:cxn>
                <a:cxn ang="0">
                  <a:pos x="294" y="100"/>
                </a:cxn>
                <a:cxn ang="0">
                  <a:pos x="286" y="83"/>
                </a:cxn>
                <a:cxn ang="0">
                  <a:pos x="275" y="65"/>
                </a:cxn>
                <a:cxn ang="0">
                  <a:pos x="275" y="52"/>
                </a:cxn>
                <a:cxn ang="0">
                  <a:pos x="277" y="22"/>
                </a:cxn>
                <a:cxn ang="0">
                  <a:pos x="275" y="3"/>
                </a:cxn>
              </a:cxnLst>
              <a:rect l="0" t="0" r="r" b="b"/>
              <a:pathLst>
                <a:path w="294" h="561">
                  <a:moveTo>
                    <a:pt x="275" y="0"/>
                  </a:moveTo>
                  <a:lnTo>
                    <a:pt x="272" y="2"/>
                  </a:lnTo>
                  <a:lnTo>
                    <a:pt x="270" y="3"/>
                  </a:lnTo>
                  <a:lnTo>
                    <a:pt x="266" y="5"/>
                  </a:lnTo>
                  <a:lnTo>
                    <a:pt x="263" y="7"/>
                  </a:lnTo>
                  <a:lnTo>
                    <a:pt x="170" y="29"/>
                  </a:lnTo>
                  <a:lnTo>
                    <a:pt x="105" y="47"/>
                  </a:lnTo>
                  <a:lnTo>
                    <a:pt x="52" y="61"/>
                  </a:lnTo>
                  <a:lnTo>
                    <a:pt x="0" y="76"/>
                  </a:lnTo>
                  <a:lnTo>
                    <a:pt x="0" y="81"/>
                  </a:lnTo>
                  <a:lnTo>
                    <a:pt x="1" y="87"/>
                  </a:lnTo>
                  <a:lnTo>
                    <a:pt x="0" y="101"/>
                  </a:lnTo>
                  <a:lnTo>
                    <a:pt x="0" y="105"/>
                  </a:lnTo>
                  <a:lnTo>
                    <a:pt x="0" y="110"/>
                  </a:lnTo>
                  <a:lnTo>
                    <a:pt x="1" y="114"/>
                  </a:lnTo>
                  <a:lnTo>
                    <a:pt x="5" y="121"/>
                  </a:lnTo>
                  <a:lnTo>
                    <a:pt x="9" y="125"/>
                  </a:lnTo>
                  <a:lnTo>
                    <a:pt x="12" y="134"/>
                  </a:lnTo>
                  <a:lnTo>
                    <a:pt x="14" y="139"/>
                  </a:lnTo>
                  <a:lnTo>
                    <a:pt x="16" y="143"/>
                  </a:lnTo>
                  <a:lnTo>
                    <a:pt x="16" y="154"/>
                  </a:lnTo>
                  <a:lnTo>
                    <a:pt x="18" y="167"/>
                  </a:lnTo>
                  <a:lnTo>
                    <a:pt x="19" y="170"/>
                  </a:lnTo>
                  <a:lnTo>
                    <a:pt x="21" y="176"/>
                  </a:lnTo>
                  <a:lnTo>
                    <a:pt x="29" y="185"/>
                  </a:lnTo>
                  <a:lnTo>
                    <a:pt x="30" y="188"/>
                  </a:lnTo>
                  <a:lnTo>
                    <a:pt x="34" y="194"/>
                  </a:lnTo>
                  <a:lnTo>
                    <a:pt x="34" y="198"/>
                  </a:lnTo>
                  <a:lnTo>
                    <a:pt x="34" y="199"/>
                  </a:lnTo>
                  <a:lnTo>
                    <a:pt x="34" y="208"/>
                  </a:lnTo>
                  <a:lnTo>
                    <a:pt x="32" y="216"/>
                  </a:lnTo>
                  <a:lnTo>
                    <a:pt x="32" y="218"/>
                  </a:lnTo>
                  <a:lnTo>
                    <a:pt x="34" y="221"/>
                  </a:lnTo>
                  <a:lnTo>
                    <a:pt x="36" y="227"/>
                  </a:lnTo>
                  <a:lnTo>
                    <a:pt x="36" y="230"/>
                  </a:lnTo>
                  <a:lnTo>
                    <a:pt x="38" y="234"/>
                  </a:lnTo>
                  <a:lnTo>
                    <a:pt x="38" y="239"/>
                  </a:lnTo>
                  <a:lnTo>
                    <a:pt x="38" y="243"/>
                  </a:lnTo>
                  <a:lnTo>
                    <a:pt x="36" y="248"/>
                  </a:lnTo>
                  <a:lnTo>
                    <a:pt x="34" y="256"/>
                  </a:lnTo>
                  <a:lnTo>
                    <a:pt x="32" y="263"/>
                  </a:lnTo>
                  <a:lnTo>
                    <a:pt x="32" y="268"/>
                  </a:lnTo>
                  <a:lnTo>
                    <a:pt x="34" y="283"/>
                  </a:lnTo>
                  <a:lnTo>
                    <a:pt x="38" y="296"/>
                  </a:lnTo>
                  <a:lnTo>
                    <a:pt x="47" y="316"/>
                  </a:lnTo>
                  <a:lnTo>
                    <a:pt x="54" y="334"/>
                  </a:lnTo>
                  <a:lnTo>
                    <a:pt x="58" y="343"/>
                  </a:lnTo>
                  <a:lnTo>
                    <a:pt x="58" y="352"/>
                  </a:lnTo>
                  <a:lnTo>
                    <a:pt x="59" y="368"/>
                  </a:lnTo>
                  <a:lnTo>
                    <a:pt x="59" y="375"/>
                  </a:lnTo>
                  <a:lnTo>
                    <a:pt x="61" y="383"/>
                  </a:lnTo>
                  <a:lnTo>
                    <a:pt x="63" y="390"/>
                  </a:lnTo>
                  <a:lnTo>
                    <a:pt x="68" y="377"/>
                  </a:lnTo>
                  <a:lnTo>
                    <a:pt x="70" y="375"/>
                  </a:lnTo>
                  <a:lnTo>
                    <a:pt x="74" y="379"/>
                  </a:lnTo>
                  <a:lnTo>
                    <a:pt x="78" y="383"/>
                  </a:lnTo>
                  <a:lnTo>
                    <a:pt x="81" y="386"/>
                  </a:lnTo>
                  <a:lnTo>
                    <a:pt x="87" y="395"/>
                  </a:lnTo>
                  <a:lnTo>
                    <a:pt x="92" y="406"/>
                  </a:lnTo>
                  <a:lnTo>
                    <a:pt x="96" y="419"/>
                  </a:lnTo>
                  <a:lnTo>
                    <a:pt x="99" y="430"/>
                  </a:lnTo>
                  <a:lnTo>
                    <a:pt x="101" y="441"/>
                  </a:lnTo>
                  <a:lnTo>
                    <a:pt x="107" y="463"/>
                  </a:lnTo>
                  <a:lnTo>
                    <a:pt x="112" y="486"/>
                  </a:lnTo>
                  <a:lnTo>
                    <a:pt x="117" y="512"/>
                  </a:lnTo>
                  <a:lnTo>
                    <a:pt x="121" y="524"/>
                  </a:lnTo>
                  <a:lnTo>
                    <a:pt x="123" y="537"/>
                  </a:lnTo>
                  <a:lnTo>
                    <a:pt x="127" y="548"/>
                  </a:lnTo>
                  <a:lnTo>
                    <a:pt x="130" y="561"/>
                  </a:lnTo>
                  <a:lnTo>
                    <a:pt x="239" y="535"/>
                  </a:lnTo>
                  <a:lnTo>
                    <a:pt x="252" y="533"/>
                  </a:lnTo>
                  <a:lnTo>
                    <a:pt x="246" y="521"/>
                  </a:lnTo>
                  <a:lnTo>
                    <a:pt x="239" y="512"/>
                  </a:lnTo>
                  <a:lnTo>
                    <a:pt x="232" y="501"/>
                  </a:lnTo>
                  <a:lnTo>
                    <a:pt x="230" y="493"/>
                  </a:lnTo>
                  <a:lnTo>
                    <a:pt x="230" y="488"/>
                  </a:lnTo>
                  <a:lnTo>
                    <a:pt x="230" y="481"/>
                  </a:lnTo>
                  <a:lnTo>
                    <a:pt x="232" y="477"/>
                  </a:lnTo>
                  <a:lnTo>
                    <a:pt x="234" y="473"/>
                  </a:lnTo>
                  <a:lnTo>
                    <a:pt x="235" y="468"/>
                  </a:lnTo>
                  <a:lnTo>
                    <a:pt x="235" y="463"/>
                  </a:lnTo>
                  <a:lnTo>
                    <a:pt x="234" y="455"/>
                  </a:lnTo>
                  <a:lnTo>
                    <a:pt x="234" y="448"/>
                  </a:lnTo>
                  <a:lnTo>
                    <a:pt x="232" y="430"/>
                  </a:lnTo>
                  <a:lnTo>
                    <a:pt x="232" y="414"/>
                  </a:lnTo>
                  <a:lnTo>
                    <a:pt x="230" y="394"/>
                  </a:lnTo>
                  <a:lnTo>
                    <a:pt x="228" y="375"/>
                  </a:lnTo>
                  <a:lnTo>
                    <a:pt x="226" y="370"/>
                  </a:lnTo>
                  <a:lnTo>
                    <a:pt x="226" y="363"/>
                  </a:lnTo>
                  <a:lnTo>
                    <a:pt x="226" y="361"/>
                  </a:lnTo>
                  <a:lnTo>
                    <a:pt x="225" y="361"/>
                  </a:lnTo>
                  <a:lnTo>
                    <a:pt x="223" y="359"/>
                  </a:lnTo>
                  <a:lnTo>
                    <a:pt x="221" y="357"/>
                  </a:lnTo>
                  <a:lnTo>
                    <a:pt x="221" y="355"/>
                  </a:lnTo>
                  <a:lnTo>
                    <a:pt x="223" y="350"/>
                  </a:lnTo>
                  <a:lnTo>
                    <a:pt x="223" y="346"/>
                  </a:lnTo>
                  <a:lnTo>
                    <a:pt x="226" y="337"/>
                  </a:lnTo>
                  <a:lnTo>
                    <a:pt x="226" y="335"/>
                  </a:lnTo>
                  <a:lnTo>
                    <a:pt x="225" y="328"/>
                  </a:lnTo>
                  <a:lnTo>
                    <a:pt x="225" y="319"/>
                  </a:lnTo>
                  <a:lnTo>
                    <a:pt x="225" y="316"/>
                  </a:lnTo>
                  <a:lnTo>
                    <a:pt x="226" y="312"/>
                  </a:lnTo>
                  <a:lnTo>
                    <a:pt x="228" y="306"/>
                  </a:lnTo>
                  <a:lnTo>
                    <a:pt x="234" y="299"/>
                  </a:lnTo>
                  <a:lnTo>
                    <a:pt x="235" y="290"/>
                  </a:lnTo>
                  <a:lnTo>
                    <a:pt x="237" y="281"/>
                  </a:lnTo>
                  <a:lnTo>
                    <a:pt x="237" y="272"/>
                  </a:lnTo>
                  <a:lnTo>
                    <a:pt x="237" y="265"/>
                  </a:lnTo>
                  <a:lnTo>
                    <a:pt x="239" y="257"/>
                  </a:lnTo>
                  <a:lnTo>
                    <a:pt x="241" y="254"/>
                  </a:lnTo>
                  <a:lnTo>
                    <a:pt x="241" y="248"/>
                  </a:lnTo>
                  <a:lnTo>
                    <a:pt x="239" y="247"/>
                  </a:lnTo>
                  <a:lnTo>
                    <a:pt x="237" y="245"/>
                  </a:lnTo>
                  <a:lnTo>
                    <a:pt x="237" y="243"/>
                  </a:lnTo>
                  <a:lnTo>
                    <a:pt x="237" y="241"/>
                  </a:lnTo>
                  <a:lnTo>
                    <a:pt x="239" y="237"/>
                  </a:lnTo>
                  <a:lnTo>
                    <a:pt x="241" y="234"/>
                  </a:lnTo>
                  <a:lnTo>
                    <a:pt x="243" y="225"/>
                  </a:lnTo>
                  <a:lnTo>
                    <a:pt x="245" y="216"/>
                  </a:lnTo>
                  <a:lnTo>
                    <a:pt x="243" y="212"/>
                  </a:lnTo>
                  <a:lnTo>
                    <a:pt x="241" y="208"/>
                  </a:lnTo>
                  <a:lnTo>
                    <a:pt x="239" y="205"/>
                  </a:lnTo>
                  <a:lnTo>
                    <a:pt x="234" y="203"/>
                  </a:lnTo>
                  <a:lnTo>
                    <a:pt x="235" y="199"/>
                  </a:lnTo>
                  <a:lnTo>
                    <a:pt x="235" y="196"/>
                  </a:lnTo>
                  <a:lnTo>
                    <a:pt x="234" y="181"/>
                  </a:lnTo>
                  <a:lnTo>
                    <a:pt x="235" y="176"/>
                  </a:lnTo>
                  <a:lnTo>
                    <a:pt x="237" y="172"/>
                  </a:lnTo>
                  <a:lnTo>
                    <a:pt x="241" y="169"/>
                  </a:lnTo>
                  <a:lnTo>
                    <a:pt x="245" y="167"/>
                  </a:lnTo>
                  <a:lnTo>
                    <a:pt x="246" y="167"/>
                  </a:lnTo>
                  <a:lnTo>
                    <a:pt x="248" y="167"/>
                  </a:lnTo>
                  <a:lnTo>
                    <a:pt x="252" y="167"/>
                  </a:lnTo>
                  <a:lnTo>
                    <a:pt x="254" y="167"/>
                  </a:lnTo>
                  <a:lnTo>
                    <a:pt x="257" y="165"/>
                  </a:lnTo>
                  <a:lnTo>
                    <a:pt x="259" y="161"/>
                  </a:lnTo>
                  <a:lnTo>
                    <a:pt x="261" y="158"/>
                  </a:lnTo>
                  <a:lnTo>
                    <a:pt x="261" y="154"/>
                  </a:lnTo>
                  <a:lnTo>
                    <a:pt x="263" y="152"/>
                  </a:lnTo>
                  <a:lnTo>
                    <a:pt x="270" y="147"/>
                  </a:lnTo>
                  <a:lnTo>
                    <a:pt x="275" y="143"/>
                  </a:lnTo>
                  <a:lnTo>
                    <a:pt x="283" y="139"/>
                  </a:lnTo>
                  <a:lnTo>
                    <a:pt x="286" y="136"/>
                  </a:lnTo>
                  <a:lnTo>
                    <a:pt x="288" y="132"/>
                  </a:lnTo>
                  <a:lnTo>
                    <a:pt x="292" y="121"/>
                  </a:lnTo>
                  <a:lnTo>
                    <a:pt x="294" y="109"/>
                  </a:lnTo>
                  <a:lnTo>
                    <a:pt x="294" y="100"/>
                  </a:lnTo>
                  <a:lnTo>
                    <a:pt x="290" y="90"/>
                  </a:lnTo>
                  <a:lnTo>
                    <a:pt x="288" y="87"/>
                  </a:lnTo>
                  <a:lnTo>
                    <a:pt x="286" y="83"/>
                  </a:lnTo>
                  <a:lnTo>
                    <a:pt x="283" y="78"/>
                  </a:lnTo>
                  <a:lnTo>
                    <a:pt x="277" y="71"/>
                  </a:lnTo>
                  <a:lnTo>
                    <a:pt x="275" y="65"/>
                  </a:lnTo>
                  <a:lnTo>
                    <a:pt x="274" y="61"/>
                  </a:lnTo>
                  <a:lnTo>
                    <a:pt x="274" y="56"/>
                  </a:lnTo>
                  <a:lnTo>
                    <a:pt x="275" y="52"/>
                  </a:lnTo>
                  <a:lnTo>
                    <a:pt x="279" y="40"/>
                  </a:lnTo>
                  <a:lnTo>
                    <a:pt x="279" y="34"/>
                  </a:lnTo>
                  <a:lnTo>
                    <a:pt x="277" y="22"/>
                  </a:lnTo>
                  <a:lnTo>
                    <a:pt x="275" y="11"/>
                  </a:lnTo>
                  <a:lnTo>
                    <a:pt x="275" y="7"/>
                  </a:lnTo>
                  <a:lnTo>
                    <a:pt x="275" y="3"/>
                  </a:lnTo>
                  <a:lnTo>
                    <a:pt x="275" y="0"/>
                  </a:lnTo>
                  <a:close/>
                </a:path>
              </a:pathLst>
            </a:custGeom>
            <a:solidFill>
              <a:srgbClr val="2E2E38"/>
            </a:solidFill>
            <a:ln w="3175" cap="flat" cmpd="sng" algn="ctr">
              <a:solidFill>
                <a:srgbClr val="747480"/>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646464"/>
                </a:solidFill>
                <a:effectLst/>
                <a:uLnTx/>
                <a:uFillTx/>
                <a:cs typeface="Times New Roman" panose="02020603050405020304" pitchFamily="18" charset="0"/>
              </a:endParaRPr>
            </a:p>
          </p:txBody>
        </p:sp>
        <p:sp>
          <p:nvSpPr>
            <p:cNvPr id="37" name="Line 68">
              <a:extLst>
                <a:ext uri="{FF2B5EF4-FFF2-40B4-BE49-F238E27FC236}">
                  <a16:creationId xmlns:a16="http://schemas.microsoft.com/office/drawing/2014/main" id="{6C97656F-6952-B5FD-1480-096A86D8F1B7}"/>
                </a:ext>
              </a:extLst>
            </p:cNvPr>
            <p:cNvSpPr>
              <a:spLocks noChangeShapeType="1"/>
            </p:cNvSpPr>
            <p:nvPr/>
          </p:nvSpPr>
          <p:spPr bwMode="auto">
            <a:xfrm>
              <a:off x="6645947" y="4102600"/>
              <a:ext cx="915" cy="894"/>
            </a:xfrm>
            <a:prstGeom prst="line">
              <a:avLst/>
            </a:prstGeom>
            <a:noFill/>
            <a:ln w="3175">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646464"/>
                </a:solidFill>
                <a:effectLst/>
                <a:uLnTx/>
                <a:uFillTx/>
                <a:cs typeface="Times New Roman" panose="02020603050405020304" pitchFamily="18" charset="0"/>
              </a:endParaRPr>
            </a:p>
          </p:txBody>
        </p:sp>
        <p:sp>
          <p:nvSpPr>
            <p:cNvPr id="38" name="Freeform 69">
              <a:extLst>
                <a:ext uri="{FF2B5EF4-FFF2-40B4-BE49-F238E27FC236}">
                  <a16:creationId xmlns:a16="http://schemas.microsoft.com/office/drawing/2014/main" id="{F3230A34-6B38-E50A-B2B8-8116C41F37AD}"/>
                </a:ext>
              </a:extLst>
            </p:cNvPr>
            <p:cNvSpPr>
              <a:spLocks/>
            </p:cNvSpPr>
            <p:nvPr/>
          </p:nvSpPr>
          <p:spPr bwMode="auto">
            <a:xfrm>
              <a:off x="6086404" y="4362073"/>
              <a:ext cx="460639" cy="292465"/>
            </a:xfrm>
            <a:custGeom>
              <a:avLst/>
              <a:gdLst/>
              <a:ahLst/>
              <a:cxnLst>
                <a:cxn ang="0">
                  <a:pos x="727" y="18"/>
                </a:cxn>
                <a:cxn ang="0">
                  <a:pos x="401" y="84"/>
                </a:cxn>
                <a:cxn ang="0">
                  <a:pos x="108" y="78"/>
                </a:cxn>
                <a:cxn ang="0">
                  <a:pos x="79" y="104"/>
                </a:cxn>
                <a:cxn ang="0">
                  <a:pos x="34" y="136"/>
                </a:cxn>
                <a:cxn ang="0">
                  <a:pos x="0" y="160"/>
                </a:cxn>
                <a:cxn ang="0">
                  <a:pos x="79" y="657"/>
                </a:cxn>
                <a:cxn ang="0">
                  <a:pos x="417" y="592"/>
                </a:cxn>
                <a:cxn ang="0">
                  <a:pos x="863" y="501"/>
                </a:cxn>
                <a:cxn ang="0">
                  <a:pos x="876" y="485"/>
                </a:cxn>
                <a:cxn ang="0">
                  <a:pos x="894" y="478"/>
                </a:cxn>
                <a:cxn ang="0">
                  <a:pos x="914" y="468"/>
                </a:cxn>
                <a:cxn ang="0">
                  <a:pos x="938" y="459"/>
                </a:cxn>
                <a:cxn ang="0">
                  <a:pos x="958" y="445"/>
                </a:cxn>
                <a:cxn ang="0">
                  <a:pos x="963" y="432"/>
                </a:cxn>
                <a:cxn ang="0">
                  <a:pos x="965" y="421"/>
                </a:cxn>
                <a:cxn ang="0">
                  <a:pos x="974" y="416"/>
                </a:cxn>
                <a:cxn ang="0">
                  <a:pos x="987" y="409"/>
                </a:cxn>
                <a:cxn ang="0">
                  <a:pos x="990" y="398"/>
                </a:cxn>
                <a:cxn ang="0">
                  <a:pos x="1001" y="390"/>
                </a:cxn>
                <a:cxn ang="0">
                  <a:pos x="1005" y="380"/>
                </a:cxn>
                <a:cxn ang="0">
                  <a:pos x="1003" y="370"/>
                </a:cxn>
                <a:cxn ang="0">
                  <a:pos x="989" y="363"/>
                </a:cxn>
                <a:cxn ang="0">
                  <a:pos x="963" y="351"/>
                </a:cxn>
                <a:cxn ang="0">
                  <a:pos x="958" y="340"/>
                </a:cxn>
                <a:cxn ang="0">
                  <a:pos x="947" y="334"/>
                </a:cxn>
                <a:cxn ang="0">
                  <a:pos x="936" y="323"/>
                </a:cxn>
                <a:cxn ang="0">
                  <a:pos x="932" y="311"/>
                </a:cxn>
                <a:cxn ang="0">
                  <a:pos x="920" y="311"/>
                </a:cxn>
                <a:cxn ang="0">
                  <a:pos x="911" y="285"/>
                </a:cxn>
                <a:cxn ang="0">
                  <a:pos x="912" y="254"/>
                </a:cxn>
                <a:cxn ang="0">
                  <a:pos x="914" y="218"/>
                </a:cxn>
                <a:cxn ang="0">
                  <a:pos x="914" y="202"/>
                </a:cxn>
                <a:cxn ang="0">
                  <a:pos x="934" y="164"/>
                </a:cxn>
                <a:cxn ang="0">
                  <a:pos x="940" y="149"/>
                </a:cxn>
                <a:cxn ang="0">
                  <a:pos x="940" y="131"/>
                </a:cxn>
                <a:cxn ang="0">
                  <a:pos x="945" y="124"/>
                </a:cxn>
                <a:cxn ang="0">
                  <a:pos x="954" y="116"/>
                </a:cxn>
                <a:cxn ang="0">
                  <a:pos x="938" y="104"/>
                </a:cxn>
                <a:cxn ang="0">
                  <a:pos x="907" y="96"/>
                </a:cxn>
                <a:cxn ang="0">
                  <a:pos x="894" y="84"/>
                </a:cxn>
                <a:cxn ang="0">
                  <a:pos x="880" y="44"/>
                </a:cxn>
                <a:cxn ang="0">
                  <a:pos x="871" y="29"/>
                </a:cxn>
                <a:cxn ang="0">
                  <a:pos x="860" y="29"/>
                </a:cxn>
                <a:cxn ang="0">
                  <a:pos x="849" y="24"/>
                </a:cxn>
                <a:cxn ang="0">
                  <a:pos x="840" y="20"/>
                </a:cxn>
                <a:cxn ang="0">
                  <a:pos x="827" y="0"/>
                </a:cxn>
              </a:cxnLst>
              <a:rect l="0" t="0" r="r" b="b"/>
              <a:pathLst>
                <a:path w="1005" h="657">
                  <a:moveTo>
                    <a:pt x="822" y="0"/>
                  </a:moveTo>
                  <a:lnTo>
                    <a:pt x="818" y="0"/>
                  </a:lnTo>
                  <a:lnTo>
                    <a:pt x="727" y="18"/>
                  </a:lnTo>
                  <a:lnTo>
                    <a:pt x="526" y="60"/>
                  </a:lnTo>
                  <a:lnTo>
                    <a:pt x="468" y="71"/>
                  </a:lnTo>
                  <a:lnTo>
                    <a:pt x="401" y="84"/>
                  </a:lnTo>
                  <a:lnTo>
                    <a:pt x="268" y="107"/>
                  </a:lnTo>
                  <a:lnTo>
                    <a:pt x="119" y="131"/>
                  </a:lnTo>
                  <a:lnTo>
                    <a:pt x="108" y="78"/>
                  </a:lnTo>
                  <a:lnTo>
                    <a:pt x="94" y="91"/>
                  </a:lnTo>
                  <a:lnTo>
                    <a:pt x="87" y="98"/>
                  </a:lnTo>
                  <a:lnTo>
                    <a:pt x="79" y="104"/>
                  </a:lnTo>
                  <a:lnTo>
                    <a:pt x="63" y="115"/>
                  </a:lnTo>
                  <a:lnTo>
                    <a:pt x="49" y="125"/>
                  </a:lnTo>
                  <a:lnTo>
                    <a:pt x="34" y="136"/>
                  </a:lnTo>
                  <a:lnTo>
                    <a:pt x="25" y="144"/>
                  </a:lnTo>
                  <a:lnTo>
                    <a:pt x="18" y="149"/>
                  </a:lnTo>
                  <a:lnTo>
                    <a:pt x="0" y="160"/>
                  </a:lnTo>
                  <a:lnTo>
                    <a:pt x="47" y="458"/>
                  </a:lnTo>
                  <a:lnTo>
                    <a:pt x="76" y="643"/>
                  </a:lnTo>
                  <a:lnTo>
                    <a:pt x="79" y="657"/>
                  </a:lnTo>
                  <a:lnTo>
                    <a:pt x="92" y="654"/>
                  </a:lnTo>
                  <a:lnTo>
                    <a:pt x="246" y="625"/>
                  </a:lnTo>
                  <a:lnTo>
                    <a:pt x="417" y="592"/>
                  </a:lnTo>
                  <a:lnTo>
                    <a:pt x="696" y="539"/>
                  </a:lnTo>
                  <a:lnTo>
                    <a:pt x="860" y="508"/>
                  </a:lnTo>
                  <a:lnTo>
                    <a:pt x="863" y="501"/>
                  </a:lnTo>
                  <a:lnTo>
                    <a:pt x="869" y="492"/>
                  </a:lnTo>
                  <a:lnTo>
                    <a:pt x="872" y="488"/>
                  </a:lnTo>
                  <a:lnTo>
                    <a:pt x="876" y="485"/>
                  </a:lnTo>
                  <a:lnTo>
                    <a:pt x="881" y="483"/>
                  </a:lnTo>
                  <a:lnTo>
                    <a:pt x="887" y="481"/>
                  </a:lnTo>
                  <a:lnTo>
                    <a:pt x="894" y="478"/>
                  </a:lnTo>
                  <a:lnTo>
                    <a:pt x="901" y="474"/>
                  </a:lnTo>
                  <a:lnTo>
                    <a:pt x="909" y="468"/>
                  </a:lnTo>
                  <a:lnTo>
                    <a:pt x="914" y="468"/>
                  </a:lnTo>
                  <a:lnTo>
                    <a:pt x="920" y="467"/>
                  </a:lnTo>
                  <a:lnTo>
                    <a:pt x="921" y="468"/>
                  </a:lnTo>
                  <a:lnTo>
                    <a:pt x="938" y="459"/>
                  </a:lnTo>
                  <a:lnTo>
                    <a:pt x="945" y="456"/>
                  </a:lnTo>
                  <a:lnTo>
                    <a:pt x="952" y="450"/>
                  </a:lnTo>
                  <a:lnTo>
                    <a:pt x="958" y="445"/>
                  </a:lnTo>
                  <a:lnTo>
                    <a:pt x="960" y="443"/>
                  </a:lnTo>
                  <a:lnTo>
                    <a:pt x="963" y="439"/>
                  </a:lnTo>
                  <a:lnTo>
                    <a:pt x="963" y="432"/>
                  </a:lnTo>
                  <a:lnTo>
                    <a:pt x="963" y="427"/>
                  </a:lnTo>
                  <a:lnTo>
                    <a:pt x="963" y="423"/>
                  </a:lnTo>
                  <a:lnTo>
                    <a:pt x="965" y="421"/>
                  </a:lnTo>
                  <a:lnTo>
                    <a:pt x="967" y="419"/>
                  </a:lnTo>
                  <a:lnTo>
                    <a:pt x="970" y="418"/>
                  </a:lnTo>
                  <a:lnTo>
                    <a:pt x="974" y="416"/>
                  </a:lnTo>
                  <a:lnTo>
                    <a:pt x="979" y="414"/>
                  </a:lnTo>
                  <a:lnTo>
                    <a:pt x="983" y="412"/>
                  </a:lnTo>
                  <a:lnTo>
                    <a:pt x="987" y="409"/>
                  </a:lnTo>
                  <a:lnTo>
                    <a:pt x="987" y="405"/>
                  </a:lnTo>
                  <a:lnTo>
                    <a:pt x="989" y="401"/>
                  </a:lnTo>
                  <a:lnTo>
                    <a:pt x="990" y="398"/>
                  </a:lnTo>
                  <a:lnTo>
                    <a:pt x="994" y="396"/>
                  </a:lnTo>
                  <a:lnTo>
                    <a:pt x="998" y="392"/>
                  </a:lnTo>
                  <a:lnTo>
                    <a:pt x="1001" y="390"/>
                  </a:lnTo>
                  <a:lnTo>
                    <a:pt x="1003" y="389"/>
                  </a:lnTo>
                  <a:lnTo>
                    <a:pt x="1005" y="383"/>
                  </a:lnTo>
                  <a:lnTo>
                    <a:pt x="1005" y="380"/>
                  </a:lnTo>
                  <a:lnTo>
                    <a:pt x="1005" y="376"/>
                  </a:lnTo>
                  <a:lnTo>
                    <a:pt x="1005" y="372"/>
                  </a:lnTo>
                  <a:lnTo>
                    <a:pt x="1003" y="370"/>
                  </a:lnTo>
                  <a:lnTo>
                    <a:pt x="1001" y="369"/>
                  </a:lnTo>
                  <a:lnTo>
                    <a:pt x="996" y="365"/>
                  </a:lnTo>
                  <a:lnTo>
                    <a:pt x="989" y="363"/>
                  </a:lnTo>
                  <a:lnTo>
                    <a:pt x="974" y="358"/>
                  </a:lnTo>
                  <a:lnTo>
                    <a:pt x="969" y="354"/>
                  </a:lnTo>
                  <a:lnTo>
                    <a:pt x="963" y="351"/>
                  </a:lnTo>
                  <a:lnTo>
                    <a:pt x="961" y="349"/>
                  </a:lnTo>
                  <a:lnTo>
                    <a:pt x="960" y="343"/>
                  </a:lnTo>
                  <a:lnTo>
                    <a:pt x="958" y="340"/>
                  </a:lnTo>
                  <a:lnTo>
                    <a:pt x="954" y="336"/>
                  </a:lnTo>
                  <a:lnTo>
                    <a:pt x="952" y="334"/>
                  </a:lnTo>
                  <a:lnTo>
                    <a:pt x="947" y="334"/>
                  </a:lnTo>
                  <a:lnTo>
                    <a:pt x="943" y="332"/>
                  </a:lnTo>
                  <a:lnTo>
                    <a:pt x="940" y="329"/>
                  </a:lnTo>
                  <a:lnTo>
                    <a:pt x="936" y="323"/>
                  </a:lnTo>
                  <a:lnTo>
                    <a:pt x="934" y="316"/>
                  </a:lnTo>
                  <a:lnTo>
                    <a:pt x="932" y="312"/>
                  </a:lnTo>
                  <a:lnTo>
                    <a:pt x="932" y="311"/>
                  </a:lnTo>
                  <a:lnTo>
                    <a:pt x="930" y="309"/>
                  </a:lnTo>
                  <a:lnTo>
                    <a:pt x="927" y="307"/>
                  </a:lnTo>
                  <a:lnTo>
                    <a:pt x="920" y="311"/>
                  </a:lnTo>
                  <a:lnTo>
                    <a:pt x="914" y="302"/>
                  </a:lnTo>
                  <a:lnTo>
                    <a:pt x="912" y="294"/>
                  </a:lnTo>
                  <a:lnTo>
                    <a:pt x="911" y="285"/>
                  </a:lnTo>
                  <a:lnTo>
                    <a:pt x="911" y="278"/>
                  </a:lnTo>
                  <a:lnTo>
                    <a:pt x="911" y="265"/>
                  </a:lnTo>
                  <a:lnTo>
                    <a:pt x="912" y="254"/>
                  </a:lnTo>
                  <a:lnTo>
                    <a:pt x="914" y="242"/>
                  </a:lnTo>
                  <a:lnTo>
                    <a:pt x="916" y="229"/>
                  </a:lnTo>
                  <a:lnTo>
                    <a:pt x="914" y="218"/>
                  </a:lnTo>
                  <a:lnTo>
                    <a:pt x="914" y="211"/>
                  </a:lnTo>
                  <a:lnTo>
                    <a:pt x="914" y="205"/>
                  </a:lnTo>
                  <a:lnTo>
                    <a:pt x="914" y="202"/>
                  </a:lnTo>
                  <a:lnTo>
                    <a:pt x="918" y="194"/>
                  </a:lnTo>
                  <a:lnTo>
                    <a:pt x="929" y="176"/>
                  </a:lnTo>
                  <a:lnTo>
                    <a:pt x="934" y="164"/>
                  </a:lnTo>
                  <a:lnTo>
                    <a:pt x="938" y="158"/>
                  </a:lnTo>
                  <a:lnTo>
                    <a:pt x="940" y="153"/>
                  </a:lnTo>
                  <a:lnTo>
                    <a:pt x="940" y="149"/>
                  </a:lnTo>
                  <a:lnTo>
                    <a:pt x="940" y="142"/>
                  </a:lnTo>
                  <a:lnTo>
                    <a:pt x="938" y="136"/>
                  </a:lnTo>
                  <a:lnTo>
                    <a:pt x="940" y="131"/>
                  </a:lnTo>
                  <a:lnTo>
                    <a:pt x="940" y="127"/>
                  </a:lnTo>
                  <a:lnTo>
                    <a:pt x="943" y="125"/>
                  </a:lnTo>
                  <a:lnTo>
                    <a:pt x="945" y="124"/>
                  </a:lnTo>
                  <a:lnTo>
                    <a:pt x="947" y="122"/>
                  </a:lnTo>
                  <a:lnTo>
                    <a:pt x="952" y="118"/>
                  </a:lnTo>
                  <a:lnTo>
                    <a:pt x="954" y="116"/>
                  </a:lnTo>
                  <a:lnTo>
                    <a:pt x="952" y="115"/>
                  </a:lnTo>
                  <a:lnTo>
                    <a:pt x="949" y="111"/>
                  </a:lnTo>
                  <a:lnTo>
                    <a:pt x="938" y="104"/>
                  </a:lnTo>
                  <a:lnTo>
                    <a:pt x="927" y="102"/>
                  </a:lnTo>
                  <a:lnTo>
                    <a:pt x="918" y="100"/>
                  </a:lnTo>
                  <a:lnTo>
                    <a:pt x="907" y="96"/>
                  </a:lnTo>
                  <a:lnTo>
                    <a:pt x="901" y="95"/>
                  </a:lnTo>
                  <a:lnTo>
                    <a:pt x="898" y="91"/>
                  </a:lnTo>
                  <a:lnTo>
                    <a:pt x="894" y="84"/>
                  </a:lnTo>
                  <a:lnTo>
                    <a:pt x="891" y="76"/>
                  </a:lnTo>
                  <a:lnTo>
                    <a:pt x="883" y="55"/>
                  </a:lnTo>
                  <a:lnTo>
                    <a:pt x="880" y="44"/>
                  </a:lnTo>
                  <a:lnTo>
                    <a:pt x="876" y="37"/>
                  </a:lnTo>
                  <a:lnTo>
                    <a:pt x="874" y="33"/>
                  </a:lnTo>
                  <a:lnTo>
                    <a:pt x="871" y="29"/>
                  </a:lnTo>
                  <a:lnTo>
                    <a:pt x="867" y="29"/>
                  </a:lnTo>
                  <a:lnTo>
                    <a:pt x="863" y="27"/>
                  </a:lnTo>
                  <a:lnTo>
                    <a:pt x="860" y="29"/>
                  </a:lnTo>
                  <a:lnTo>
                    <a:pt x="854" y="29"/>
                  </a:lnTo>
                  <a:lnTo>
                    <a:pt x="852" y="22"/>
                  </a:lnTo>
                  <a:lnTo>
                    <a:pt x="849" y="24"/>
                  </a:lnTo>
                  <a:lnTo>
                    <a:pt x="843" y="22"/>
                  </a:lnTo>
                  <a:lnTo>
                    <a:pt x="842" y="20"/>
                  </a:lnTo>
                  <a:lnTo>
                    <a:pt x="840" y="20"/>
                  </a:lnTo>
                  <a:lnTo>
                    <a:pt x="836" y="11"/>
                  </a:lnTo>
                  <a:lnTo>
                    <a:pt x="831" y="4"/>
                  </a:lnTo>
                  <a:lnTo>
                    <a:pt x="827" y="0"/>
                  </a:lnTo>
                  <a:lnTo>
                    <a:pt x="822" y="0"/>
                  </a:lnTo>
                  <a:close/>
                </a:path>
              </a:pathLst>
            </a:custGeom>
            <a:noFill/>
            <a:ln w="6350">
              <a:solidFill>
                <a:srgbClr val="999999">
                  <a:lumMod val="50000"/>
                </a:srgbClr>
              </a:solidFill>
              <a:round/>
              <a:headEnd/>
              <a:tailEnd/>
            </a:ln>
            <a:extLst>
              <a:ext uri="{909E8E84-426E-40DD-AFC4-6F175D3DCCD1}">
                <a14:hiddenFill xmlns:a14="http://schemas.microsoft.com/office/drawing/2010/main">
                  <a:solidFill>
                    <a:srgbClr val="747480"/>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646464"/>
                </a:solidFill>
                <a:effectLst/>
                <a:uLnTx/>
                <a:uFillTx/>
                <a:cs typeface="Times New Roman" panose="02020603050405020304" pitchFamily="18" charset="0"/>
              </a:endParaRPr>
            </a:p>
          </p:txBody>
        </p:sp>
        <p:sp>
          <p:nvSpPr>
            <p:cNvPr id="39" name="Line 71">
              <a:extLst>
                <a:ext uri="{FF2B5EF4-FFF2-40B4-BE49-F238E27FC236}">
                  <a16:creationId xmlns:a16="http://schemas.microsoft.com/office/drawing/2014/main" id="{15F408DB-5B84-BF73-9A0E-A3799B3A2DA3}"/>
                </a:ext>
              </a:extLst>
            </p:cNvPr>
            <p:cNvSpPr>
              <a:spLocks noChangeShapeType="1"/>
            </p:cNvSpPr>
            <p:nvPr/>
          </p:nvSpPr>
          <p:spPr bwMode="auto">
            <a:xfrm>
              <a:off x="6541548" y="4530599"/>
              <a:ext cx="915" cy="894"/>
            </a:xfrm>
            <a:prstGeom prst="line">
              <a:avLst/>
            </a:prstGeom>
            <a:solidFill>
              <a:srgbClr val="C0C0C0"/>
            </a:solidFill>
            <a:ln w="6350">
              <a:solidFill>
                <a:srgbClr val="999999">
                  <a:lumMod val="5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646464"/>
                </a:solidFill>
                <a:effectLst/>
                <a:uLnTx/>
                <a:uFillTx/>
                <a:cs typeface="Times New Roman" panose="02020603050405020304" pitchFamily="18" charset="0"/>
              </a:endParaRPr>
            </a:p>
          </p:txBody>
        </p:sp>
        <p:sp>
          <p:nvSpPr>
            <p:cNvPr id="40" name="Freeform 72">
              <a:extLst>
                <a:ext uri="{FF2B5EF4-FFF2-40B4-BE49-F238E27FC236}">
                  <a16:creationId xmlns:a16="http://schemas.microsoft.com/office/drawing/2014/main" id="{DF4DD790-4CE8-5870-C8A3-3FB69E138133}"/>
                </a:ext>
              </a:extLst>
            </p:cNvPr>
            <p:cNvSpPr>
              <a:spLocks/>
            </p:cNvSpPr>
            <p:nvPr/>
          </p:nvSpPr>
          <p:spPr bwMode="auto">
            <a:xfrm>
              <a:off x="4844603" y="3830642"/>
              <a:ext cx="522912" cy="541238"/>
            </a:xfrm>
            <a:custGeom>
              <a:avLst/>
              <a:gdLst/>
              <a:ahLst/>
              <a:cxnLst>
                <a:cxn ang="0">
                  <a:pos x="5" y="14"/>
                </a:cxn>
                <a:cxn ang="0">
                  <a:pos x="16" y="105"/>
                </a:cxn>
                <a:cxn ang="0">
                  <a:pos x="31" y="237"/>
                </a:cxn>
                <a:cxn ang="0">
                  <a:pos x="61" y="330"/>
                </a:cxn>
                <a:cxn ang="0">
                  <a:pos x="65" y="504"/>
                </a:cxn>
                <a:cxn ang="0">
                  <a:pos x="103" y="639"/>
                </a:cxn>
                <a:cxn ang="0">
                  <a:pos x="96" y="691"/>
                </a:cxn>
                <a:cxn ang="0">
                  <a:pos x="72" y="729"/>
                </a:cxn>
                <a:cxn ang="0">
                  <a:pos x="72" y="778"/>
                </a:cxn>
                <a:cxn ang="0">
                  <a:pos x="107" y="796"/>
                </a:cxn>
                <a:cxn ang="0">
                  <a:pos x="119" y="847"/>
                </a:cxn>
                <a:cxn ang="0">
                  <a:pos x="121" y="1212"/>
                </a:cxn>
                <a:cxn ang="0">
                  <a:pos x="724" y="1203"/>
                </a:cxn>
                <a:cxn ang="0">
                  <a:pos x="945" y="1134"/>
                </a:cxn>
                <a:cxn ang="0">
                  <a:pos x="891" y="1074"/>
                </a:cxn>
                <a:cxn ang="0">
                  <a:pos x="818" y="1003"/>
                </a:cxn>
                <a:cxn ang="0">
                  <a:pos x="764" y="976"/>
                </a:cxn>
                <a:cxn ang="0">
                  <a:pos x="711" y="938"/>
                </a:cxn>
                <a:cxn ang="0">
                  <a:pos x="700" y="871"/>
                </a:cxn>
                <a:cxn ang="0">
                  <a:pos x="702" y="776"/>
                </a:cxn>
                <a:cxn ang="0">
                  <a:pos x="682" y="751"/>
                </a:cxn>
                <a:cxn ang="0">
                  <a:pos x="693" y="697"/>
                </a:cxn>
                <a:cxn ang="0">
                  <a:pos x="756" y="637"/>
                </a:cxn>
                <a:cxn ang="0">
                  <a:pos x="767" y="588"/>
                </a:cxn>
                <a:cxn ang="0">
                  <a:pos x="769" y="504"/>
                </a:cxn>
                <a:cxn ang="0">
                  <a:pos x="785" y="472"/>
                </a:cxn>
                <a:cxn ang="0">
                  <a:pos x="849" y="421"/>
                </a:cxn>
                <a:cxn ang="0">
                  <a:pos x="967" y="297"/>
                </a:cxn>
                <a:cxn ang="0">
                  <a:pos x="1096" y="225"/>
                </a:cxn>
                <a:cxn ang="0">
                  <a:pos x="1143" y="192"/>
                </a:cxn>
                <a:cxn ang="0">
                  <a:pos x="1117" y="190"/>
                </a:cxn>
                <a:cxn ang="0">
                  <a:pos x="1090" y="178"/>
                </a:cxn>
                <a:cxn ang="0">
                  <a:pos x="1034" y="174"/>
                </a:cxn>
                <a:cxn ang="0">
                  <a:pos x="992" y="174"/>
                </a:cxn>
                <a:cxn ang="0">
                  <a:pos x="972" y="159"/>
                </a:cxn>
                <a:cxn ang="0">
                  <a:pos x="947" y="152"/>
                </a:cxn>
                <a:cxn ang="0">
                  <a:pos x="880" y="190"/>
                </a:cxn>
                <a:cxn ang="0">
                  <a:pos x="834" y="174"/>
                </a:cxn>
                <a:cxn ang="0">
                  <a:pos x="778" y="140"/>
                </a:cxn>
                <a:cxn ang="0">
                  <a:pos x="749" y="130"/>
                </a:cxn>
                <a:cxn ang="0">
                  <a:pos x="745" y="159"/>
                </a:cxn>
                <a:cxn ang="0">
                  <a:pos x="720" y="130"/>
                </a:cxn>
                <a:cxn ang="0">
                  <a:pos x="686" y="109"/>
                </a:cxn>
                <a:cxn ang="0">
                  <a:pos x="658" y="80"/>
                </a:cxn>
                <a:cxn ang="0">
                  <a:pos x="589" y="76"/>
                </a:cxn>
                <a:cxn ang="0">
                  <a:pos x="555" y="98"/>
                </a:cxn>
                <a:cxn ang="0">
                  <a:pos x="519" y="87"/>
                </a:cxn>
                <a:cxn ang="0">
                  <a:pos x="481" y="78"/>
                </a:cxn>
                <a:cxn ang="0">
                  <a:pos x="412" y="58"/>
                </a:cxn>
                <a:cxn ang="0">
                  <a:pos x="388" y="45"/>
                </a:cxn>
                <a:cxn ang="0">
                  <a:pos x="364" y="31"/>
                </a:cxn>
                <a:cxn ang="0">
                  <a:pos x="352" y="5"/>
                </a:cxn>
                <a:cxn ang="0">
                  <a:pos x="324" y="18"/>
                </a:cxn>
                <a:cxn ang="0">
                  <a:pos x="295" y="20"/>
                </a:cxn>
                <a:cxn ang="0">
                  <a:pos x="154" y="2"/>
                </a:cxn>
              </a:cxnLst>
              <a:rect l="0" t="0" r="r" b="b"/>
              <a:pathLst>
                <a:path w="1143" h="1212">
                  <a:moveTo>
                    <a:pt x="14" y="0"/>
                  </a:moveTo>
                  <a:lnTo>
                    <a:pt x="12" y="0"/>
                  </a:lnTo>
                  <a:lnTo>
                    <a:pt x="7" y="0"/>
                  </a:lnTo>
                  <a:lnTo>
                    <a:pt x="1" y="0"/>
                  </a:lnTo>
                  <a:lnTo>
                    <a:pt x="0" y="0"/>
                  </a:lnTo>
                  <a:lnTo>
                    <a:pt x="5" y="12"/>
                  </a:lnTo>
                  <a:lnTo>
                    <a:pt x="5" y="14"/>
                  </a:lnTo>
                  <a:lnTo>
                    <a:pt x="11" y="25"/>
                  </a:lnTo>
                  <a:lnTo>
                    <a:pt x="18" y="47"/>
                  </a:lnTo>
                  <a:lnTo>
                    <a:pt x="20" y="54"/>
                  </a:lnTo>
                  <a:lnTo>
                    <a:pt x="21" y="65"/>
                  </a:lnTo>
                  <a:lnTo>
                    <a:pt x="21" y="72"/>
                  </a:lnTo>
                  <a:lnTo>
                    <a:pt x="20" y="81"/>
                  </a:lnTo>
                  <a:lnTo>
                    <a:pt x="16" y="105"/>
                  </a:lnTo>
                  <a:lnTo>
                    <a:pt x="16" y="127"/>
                  </a:lnTo>
                  <a:lnTo>
                    <a:pt x="16" y="150"/>
                  </a:lnTo>
                  <a:lnTo>
                    <a:pt x="18" y="174"/>
                  </a:lnTo>
                  <a:lnTo>
                    <a:pt x="21" y="198"/>
                  </a:lnTo>
                  <a:lnTo>
                    <a:pt x="25" y="219"/>
                  </a:lnTo>
                  <a:lnTo>
                    <a:pt x="29" y="228"/>
                  </a:lnTo>
                  <a:lnTo>
                    <a:pt x="31" y="237"/>
                  </a:lnTo>
                  <a:lnTo>
                    <a:pt x="38" y="254"/>
                  </a:lnTo>
                  <a:lnTo>
                    <a:pt x="47" y="270"/>
                  </a:lnTo>
                  <a:lnTo>
                    <a:pt x="54" y="286"/>
                  </a:lnTo>
                  <a:lnTo>
                    <a:pt x="58" y="297"/>
                  </a:lnTo>
                  <a:lnTo>
                    <a:pt x="61" y="308"/>
                  </a:lnTo>
                  <a:lnTo>
                    <a:pt x="61" y="319"/>
                  </a:lnTo>
                  <a:lnTo>
                    <a:pt x="61" y="330"/>
                  </a:lnTo>
                  <a:lnTo>
                    <a:pt x="61" y="346"/>
                  </a:lnTo>
                  <a:lnTo>
                    <a:pt x="61" y="361"/>
                  </a:lnTo>
                  <a:lnTo>
                    <a:pt x="60" y="390"/>
                  </a:lnTo>
                  <a:lnTo>
                    <a:pt x="60" y="412"/>
                  </a:lnTo>
                  <a:lnTo>
                    <a:pt x="60" y="433"/>
                  </a:lnTo>
                  <a:lnTo>
                    <a:pt x="63" y="481"/>
                  </a:lnTo>
                  <a:lnTo>
                    <a:pt x="65" y="504"/>
                  </a:lnTo>
                  <a:lnTo>
                    <a:pt x="69" y="526"/>
                  </a:lnTo>
                  <a:lnTo>
                    <a:pt x="74" y="548"/>
                  </a:lnTo>
                  <a:lnTo>
                    <a:pt x="80" y="570"/>
                  </a:lnTo>
                  <a:lnTo>
                    <a:pt x="87" y="588"/>
                  </a:lnTo>
                  <a:lnTo>
                    <a:pt x="96" y="608"/>
                  </a:lnTo>
                  <a:lnTo>
                    <a:pt x="101" y="629"/>
                  </a:lnTo>
                  <a:lnTo>
                    <a:pt x="103" y="639"/>
                  </a:lnTo>
                  <a:lnTo>
                    <a:pt x="103" y="649"/>
                  </a:lnTo>
                  <a:lnTo>
                    <a:pt x="103" y="662"/>
                  </a:lnTo>
                  <a:lnTo>
                    <a:pt x="101" y="668"/>
                  </a:lnTo>
                  <a:lnTo>
                    <a:pt x="99" y="673"/>
                  </a:lnTo>
                  <a:lnTo>
                    <a:pt x="98" y="677"/>
                  </a:lnTo>
                  <a:lnTo>
                    <a:pt x="98" y="680"/>
                  </a:lnTo>
                  <a:lnTo>
                    <a:pt x="96" y="691"/>
                  </a:lnTo>
                  <a:lnTo>
                    <a:pt x="96" y="700"/>
                  </a:lnTo>
                  <a:lnTo>
                    <a:pt x="96" y="706"/>
                  </a:lnTo>
                  <a:lnTo>
                    <a:pt x="94" y="709"/>
                  </a:lnTo>
                  <a:lnTo>
                    <a:pt x="89" y="715"/>
                  </a:lnTo>
                  <a:lnTo>
                    <a:pt x="83" y="720"/>
                  </a:lnTo>
                  <a:lnTo>
                    <a:pt x="78" y="726"/>
                  </a:lnTo>
                  <a:lnTo>
                    <a:pt x="72" y="729"/>
                  </a:lnTo>
                  <a:lnTo>
                    <a:pt x="63" y="742"/>
                  </a:lnTo>
                  <a:lnTo>
                    <a:pt x="61" y="746"/>
                  </a:lnTo>
                  <a:lnTo>
                    <a:pt x="61" y="751"/>
                  </a:lnTo>
                  <a:lnTo>
                    <a:pt x="61" y="755"/>
                  </a:lnTo>
                  <a:lnTo>
                    <a:pt x="63" y="760"/>
                  </a:lnTo>
                  <a:lnTo>
                    <a:pt x="69" y="771"/>
                  </a:lnTo>
                  <a:lnTo>
                    <a:pt x="72" y="778"/>
                  </a:lnTo>
                  <a:lnTo>
                    <a:pt x="78" y="782"/>
                  </a:lnTo>
                  <a:lnTo>
                    <a:pt x="80" y="784"/>
                  </a:lnTo>
                  <a:lnTo>
                    <a:pt x="81" y="786"/>
                  </a:lnTo>
                  <a:lnTo>
                    <a:pt x="85" y="787"/>
                  </a:lnTo>
                  <a:lnTo>
                    <a:pt x="96" y="791"/>
                  </a:lnTo>
                  <a:lnTo>
                    <a:pt x="101" y="793"/>
                  </a:lnTo>
                  <a:lnTo>
                    <a:pt x="107" y="796"/>
                  </a:lnTo>
                  <a:lnTo>
                    <a:pt x="110" y="800"/>
                  </a:lnTo>
                  <a:lnTo>
                    <a:pt x="114" y="804"/>
                  </a:lnTo>
                  <a:lnTo>
                    <a:pt x="118" y="815"/>
                  </a:lnTo>
                  <a:lnTo>
                    <a:pt x="119" y="820"/>
                  </a:lnTo>
                  <a:lnTo>
                    <a:pt x="119" y="825"/>
                  </a:lnTo>
                  <a:lnTo>
                    <a:pt x="119" y="836"/>
                  </a:lnTo>
                  <a:lnTo>
                    <a:pt x="119" y="847"/>
                  </a:lnTo>
                  <a:lnTo>
                    <a:pt x="118" y="949"/>
                  </a:lnTo>
                  <a:lnTo>
                    <a:pt x="116" y="1052"/>
                  </a:lnTo>
                  <a:lnTo>
                    <a:pt x="116" y="1089"/>
                  </a:lnTo>
                  <a:lnTo>
                    <a:pt x="119" y="1125"/>
                  </a:lnTo>
                  <a:lnTo>
                    <a:pt x="121" y="1159"/>
                  </a:lnTo>
                  <a:lnTo>
                    <a:pt x="121" y="1192"/>
                  </a:lnTo>
                  <a:lnTo>
                    <a:pt x="121" y="1212"/>
                  </a:lnTo>
                  <a:lnTo>
                    <a:pt x="134" y="1212"/>
                  </a:lnTo>
                  <a:lnTo>
                    <a:pt x="183" y="1212"/>
                  </a:lnTo>
                  <a:lnTo>
                    <a:pt x="272" y="1212"/>
                  </a:lnTo>
                  <a:lnTo>
                    <a:pt x="370" y="1210"/>
                  </a:lnTo>
                  <a:lnTo>
                    <a:pt x="519" y="1208"/>
                  </a:lnTo>
                  <a:lnTo>
                    <a:pt x="600" y="1207"/>
                  </a:lnTo>
                  <a:lnTo>
                    <a:pt x="724" y="1203"/>
                  </a:lnTo>
                  <a:lnTo>
                    <a:pt x="936" y="1196"/>
                  </a:lnTo>
                  <a:lnTo>
                    <a:pt x="949" y="1196"/>
                  </a:lnTo>
                  <a:lnTo>
                    <a:pt x="949" y="1185"/>
                  </a:lnTo>
                  <a:lnTo>
                    <a:pt x="949" y="1181"/>
                  </a:lnTo>
                  <a:lnTo>
                    <a:pt x="949" y="1158"/>
                  </a:lnTo>
                  <a:lnTo>
                    <a:pt x="949" y="1143"/>
                  </a:lnTo>
                  <a:lnTo>
                    <a:pt x="945" y="1134"/>
                  </a:lnTo>
                  <a:lnTo>
                    <a:pt x="941" y="1127"/>
                  </a:lnTo>
                  <a:lnTo>
                    <a:pt x="934" y="1116"/>
                  </a:lnTo>
                  <a:lnTo>
                    <a:pt x="927" y="1105"/>
                  </a:lnTo>
                  <a:lnTo>
                    <a:pt x="918" y="1096"/>
                  </a:lnTo>
                  <a:lnTo>
                    <a:pt x="909" y="1089"/>
                  </a:lnTo>
                  <a:lnTo>
                    <a:pt x="900" y="1081"/>
                  </a:lnTo>
                  <a:lnTo>
                    <a:pt x="891" y="1074"/>
                  </a:lnTo>
                  <a:lnTo>
                    <a:pt x="871" y="1060"/>
                  </a:lnTo>
                  <a:lnTo>
                    <a:pt x="863" y="1054"/>
                  </a:lnTo>
                  <a:lnTo>
                    <a:pt x="856" y="1047"/>
                  </a:lnTo>
                  <a:lnTo>
                    <a:pt x="843" y="1032"/>
                  </a:lnTo>
                  <a:lnTo>
                    <a:pt x="833" y="1018"/>
                  </a:lnTo>
                  <a:lnTo>
                    <a:pt x="825" y="1011"/>
                  </a:lnTo>
                  <a:lnTo>
                    <a:pt x="818" y="1003"/>
                  </a:lnTo>
                  <a:lnTo>
                    <a:pt x="809" y="998"/>
                  </a:lnTo>
                  <a:lnTo>
                    <a:pt x="800" y="994"/>
                  </a:lnTo>
                  <a:lnTo>
                    <a:pt x="791" y="989"/>
                  </a:lnTo>
                  <a:lnTo>
                    <a:pt x="787" y="987"/>
                  </a:lnTo>
                  <a:lnTo>
                    <a:pt x="782" y="983"/>
                  </a:lnTo>
                  <a:lnTo>
                    <a:pt x="775" y="980"/>
                  </a:lnTo>
                  <a:lnTo>
                    <a:pt x="764" y="976"/>
                  </a:lnTo>
                  <a:lnTo>
                    <a:pt x="753" y="971"/>
                  </a:lnTo>
                  <a:lnTo>
                    <a:pt x="745" y="967"/>
                  </a:lnTo>
                  <a:lnTo>
                    <a:pt x="729" y="958"/>
                  </a:lnTo>
                  <a:lnTo>
                    <a:pt x="724" y="954"/>
                  </a:lnTo>
                  <a:lnTo>
                    <a:pt x="718" y="949"/>
                  </a:lnTo>
                  <a:lnTo>
                    <a:pt x="715" y="945"/>
                  </a:lnTo>
                  <a:lnTo>
                    <a:pt x="711" y="938"/>
                  </a:lnTo>
                  <a:lnTo>
                    <a:pt x="702" y="920"/>
                  </a:lnTo>
                  <a:lnTo>
                    <a:pt x="698" y="914"/>
                  </a:lnTo>
                  <a:lnTo>
                    <a:pt x="698" y="909"/>
                  </a:lnTo>
                  <a:lnTo>
                    <a:pt x="696" y="904"/>
                  </a:lnTo>
                  <a:lnTo>
                    <a:pt x="696" y="898"/>
                  </a:lnTo>
                  <a:lnTo>
                    <a:pt x="698" y="884"/>
                  </a:lnTo>
                  <a:lnTo>
                    <a:pt x="700" y="871"/>
                  </a:lnTo>
                  <a:lnTo>
                    <a:pt x="702" y="858"/>
                  </a:lnTo>
                  <a:lnTo>
                    <a:pt x="704" y="851"/>
                  </a:lnTo>
                  <a:lnTo>
                    <a:pt x="704" y="844"/>
                  </a:lnTo>
                  <a:lnTo>
                    <a:pt x="704" y="824"/>
                  </a:lnTo>
                  <a:lnTo>
                    <a:pt x="706" y="802"/>
                  </a:lnTo>
                  <a:lnTo>
                    <a:pt x="704" y="787"/>
                  </a:lnTo>
                  <a:lnTo>
                    <a:pt x="702" y="776"/>
                  </a:lnTo>
                  <a:lnTo>
                    <a:pt x="700" y="769"/>
                  </a:lnTo>
                  <a:lnTo>
                    <a:pt x="696" y="764"/>
                  </a:lnTo>
                  <a:lnTo>
                    <a:pt x="693" y="760"/>
                  </a:lnTo>
                  <a:lnTo>
                    <a:pt x="689" y="758"/>
                  </a:lnTo>
                  <a:lnTo>
                    <a:pt x="686" y="755"/>
                  </a:lnTo>
                  <a:lnTo>
                    <a:pt x="684" y="753"/>
                  </a:lnTo>
                  <a:lnTo>
                    <a:pt x="682" y="751"/>
                  </a:lnTo>
                  <a:lnTo>
                    <a:pt x="680" y="746"/>
                  </a:lnTo>
                  <a:lnTo>
                    <a:pt x="680" y="738"/>
                  </a:lnTo>
                  <a:lnTo>
                    <a:pt x="680" y="735"/>
                  </a:lnTo>
                  <a:lnTo>
                    <a:pt x="682" y="724"/>
                  </a:lnTo>
                  <a:lnTo>
                    <a:pt x="684" y="715"/>
                  </a:lnTo>
                  <a:lnTo>
                    <a:pt x="689" y="706"/>
                  </a:lnTo>
                  <a:lnTo>
                    <a:pt x="693" y="697"/>
                  </a:lnTo>
                  <a:lnTo>
                    <a:pt x="700" y="689"/>
                  </a:lnTo>
                  <a:lnTo>
                    <a:pt x="706" y="682"/>
                  </a:lnTo>
                  <a:lnTo>
                    <a:pt x="720" y="668"/>
                  </a:lnTo>
                  <a:lnTo>
                    <a:pt x="735" y="657"/>
                  </a:lnTo>
                  <a:lnTo>
                    <a:pt x="742" y="649"/>
                  </a:lnTo>
                  <a:lnTo>
                    <a:pt x="749" y="644"/>
                  </a:lnTo>
                  <a:lnTo>
                    <a:pt x="756" y="637"/>
                  </a:lnTo>
                  <a:lnTo>
                    <a:pt x="762" y="629"/>
                  </a:lnTo>
                  <a:lnTo>
                    <a:pt x="765" y="626"/>
                  </a:lnTo>
                  <a:lnTo>
                    <a:pt x="765" y="620"/>
                  </a:lnTo>
                  <a:lnTo>
                    <a:pt x="767" y="617"/>
                  </a:lnTo>
                  <a:lnTo>
                    <a:pt x="767" y="611"/>
                  </a:lnTo>
                  <a:lnTo>
                    <a:pt x="769" y="606"/>
                  </a:lnTo>
                  <a:lnTo>
                    <a:pt x="767" y="588"/>
                  </a:lnTo>
                  <a:lnTo>
                    <a:pt x="765" y="570"/>
                  </a:lnTo>
                  <a:lnTo>
                    <a:pt x="762" y="551"/>
                  </a:lnTo>
                  <a:lnTo>
                    <a:pt x="762" y="535"/>
                  </a:lnTo>
                  <a:lnTo>
                    <a:pt x="762" y="522"/>
                  </a:lnTo>
                  <a:lnTo>
                    <a:pt x="764" y="515"/>
                  </a:lnTo>
                  <a:lnTo>
                    <a:pt x="765" y="510"/>
                  </a:lnTo>
                  <a:lnTo>
                    <a:pt x="769" y="504"/>
                  </a:lnTo>
                  <a:lnTo>
                    <a:pt x="773" y="499"/>
                  </a:lnTo>
                  <a:lnTo>
                    <a:pt x="778" y="493"/>
                  </a:lnTo>
                  <a:lnTo>
                    <a:pt x="784" y="490"/>
                  </a:lnTo>
                  <a:lnTo>
                    <a:pt x="784" y="486"/>
                  </a:lnTo>
                  <a:lnTo>
                    <a:pt x="782" y="482"/>
                  </a:lnTo>
                  <a:lnTo>
                    <a:pt x="784" y="477"/>
                  </a:lnTo>
                  <a:lnTo>
                    <a:pt x="785" y="472"/>
                  </a:lnTo>
                  <a:lnTo>
                    <a:pt x="791" y="468"/>
                  </a:lnTo>
                  <a:lnTo>
                    <a:pt x="794" y="464"/>
                  </a:lnTo>
                  <a:lnTo>
                    <a:pt x="805" y="457"/>
                  </a:lnTo>
                  <a:lnTo>
                    <a:pt x="811" y="453"/>
                  </a:lnTo>
                  <a:lnTo>
                    <a:pt x="814" y="450"/>
                  </a:lnTo>
                  <a:lnTo>
                    <a:pt x="833" y="435"/>
                  </a:lnTo>
                  <a:lnTo>
                    <a:pt x="849" y="421"/>
                  </a:lnTo>
                  <a:lnTo>
                    <a:pt x="865" y="404"/>
                  </a:lnTo>
                  <a:lnTo>
                    <a:pt x="880" y="390"/>
                  </a:lnTo>
                  <a:lnTo>
                    <a:pt x="911" y="355"/>
                  </a:lnTo>
                  <a:lnTo>
                    <a:pt x="940" y="323"/>
                  </a:lnTo>
                  <a:lnTo>
                    <a:pt x="947" y="316"/>
                  </a:lnTo>
                  <a:lnTo>
                    <a:pt x="952" y="310"/>
                  </a:lnTo>
                  <a:lnTo>
                    <a:pt x="967" y="297"/>
                  </a:lnTo>
                  <a:lnTo>
                    <a:pt x="981" y="286"/>
                  </a:lnTo>
                  <a:lnTo>
                    <a:pt x="996" y="276"/>
                  </a:lnTo>
                  <a:lnTo>
                    <a:pt x="1012" y="267"/>
                  </a:lnTo>
                  <a:lnTo>
                    <a:pt x="1029" y="257"/>
                  </a:lnTo>
                  <a:lnTo>
                    <a:pt x="1061" y="239"/>
                  </a:lnTo>
                  <a:lnTo>
                    <a:pt x="1079" y="232"/>
                  </a:lnTo>
                  <a:lnTo>
                    <a:pt x="1096" y="225"/>
                  </a:lnTo>
                  <a:lnTo>
                    <a:pt x="1114" y="216"/>
                  </a:lnTo>
                  <a:lnTo>
                    <a:pt x="1121" y="212"/>
                  </a:lnTo>
                  <a:lnTo>
                    <a:pt x="1130" y="207"/>
                  </a:lnTo>
                  <a:lnTo>
                    <a:pt x="1136" y="201"/>
                  </a:lnTo>
                  <a:lnTo>
                    <a:pt x="1139" y="198"/>
                  </a:lnTo>
                  <a:lnTo>
                    <a:pt x="1141" y="194"/>
                  </a:lnTo>
                  <a:lnTo>
                    <a:pt x="1143" y="192"/>
                  </a:lnTo>
                  <a:lnTo>
                    <a:pt x="1141" y="189"/>
                  </a:lnTo>
                  <a:lnTo>
                    <a:pt x="1139" y="187"/>
                  </a:lnTo>
                  <a:lnTo>
                    <a:pt x="1137" y="185"/>
                  </a:lnTo>
                  <a:lnTo>
                    <a:pt x="1132" y="185"/>
                  </a:lnTo>
                  <a:lnTo>
                    <a:pt x="1128" y="185"/>
                  </a:lnTo>
                  <a:lnTo>
                    <a:pt x="1123" y="189"/>
                  </a:lnTo>
                  <a:lnTo>
                    <a:pt x="1117" y="190"/>
                  </a:lnTo>
                  <a:lnTo>
                    <a:pt x="1114" y="192"/>
                  </a:lnTo>
                  <a:lnTo>
                    <a:pt x="1110" y="194"/>
                  </a:lnTo>
                  <a:lnTo>
                    <a:pt x="1105" y="192"/>
                  </a:lnTo>
                  <a:lnTo>
                    <a:pt x="1101" y="190"/>
                  </a:lnTo>
                  <a:lnTo>
                    <a:pt x="1098" y="189"/>
                  </a:lnTo>
                  <a:lnTo>
                    <a:pt x="1094" y="183"/>
                  </a:lnTo>
                  <a:lnTo>
                    <a:pt x="1090" y="178"/>
                  </a:lnTo>
                  <a:lnTo>
                    <a:pt x="1087" y="176"/>
                  </a:lnTo>
                  <a:lnTo>
                    <a:pt x="1083" y="174"/>
                  </a:lnTo>
                  <a:lnTo>
                    <a:pt x="1074" y="174"/>
                  </a:lnTo>
                  <a:lnTo>
                    <a:pt x="1059" y="174"/>
                  </a:lnTo>
                  <a:lnTo>
                    <a:pt x="1045" y="176"/>
                  </a:lnTo>
                  <a:lnTo>
                    <a:pt x="1039" y="176"/>
                  </a:lnTo>
                  <a:lnTo>
                    <a:pt x="1034" y="174"/>
                  </a:lnTo>
                  <a:lnTo>
                    <a:pt x="1027" y="172"/>
                  </a:lnTo>
                  <a:lnTo>
                    <a:pt x="1021" y="170"/>
                  </a:lnTo>
                  <a:lnTo>
                    <a:pt x="1014" y="170"/>
                  </a:lnTo>
                  <a:lnTo>
                    <a:pt x="1012" y="170"/>
                  </a:lnTo>
                  <a:lnTo>
                    <a:pt x="1007" y="170"/>
                  </a:lnTo>
                  <a:lnTo>
                    <a:pt x="1000" y="172"/>
                  </a:lnTo>
                  <a:lnTo>
                    <a:pt x="992" y="174"/>
                  </a:lnTo>
                  <a:lnTo>
                    <a:pt x="987" y="176"/>
                  </a:lnTo>
                  <a:lnTo>
                    <a:pt x="983" y="174"/>
                  </a:lnTo>
                  <a:lnTo>
                    <a:pt x="980" y="174"/>
                  </a:lnTo>
                  <a:lnTo>
                    <a:pt x="976" y="170"/>
                  </a:lnTo>
                  <a:lnTo>
                    <a:pt x="974" y="167"/>
                  </a:lnTo>
                  <a:lnTo>
                    <a:pt x="972" y="163"/>
                  </a:lnTo>
                  <a:lnTo>
                    <a:pt x="972" y="159"/>
                  </a:lnTo>
                  <a:lnTo>
                    <a:pt x="972" y="156"/>
                  </a:lnTo>
                  <a:lnTo>
                    <a:pt x="971" y="152"/>
                  </a:lnTo>
                  <a:lnTo>
                    <a:pt x="967" y="150"/>
                  </a:lnTo>
                  <a:lnTo>
                    <a:pt x="961" y="149"/>
                  </a:lnTo>
                  <a:lnTo>
                    <a:pt x="960" y="149"/>
                  </a:lnTo>
                  <a:lnTo>
                    <a:pt x="954" y="149"/>
                  </a:lnTo>
                  <a:lnTo>
                    <a:pt x="947" y="152"/>
                  </a:lnTo>
                  <a:lnTo>
                    <a:pt x="932" y="158"/>
                  </a:lnTo>
                  <a:lnTo>
                    <a:pt x="920" y="165"/>
                  </a:lnTo>
                  <a:lnTo>
                    <a:pt x="909" y="172"/>
                  </a:lnTo>
                  <a:lnTo>
                    <a:pt x="903" y="176"/>
                  </a:lnTo>
                  <a:lnTo>
                    <a:pt x="896" y="183"/>
                  </a:lnTo>
                  <a:lnTo>
                    <a:pt x="887" y="187"/>
                  </a:lnTo>
                  <a:lnTo>
                    <a:pt x="880" y="190"/>
                  </a:lnTo>
                  <a:lnTo>
                    <a:pt x="878" y="190"/>
                  </a:lnTo>
                  <a:lnTo>
                    <a:pt x="874" y="190"/>
                  </a:lnTo>
                  <a:lnTo>
                    <a:pt x="871" y="189"/>
                  </a:lnTo>
                  <a:lnTo>
                    <a:pt x="863" y="183"/>
                  </a:lnTo>
                  <a:lnTo>
                    <a:pt x="854" y="179"/>
                  </a:lnTo>
                  <a:lnTo>
                    <a:pt x="845" y="176"/>
                  </a:lnTo>
                  <a:lnTo>
                    <a:pt x="834" y="174"/>
                  </a:lnTo>
                  <a:lnTo>
                    <a:pt x="825" y="169"/>
                  </a:lnTo>
                  <a:lnTo>
                    <a:pt x="818" y="165"/>
                  </a:lnTo>
                  <a:lnTo>
                    <a:pt x="811" y="159"/>
                  </a:lnTo>
                  <a:lnTo>
                    <a:pt x="798" y="149"/>
                  </a:lnTo>
                  <a:lnTo>
                    <a:pt x="787" y="143"/>
                  </a:lnTo>
                  <a:lnTo>
                    <a:pt x="782" y="141"/>
                  </a:lnTo>
                  <a:lnTo>
                    <a:pt x="778" y="140"/>
                  </a:lnTo>
                  <a:lnTo>
                    <a:pt x="773" y="132"/>
                  </a:lnTo>
                  <a:lnTo>
                    <a:pt x="769" y="130"/>
                  </a:lnTo>
                  <a:lnTo>
                    <a:pt x="765" y="129"/>
                  </a:lnTo>
                  <a:lnTo>
                    <a:pt x="760" y="129"/>
                  </a:lnTo>
                  <a:lnTo>
                    <a:pt x="758" y="127"/>
                  </a:lnTo>
                  <a:lnTo>
                    <a:pt x="753" y="129"/>
                  </a:lnTo>
                  <a:lnTo>
                    <a:pt x="749" y="130"/>
                  </a:lnTo>
                  <a:lnTo>
                    <a:pt x="749" y="132"/>
                  </a:lnTo>
                  <a:lnTo>
                    <a:pt x="747" y="134"/>
                  </a:lnTo>
                  <a:lnTo>
                    <a:pt x="747" y="140"/>
                  </a:lnTo>
                  <a:lnTo>
                    <a:pt x="749" y="152"/>
                  </a:lnTo>
                  <a:lnTo>
                    <a:pt x="747" y="154"/>
                  </a:lnTo>
                  <a:lnTo>
                    <a:pt x="747" y="158"/>
                  </a:lnTo>
                  <a:lnTo>
                    <a:pt x="745" y="159"/>
                  </a:lnTo>
                  <a:lnTo>
                    <a:pt x="744" y="161"/>
                  </a:lnTo>
                  <a:lnTo>
                    <a:pt x="740" y="161"/>
                  </a:lnTo>
                  <a:lnTo>
                    <a:pt x="736" y="161"/>
                  </a:lnTo>
                  <a:lnTo>
                    <a:pt x="733" y="156"/>
                  </a:lnTo>
                  <a:lnTo>
                    <a:pt x="729" y="150"/>
                  </a:lnTo>
                  <a:lnTo>
                    <a:pt x="726" y="145"/>
                  </a:lnTo>
                  <a:lnTo>
                    <a:pt x="720" y="130"/>
                  </a:lnTo>
                  <a:lnTo>
                    <a:pt x="718" y="121"/>
                  </a:lnTo>
                  <a:lnTo>
                    <a:pt x="715" y="118"/>
                  </a:lnTo>
                  <a:lnTo>
                    <a:pt x="713" y="114"/>
                  </a:lnTo>
                  <a:lnTo>
                    <a:pt x="709" y="112"/>
                  </a:lnTo>
                  <a:lnTo>
                    <a:pt x="704" y="110"/>
                  </a:lnTo>
                  <a:lnTo>
                    <a:pt x="695" y="109"/>
                  </a:lnTo>
                  <a:lnTo>
                    <a:pt x="686" y="109"/>
                  </a:lnTo>
                  <a:lnTo>
                    <a:pt x="686" y="107"/>
                  </a:lnTo>
                  <a:lnTo>
                    <a:pt x="686" y="103"/>
                  </a:lnTo>
                  <a:lnTo>
                    <a:pt x="687" y="100"/>
                  </a:lnTo>
                  <a:lnTo>
                    <a:pt x="687" y="96"/>
                  </a:lnTo>
                  <a:lnTo>
                    <a:pt x="687" y="94"/>
                  </a:lnTo>
                  <a:lnTo>
                    <a:pt x="682" y="91"/>
                  </a:lnTo>
                  <a:lnTo>
                    <a:pt x="658" y="80"/>
                  </a:lnTo>
                  <a:lnTo>
                    <a:pt x="649" y="74"/>
                  </a:lnTo>
                  <a:lnTo>
                    <a:pt x="640" y="72"/>
                  </a:lnTo>
                  <a:lnTo>
                    <a:pt x="633" y="71"/>
                  </a:lnTo>
                  <a:lnTo>
                    <a:pt x="624" y="71"/>
                  </a:lnTo>
                  <a:lnTo>
                    <a:pt x="611" y="72"/>
                  </a:lnTo>
                  <a:lnTo>
                    <a:pt x="599" y="74"/>
                  </a:lnTo>
                  <a:lnTo>
                    <a:pt x="589" y="76"/>
                  </a:lnTo>
                  <a:lnTo>
                    <a:pt x="580" y="78"/>
                  </a:lnTo>
                  <a:lnTo>
                    <a:pt x="573" y="81"/>
                  </a:lnTo>
                  <a:lnTo>
                    <a:pt x="571" y="83"/>
                  </a:lnTo>
                  <a:lnTo>
                    <a:pt x="568" y="87"/>
                  </a:lnTo>
                  <a:lnTo>
                    <a:pt x="564" y="91"/>
                  </a:lnTo>
                  <a:lnTo>
                    <a:pt x="560" y="96"/>
                  </a:lnTo>
                  <a:lnTo>
                    <a:pt x="555" y="98"/>
                  </a:lnTo>
                  <a:lnTo>
                    <a:pt x="548" y="101"/>
                  </a:lnTo>
                  <a:lnTo>
                    <a:pt x="539" y="101"/>
                  </a:lnTo>
                  <a:lnTo>
                    <a:pt x="531" y="101"/>
                  </a:lnTo>
                  <a:lnTo>
                    <a:pt x="524" y="98"/>
                  </a:lnTo>
                  <a:lnTo>
                    <a:pt x="520" y="94"/>
                  </a:lnTo>
                  <a:lnTo>
                    <a:pt x="519" y="92"/>
                  </a:lnTo>
                  <a:lnTo>
                    <a:pt x="519" y="87"/>
                  </a:lnTo>
                  <a:lnTo>
                    <a:pt x="519" y="85"/>
                  </a:lnTo>
                  <a:lnTo>
                    <a:pt x="517" y="83"/>
                  </a:lnTo>
                  <a:lnTo>
                    <a:pt x="513" y="81"/>
                  </a:lnTo>
                  <a:lnTo>
                    <a:pt x="510" y="80"/>
                  </a:lnTo>
                  <a:lnTo>
                    <a:pt x="499" y="80"/>
                  </a:lnTo>
                  <a:lnTo>
                    <a:pt x="490" y="80"/>
                  </a:lnTo>
                  <a:lnTo>
                    <a:pt x="481" y="78"/>
                  </a:lnTo>
                  <a:lnTo>
                    <a:pt x="470" y="74"/>
                  </a:lnTo>
                  <a:lnTo>
                    <a:pt x="462" y="71"/>
                  </a:lnTo>
                  <a:lnTo>
                    <a:pt x="453" y="67"/>
                  </a:lnTo>
                  <a:lnTo>
                    <a:pt x="446" y="63"/>
                  </a:lnTo>
                  <a:lnTo>
                    <a:pt x="437" y="61"/>
                  </a:lnTo>
                  <a:lnTo>
                    <a:pt x="419" y="58"/>
                  </a:lnTo>
                  <a:lnTo>
                    <a:pt x="412" y="58"/>
                  </a:lnTo>
                  <a:lnTo>
                    <a:pt x="406" y="58"/>
                  </a:lnTo>
                  <a:lnTo>
                    <a:pt x="403" y="58"/>
                  </a:lnTo>
                  <a:lnTo>
                    <a:pt x="399" y="58"/>
                  </a:lnTo>
                  <a:lnTo>
                    <a:pt x="395" y="56"/>
                  </a:lnTo>
                  <a:lnTo>
                    <a:pt x="393" y="54"/>
                  </a:lnTo>
                  <a:lnTo>
                    <a:pt x="392" y="52"/>
                  </a:lnTo>
                  <a:lnTo>
                    <a:pt x="388" y="45"/>
                  </a:lnTo>
                  <a:lnTo>
                    <a:pt x="386" y="36"/>
                  </a:lnTo>
                  <a:lnTo>
                    <a:pt x="384" y="34"/>
                  </a:lnTo>
                  <a:lnTo>
                    <a:pt x="383" y="34"/>
                  </a:lnTo>
                  <a:lnTo>
                    <a:pt x="379" y="34"/>
                  </a:lnTo>
                  <a:lnTo>
                    <a:pt x="375" y="36"/>
                  </a:lnTo>
                  <a:lnTo>
                    <a:pt x="373" y="36"/>
                  </a:lnTo>
                  <a:lnTo>
                    <a:pt x="364" y="31"/>
                  </a:lnTo>
                  <a:lnTo>
                    <a:pt x="359" y="27"/>
                  </a:lnTo>
                  <a:lnTo>
                    <a:pt x="357" y="25"/>
                  </a:lnTo>
                  <a:lnTo>
                    <a:pt x="355" y="18"/>
                  </a:lnTo>
                  <a:lnTo>
                    <a:pt x="355" y="12"/>
                  </a:lnTo>
                  <a:lnTo>
                    <a:pt x="354" y="9"/>
                  </a:lnTo>
                  <a:lnTo>
                    <a:pt x="354" y="7"/>
                  </a:lnTo>
                  <a:lnTo>
                    <a:pt x="352" y="5"/>
                  </a:lnTo>
                  <a:lnTo>
                    <a:pt x="350" y="3"/>
                  </a:lnTo>
                  <a:lnTo>
                    <a:pt x="344" y="3"/>
                  </a:lnTo>
                  <a:lnTo>
                    <a:pt x="341" y="3"/>
                  </a:lnTo>
                  <a:lnTo>
                    <a:pt x="337" y="5"/>
                  </a:lnTo>
                  <a:lnTo>
                    <a:pt x="334" y="9"/>
                  </a:lnTo>
                  <a:lnTo>
                    <a:pt x="330" y="11"/>
                  </a:lnTo>
                  <a:lnTo>
                    <a:pt x="324" y="18"/>
                  </a:lnTo>
                  <a:lnTo>
                    <a:pt x="321" y="23"/>
                  </a:lnTo>
                  <a:lnTo>
                    <a:pt x="315" y="27"/>
                  </a:lnTo>
                  <a:lnTo>
                    <a:pt x="310" y="27"/>
                  </a:lnTo>
                  <a:lnTo>
                    <a:pt x="305" y="27"/>
                  </a:lnTo>
                  <a:lnTo>
                    <a:pt x="301" y="25"/>
                  </a:lnTo>
                  <a:lnTo>
                    <a:pt x="299" y="23"/>
                  </a:lnTo>
                  <a:lnTo>
                    <a:pt x="295" y="20"/>
                  </a:lnTo>
                  <a:lnTo>
                    <a:pt x="294" y="16"/>
                  </a:lnTo>
                  <a:lnTo>
                    <a:pt x="294" y="12"/>
                  </a:lnTo>
                  <a:lnTo>
                    <a:pt x="295" y="5"/>
                  </a:lnTo>
                  <a:lnTo>
                    <a:pt x="294" y="3"/>
                  </a:lnTo>
                  <a:lnTo>
                    <a:pt x="292" y="3"/>
                  </a:lnTo>
                  <a:lnTo>
                    <a:pt x="281" y="2"/>
                  </a:lnTo>
                  <a:lnTo>
                    <a:pt x="154" y="2"/>
                  </a:lnTo>
                  <a:lnTo>
                    <a:pt x="80" y="2"/>
                  </a:lnTo>
                  <a:lnTo>
                    <a:pt x="14" y="0"/>
                  </a:lnTo>
                  <a:close/>
                </a:path>
              </a:pathLst>
            </a:custGeom>
            <a:solidFill>
              <a:srgbClr val="2E2E38"/>
            </a:solidFill>
            <a:ln w="3175" cap="flat" cmpd="sng" algn="ctr">
              <a:solidFill>
                <a:srgbClr val="747480"/>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646464"/>
                </a:solidFill>
                <a:effectLst/>
                <a:uLnTx/>
                <a:uFillTx/>
                <a:cs typeface="Times New Roman" panose="02020603050405020304" pitchFamily="18" charset="0"/>
              </a:endParaRPr>
            </a:p>
          </p:txBody>
        </p:sp>
        <p:sp>
          <p:nvSpPr>
            <p:cNvPr id="41" name="Freeform 76">
              <a:extLst>
                <a:ext uri="{FF2B5EF4-FFF2-40B4-BE49-F238E27FC236}">
                  <a16:creationId xmlns:a16="http://schemas.microsoft.com/office/drawing/2014/main" id="{519D53C4-A984-AEF2-103D-36BB9607954E}"/>
                </a:ext>
              </a:extLst>
            </p:cNvPr>
            <p:cNvSpPr>
              <a:spLocks/>
            </p:cNvSpPr>
            <p:nvPr/>
          </p:nvSpPr>
          <p:spPr bwMode="auto">
            <a:xfrm>
              <a:off x="6480190" y="4569831"/>
              <a:ext cx="79673" cy="138207"/>
            </a:xfrm>
            <a:custGeom>
              <a:avLst/>
              <a:gdLst/>
              <a:ahLst/>
              <a:cxnLst>
                <a:cxn ang="0">
                  <a:pos x="54" y="1"/>
                </a:cxn>
                <a:cxn ang="0">
                  <a:pos x="41" y="7"/>
                </a:cxn>
                <a:cxn ang="0">
                  <a:pos x="27" y="14"/>
                </a:cxn>
                <a:cxn ang="0">
                  <a:pos x="16" y="18"/>
                </a:cxn>
                <a:cxn ang="0">
                  <a:pos x="9" y="25"/>
                </a:cxn>
                <a:cxn ang="0">
                  <a:pos x="0" y="41"/>
                </a:cxn>
                <a:cxn ang="0">
                  <a:pos x="109" y="306"/>
                </a:cxn>
                <a:cxn ang="0">
                  <a:pos x="174" y="295"/>
                </a:cxn>
                <a:cxn ang="0">
                  <a:pos x="170" y="274"/>
                </a:cxn>
                <a:cxn ang="0">
                  <a:pos x="167" y="268"/>
                </a:cxn>
                <a:cxn ang="0">
                  <a:pos x="161" y="270"/>
                </a:cxn>
                <a:cxn ang="0">
                  <a:pos x="158" y="266"/>
                </a:cxn>
                <a:cxn ang="0">
                  <a:pos x="159" y="250"/>
                </a:cxn>
                <a:cxn ang="0">
                  <a:pos x="163" y="236"/>
                </a:cxn>
                <a:cxn ang="0">
                  <a:pos x="161" y="228"/>
                </a:cxn>
                <a:cxn ang="0">
                  <a:pos x="152" y="221"/>
                </a:cxn>
                <a:cxn ang="0">
                  <a:pos x="145" y="221"/>
                </a:cxn>
                <a:cxn ang="0">
                  <a:pos x="139" y="221"/>
                </a:cxn>
                <a:cxn ang="0">
                  <a:pos x="129" y="216"/>
                </a:cxn>
                <a:cxn ang="0">
                  <a:pos x="114" y="201"/>
                </a:cxn>
                <a:cxn ang="0">
                  <a:pos x="105" y="187"/>
                </a:cxn>
                <a:cxn ang="0">
                  <a:pos x="96" y="167"/>
                </a:cxn>
                <a:cxn ang="0">
                  <a:pos x="87" y="150"/>
                </a:cxn>
                <a:cxn ang="0">
                  <a:pos x="85" y="136"/>
                </a:cxn>
                <a:cxn ang="0">
                  <a:pos x="76" y="123"/>
                </a:cxn>
                <a:cxn ang="0">
                  <a:pos x="54" y="105"/>
                </a:cxn>
                <a:cxn ang="0">
                  <a:pos x="45" y="92"/>
                </a:cxn>
                <a:cxn ang="0">
                  <a:pos x="43" y="79"/>
                </a:cxn>
                <a:cxn ang="0">
                  <a:pos x="43" y="72"/>
                </a:cxn>
                <a:cxn ang="0">
                  <a:pos x="38" y="65"/>
                </a:cxn>
                <a:cxn ang="0">
                  <a:pos x="34" y="56"/>
                </a:cxn>
                <a:cxn ang="0">
                  <a:pos x="40" y="36"/>
                </a:cxn>
                <a:cxn ang="0">
                  <a:pos x="51" y="9"/>
                </a:cxn>
                <a:cxn ang="0">
                  <a:pos x="54" y="5"/>
                </a:cxn>
                <a:cxn ang="0">
                  <a:pos x="60" y="1"/>
                </a:cxn>
                <a:cxn ang="0">
                  <a:pos x="60" y="0"/>
                </a:cxn>
              </a:cxnLst>
              <a:rect l="0" t="0" r="r" b="b"/>
              <a:pathLst>
                <a:path w="174" h="310">
                  <a:moveTo>
                    <a:pt x="60" y="0"/>
                  </a:moveTo>
                  <a:lnTo>
                    <a:pt x="54" y="1"/>
                  </a:lnTo>
                  <a:lnTo>
                    <a:pt x="49" y="1"/>
                  </a:lnTo>
                  <a:lnTo>
                    <a:pt x="41" y="7"/>
                  </a:lnTo>
                  <a:lnTo>
                    <a:pt x="34" y="11"/>
                  </a:lnTo>
                  <a:lnTo>
                    <a:pt x="27" y="14"/>
                  </a:lnTo>
                  <a:lnTo>
                    <a:pt x="21" y="16"/>
                  </a:lnTo>
                  <a:lnTo>
                    <a:pt x="16" y="18"/>
                  </a:lnTo>
                  <a:lnTo>
                    <a:pt x="12" y="21"/>
                  </a:lnTo>
                  <a:lnTo>
                    <a:pt x="9" y="25"/>
                  </a:lnTo>
                  <a:lnTo>
                    <a:pt x="3" y="34"/>
                  </a:lnTo>
                  <a:lnTo>
                    <a:pt x="0" y="41"/>
                  </a:lnTo>
                  <a:lnTo>
                    <a:pt x="78" y="310"/>
                  </a:lnTo>
                  <a:lnTo>
                    <a:pt x="109" y="306"/>
                  </a:lnTo>
                  <a:lnTo>
                    <a:pt x="139" y="301"/>
                  </a:lnTo>
                  <a:lnTo>
                    <a:pt x="174" y="295"/>
                  </a:lnTo>
                  <a:lnTo>
                    <a:pt x="172" y="277"/>
                  </a:lnTo>
                  <a:lnTo>
                    <a:pt x="170" y="274"/>
                  </a:lnTo>
                  <a:lnTo>
                    <a:pt x="168" y="272"/>
                  </a:lnTo>
                  <a:lnTo>
                    <a:pt x="167" y="268"/>
                  </a:lnTo>
                  <a:lnTo>
                    <a:pt x="165" y="268"/>
                  </a:lnTo>
                  <a:lnTo>
                    <a:pt x="161" y="270"/>
                  </a:lnTo>
                  <a:lnTo>
                    <a:pt x="158" y="274"/>
                  </a:lnTo>
                  <a:lnTo>
                    <a:pt x="158" y="266"/>
                  </a:lnTo>
                  <a:lnTo>
                    <a:pt x="158" y="259"/>
                  </a:lnTo>
                  <a:lnTo>
                    <a:pt x="159" y="250"/>
                  </a:lnTo>
                  <a:lnTo>
                    <a:pt x="161" y="243"/>
                  </a:lnTo>
                  <a:lnTo>
                    <a:pt x="163" y="236"/>
                  </a:lnTo>
                  <a:lnTo>
                    <a:pt x="163" y="232"/>
                  </a:lnTo>
                  <a:lnTo>
                    <a:pt x="161" y="228"/>
                  </a:lnTo>
                  <a:lnTo>
                    <a:pt x="158" y="225"/>
                  </a:lnTo>
                  <a:lnTo>
                    <a:pt x="152" y="221"/>
                  </a:lnTo>
                  <a:lnTo>
                    <a:pt x="148" y="221"/>
                  </a:lnTo>
                  <a:lnTo>
                    <a:pt x="145" y="221"/>
                  </a:lnTo>
                  <a:lnTo>
                    <a:pt x="141" y="223"/>
                  </a:lnTo>
                  <a:lnTo>
                    <a:pt x="139" y="221"/>
                  </a:lnTo>
                  <a:lnTo>
                    <a:pt x="134" y="219"/>
                  </a:lnTo>
                  <a:lnTo>
                    <a:pt x="129" y="216"/>
                  </a:lnTo>
                  <a:lnTo>
                    <a:pt x="121" y="208"/>
                  </a:lnTo>
                  <a:lnTo>
                    <a:pt x="114" y="201"/>
                  </a:lnTo>
                  <a:lnTo>
                    <a:pt x="109" y="194"/>
                  </a:lnTo>
                  <a:lnTo>
                    <a:pt x="105" y="187"/>
                  </a:lnTo>
                  <a:lnTo>
                    <a:pt x="101" y="177"/>
                  </a:lnTo>
                  <a:lnTo>
                    <a:pt x="96" y="167"/>
                  </a:lnTo>
                  <a:lnTo>
                    <a:pt x="89" y="156"/>
                  </a:lnTo>
                  <a:lnTo>
                    <a:pt x="87" y="150"/>
                  </a:lnTo>
                  <a:lnTo>
                    <a:pt x="87" y="143"/>
                  </a:lnTo>
                  <a:lnTo>
                    <a:pt x="85" y="136"/>
                  </a:lnTo>
                  <a:lnTo>
                    <a:pt x="81" y="130"/>
                  </a:lnTo>
                  <a:lnTo>
                    <a:pt x="76" y="123"/>
                  </a:lnTo>
                  <a:lnTo>
                    <a:pt x="69" y="116"/>
                  </a:lnTo>
                  <a:lnTo>
                    <a:pt x="54" y="105"/>
                  </a:lnTo>
                  <a:lnTo>
                    <a:pt x="49" y="98"/>
                  </a:lnTo>
                  <a:lnTo>
                    <a:pt x="45" y="92"/>
                  </a:lnTo>
                  <a:lnTo>
                    <a:pt x="43" y="85"/>
                  </a:lnTo>
                  <a:lnTo>
                    <a:pt x="43" y="79"/>
                  </a:lnTo>
                  <a:lnTo>
                    <a:pt x="43" y="76"/>
                  </a:lnTo>
                  <a:lnTo>
                    <a:pt x="43" y="72"/>
                  </a:lnTo>
                  <a:lnTo>
                    <a:pt x="40" y="69"/>
                  </a:lnTo>
                  <a:lnTo>
                    <a:pt x="38" y="65"/>
                  </a:lnTo>
                  <a:lnTo>
                    <a:pt x="36" y="61"/>
                  </a:lnTo>
                  <a:lnTo>
                    <a:pt x="34" y="56"/>
                  </a:lnTo>
                  <a:lnTo>
                    <a:pt x="34" y="52"/>
                  </a:lnTo>
                  <a:lnTo>
                    <a:pt x="40" y="36"/>
                  </a:lnTo>
                  <a:lnTo>
                    <a:pt x="45" y="20"/>
                  </a:lnTo>
                  <a:lnTo>
                    <a:pt x="51" y="9"/>
                  </a:lnTo>
                  <a:lnTo>
                    <a:pt x="52" y="7"/>
                  </a:lnTo>
                  <a:lnTo>
                    <a:pt x="54" y="5"/>
                  </a:lnTo>
                  <a:lnTo>
                    <a:pt x="56" y="3"/>
                  </a:lnTo>
                  <a:lnTo>
                    <a:pt x="60" y="1"/>
                  </a:lnTo>
                  <a:lnTo>
                    <a:pt x="61" y="1"/>
                  </a:lnTo>
                  <a:lnTo>
                    <a:pt x="60" y="0"/>
                  </a:lnTo>
                  <a:close/>
                </a:path>
              </a:pathLst>
            </a:custGeom>
            <a:solidFill>
              <a:srgbClr val="2E2E38"/>
            </a:solidFill>
            <a:ln w="3175" cap="flat" cmpd="sng" algn="ctr">
              <a:solidFill>
                <a:srgbClr val="747480"/>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646464"/>
                </a:solidFill>
                <a:effectLst/>
                <a:uLnTx/>
                <a:uFillTx/>
                <a:cs typeface="Times New Roman" panose="02020603050405020304" pitchFamily="18" charset="0"/>
              </a:endParaRPr>
            </a:p>
          </p:txBody>
        </p:sp>
        <p:sp>
          <p:nvSpPr>
            <p:cNvPr id="42" name="Freeform 77">
              <a:extLst>
                <a:ext uri="{FF2B5EF4-FFF2-40B4-BE49-F238E27FC236}">
                  <a16:creationId xmlns:a16="http://schemas.microsoft.com/office/drawing/2014/main" id="{26B15AC9-366F-BA56-06A0-BCA63AE4AF2A}"/>
                </a:ext>
              </a:extLst>
            </p:cNvPr>
            <p:cNvSpPr>
              <a:spLocks/>
            </p:cNvSpPr>
            <p:nvPr/>
          </p:nvSpPr>
          <p:spPr bwMode="auto">
            <a:xfrm>
              <a:off x="6480190" y="4569831"/>
              <a:ext cx="79673" cy="138207"/>
            </a:xfrm>
            <a:custGeom>
              <a:avLst/>
              <a:gdLst/>
              <a:ahLst/>
              <a:cxnLst>
                <a:cxn ang="0">
                  <a:pos x="58" y="0"/>
                </a:cxn>
                <a:cxn ang="0">
                  <a:pos x="41" y="7"/>
                </a:cxn>
                <a:cxn ang="0">
                  <a:pos x="27" y="14"/>
                </a:cxn>
                <a:cxn ang="0">
                  <a:pos x="16" y="18"/>
                </a:cxn>
                <a:cxn ang="0">
                  <a:pos x="9" y="25"/>
                </a:cxn>
                <a:cxn ang="0">
                  <a:pos x="0" y="41"/>
                </a:cxn>
                <a:cxn ang="0">
                  <a:pos x="76" y="310"/>
                </a:cxn>
                <a:cxn ang="0">
                  <a:pos x="109" y="306"/>
                </a:cxn>
                <a:cxn ang="0">
                  <a:pos x="174" y="295"/>
                </a:cxn>
                <a:cxn ang="0">
                  <a:pos x="170" y="277"/>
                </a:cxn>
                <a:cxn ang="0">
                  <a:pos x="168" y="270"/>
                </a:cxn>
                <a:cxn ang="0">
                  <a:pos x="165" y="268"/>
                </a:cxn>
                <a:cxn ang="0">
                  <a:pos x="158" y="272"/>
                </a:cxn>
                <a:cxn ang="0">
                  <a:pos x="156" y="266"/>
                </a:cxn>
                <a:cxn ang="0">
                  <a:pos x="159" y="250"/>
                </a:cxn>
                <a:cxn ang="0">
                  <a:pos x="163" y="236"/>
                </a:cxn>
                <a:cxn ang="0">
                  <a:pos x="161" y="228"/>
                </a:cxn>
                <a:cxn ang="0">
                  <a:pos x="152" y="221"/>
                </a:cxn>
                <a:cxn ang="0">
                  <a:pos x="148" y="221"/>
                </a:cxn>
                <a:cxn ang="0">
                  <a:pos x="145" y="221"/>
                </a:cxn>
                <a:cxn ang="0">
                  <a:pos x="141" y="221"/>
                </a:cxn>
                <a:cxn ang="0">
                  <a:pos x="139" y="221"/>
                </a:cxn>
                <a:cxn ang="0">
                  <a:pos x="121" y="208"/>
                </a:cxn>
                <a:cxn ang="0">
                  <a:pos x="109" y="194"/>
                </a:cxn>
                <a:cxn ang="0">
                  <a:pos x="101" y="177"/>
                </a:cxn>
                <a:cxn ang="0">
                  <a:pos x="89" y="156"/>
                </a:cxn>
                <a:cxn ang="0">
                  <a:pos x="87" y="143"/>
                </a:cxn>
                <a:cxn ang="0">
                  <a:pos x="81" y="130"/>
                </a:cxn>
                <a:cxn ang="0">
                  <a:pos x="69" y="116"/>
                </a:cxn>
                <a:cxn ang="0">
                  <a:pos x="54" y="103"/>
                </a:cxn>
                <a:cxn ang="0">
                  <a:pos x="49" y="98"/>
                </a:cxn>
                <a:cxn ang="0">
                  <a:pos x="43" y="90"/>
                </a:cxn>
                <a:cxn ang="0">
                  <a:pos x="43" y="85"/>
                </a:cxn>
                <a:cxn ang="0">
                  <a:pos x="43" y="79"/>
                </a:cxn>
                <a:cxn ang="0">
                  <a:pos x="41" y="72"/>
                </a:cxn>
                <a:cxn ang="0">
                  <a:pos x="38" y="63"/>
                </a:cxn>
                <a:cxn ang="0">
                  <a:pos x="34" y="56"/>
                </a:cxn>
                <a:cxn ang="0">
                  <a:pos x="34" y="52"/>
                </a:cxn>
                <a:cxn ang="0">
                  <a:pos x="40" y="36"/>
                </a:cxn>
                <a:cxn ang="0">
                  <a:pos x="45" y="20"/>
                </a:cxn>
                <a:cxn ang="0">
                  <a:pos x="51" y="9"/>
                </a:cxn>
                <a:cxn ang="0">
                  <a:pos x="51" y="7"/>
                </a:cxn>
                <a:cxn ang="0">
                  <a:pos x="61" y="0"/>
                </a:cxn>
                <a:cxn ang="0">
                  <a:pos x="58" y="0"/>
                </a:cxn>
              </a:cxnLst>
              <a:rect l="0" t="0" r="r" b="b"/>
              <a:pathLst>
                <a:path w="174" h="310">
                  <a:moveTo>
                    <a:pt x="58" y="0"/>
                  </a:moveTo>
                  <a:lnTo>
                    <a:pt x="41" y="7"/>
                  </a:lnTo>
                  <a:lnTo>
                    <a:pt x="27" y="14"/>
                  </a:lnTo>
                  <a:lnTo>
                    <a:pt x="16" y="18"/>
                  </a:lnTo>
                  <a:lnTo>
                    <a:pt x="9" y="25"/>
                  </a:lnTo>
                  <a:lnTo>
                    <a:pt x="0" y="41"/>
                  </a:lnTo>
                  <a:lnTo>
                    <a:pt x="76" y="310"/>
                  </a:lnTo>
                  <a:lnTo>
                    <a:pt x="109" y="306"/>
                  </a:lnTo>
                  <a:lnTo>
                    <a:pt x="174" y="295"/>
                  </a:lnTo>
                  <a:lnTo>
                    <a:pt x="170" y="277"/>
                  </a:lnTo>
                  <a:lnTo>
                    <a:pt x="168" y="270"/>
                  </a:lnTo>
                  <a:lnTo>
                    <a:pt x="165" y="268"/>
                  </a:lnTo>
                  <a:lnTo>
                    <a:pt x="158" y="272"/>
                  </a:lnTo>
                  <a:lnTo>
                    <a:pt x="156" y="266"/>
                  </a:lnTo>
                  <a:lnTo>
                    <a:pt x="159" y="250"/>
                  </a:lnTo>
                  <a:lnTo>
                    <a:pt x="163" y="236"/>
                  </a:lnTo>
                  <a:lnTo>
                    <a:pt x="161" y="228"/>
                  </a:lnTo>
                  <a:lnTo>
                    <a:pt x="152" y="221"/>
                  </a:lnTo>
                  <a:lnTo>
                    <a:pt x="148" y="221"/>
                  </a:lnTo>
                  <a:lnTo>
                    <a:pt x="145" y="221"/>
                  </a:lnTo>
                  <a:lnTo>
                    <a:pt x="141" y="221"/>
                  </a:lnTo>
                  <a:lnTo>
                    <a:pt x="139" y="221"/>
                  </a:lnTo>
                  <a:lnTo>
                    <a:pt x="121" y="208"/>
                  </a:lnTo>
                  <a:lnTo>
                    <a:pt x="109" y="194"/>
                  </a:lnTo>
                  <a:lnTo>
                    <a:pt x="101" y="177"/>
                  </a:lnTo>
                  <a:lnTo>
                    <a:pt x="89" y="156"/>
                  </a:lnTo>
                  <a:lnTo>
                    <a:pt x="87" y="143"/>
                  </a:lnTo>
                  <a:lnTo>
                    <a:pt x="81" y="130"/>
                  </a:lnTo>
                  <a:lnTo>
                    <a:pt x="69" y="116"/>
                  </a:lnTo>
                  <a:lnTo>
                    <a:pt x="54" y="103"/>
                  </a:lnTo>
                  <a:lnTo>
                    <a:pt x="49" y="98"/>
                  </a:lnTo>
                  <a:lnTo>
                    <a:pt x="43" y="90"/>
                  </a:lnTo>
                  <a:lnTo>
                    <a:pt x="43" y="85"/>
                  </a:lnTo>
                  <a:lnTo>
                    <a:pt x="43" y="79"/>
                  </a:lnTo>
                  <a:lnTo>
                    <a:pt x="41" y="72"/>
                  </a:lnTo>
                  <a:lnTo>
                    <a:pt x="38" y="63"/>
                  </a:lnTo>
                  <a:lnTo>
                    <a:pt x="34" y="56"/>
                  </a:lnTo>
                  <a:lnTo>
                    <a:pt x="34" y="52"/>
                  </a:lnTo>
                  <a:lnTo>
                    <a:pt x="40" y="36"/>
                  </a:lnTo>
                  <a:lnTo>
                    <a:pt x="45" y="20"/>
                  </a:lnTo>
                  <a:lnTo>
                    <a:pt x="51" y="9"/>
                  </a:lnTo>
                  <a:lnTo>
                    <a:pt x="51" y="7"/>
                  </a:lnTo>
                  <a:lnTo>
                    <a:pt x="61" y="0"/>
                  </a:lnTo>
                  <a:lnTo>
                    <a:pt x="58" y="0"/>
                  </a:lnTo>
                </a:path>
              </a:pathLst>
            </a:custGeom>
            <a:solidFill>
              <a:srgbClr val="2E2E38"/>
            </a:solidFill>
            <a:ln w="3175" cap="flat" cmpd="sng" algn="ctr">
              <a:solidFill>
                <a:srgbClr val="747480"/>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646464"/>
                </a:solidFill>
                <a:effectLst/>
                <a:uLnTx/>
                <a:uFillTx/>
                <a:cs typeface="Times New Roman" panose="02020603050405020304" pitchFamily="18" charset="0"/>
              </a:endParaRPr>
            </a:p>
          </p:txBody>
        </p:sp>
        <p:sp>
          <p:nvSpPr>
            <p:cNvPr id="43" name="Line 78">
              <a:extLst>
                <a:ext uri="{FF2B5EF4-FFF2-40B4-BE49-F238E27FC236}">
                  <a16:creationId xmlns:a16="http://schemas.microsoft.com/office/drawing/2014/main" id="{D58E503F-7815-2B2F-1B8B-08CA4F839C5D}"/>
                </a:ext>
              </a:extLst>
            </p:cNvPr>
            <p:cNvSpPr>
              <a:spLocks noChangeShapeType="1"/>
            </p:cNvSpPr>
            <p:nvPr/>
          </p:nvSpPr>
          <p:spPr bwMode="auto">
            <a:xfrm>
              <a:off x="6558031" y="4694664"/>
              <a:ext cx="915" cy="894"/>
            </a:xfrm>
            <a:prstGeom prst="line">
              <a:avLst/>
            </a:prstGeom>
            <a:solidFill>
              <a:srgbClr val="C0C0C0"/>
            </a:solidFill>
            <a:ln w="6350">
              <a:solidFill>
                <a:srgbClr val="999999">
                  <a:lumMod val="5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646464"/>
                </a:solidFill>
                <a:effectLst/>
                <a:uLnTx/>
                <a:uFillTx/>
                <a:cs typeface="Times New Roman" panose="02020603050405020304" pitchFamily="18" charset="0"/>
              </a:endParaRPr>
            </a:p>
          </p:txBody>
        </p:sp>
        <p:sp>
          <p:nvSpPr>
            <p:cNvPr id="44" name="Freeform 79">
              <a:extLst>
                <a:ext uri="{FF2B5EF4-FFF2-40B4-BE49-F238E27FC236}">
                  <a16:creationId xmlns:a16="http://schemas.microsoft.com/office/drawing/2014/main" id="{CB78EB65-0A40-8B1C-6EE4-08D1B1FDE289}"/>
                </a:ext>
              </a:extLst>
            </p:cNvPr>
            <p:cNvSpPr>
              <a:spLocks noEditPoints="1"/>
            </p:cNvSpPr>
            <p:nvPr/>
          </p:nvSpPr>
          <p:spPr bwMode="auto">
            <a:xfrm>
              <a:off x="5888593" y="4900638"/>
              <a:ext cx="683173" cy="300492"/>
            </a:xfrm>
            <a:custGeom>
              <a:avLst/>
              <a:gdLst/>
              <a:ahLst/>
              <a:cxnLst>
                <a:cxn ang="0">
                  <a:pos x="555" y="154"/>
                </a:cxn>
                <a:cxn ang="0">
                  <a:pos x="417" y="218"/>
                </a:cxn>
                <a:cxn ang="0">
                  <a:pos x="386" y="241"/>
                </a:cxn>
                <a:cxn ang="0">
                  <a:pos x="361" y="283"/>
                </a:cxn>
                <a:cxn ang="0">
                  <a:pos x="337" y="279"/>
                </a:cxn>
                <a:cxn ang="0">
                  <a:pos x="305" y="316"/>
                </a:cxn>
                <a:cxn ang="0">
                  <a:pos x="285" y="317"/>
                </a:cxn>
                <a:cxn ang="0">
                  <a:pos x="223" y="341"/>
                </a:cxn>
                <a:cxn ang="0">
                  <a:pos x="172" y="399"/>
                </a:cxn>
                <a:cxn ang="0">
                  <a:pos x="105" y="439"/>
                </a:cxn>
                <a:cxn ang="0">
                  <a:pos x="58" y="479"/>
                </a:cxn>
                <a:cxn ang="0">
                  <a:pos x="14" y="524"/>
                </a:cxn>
                <a:cxn ang="0">
                  <a:pos x="0" y="555"/>
                </a:cxn>
                <a:cxn ang="0">
                  <a:pos x="207" y="559"/>
                </a:cxn>
                <a:cxn ang="0">
                  <a:pos x="332" y="495"/>
                </a:cxn>
                <a:cxn ang="0">
                  <a:pos x="566" y="472"/>
                </a:cxn>
                <a:cxn ang="0">
                  <a:pos x="584" y="484"/>
                </a:cxn>
                <a:cxn ang="0">
                  <a:pos x="635" y="508"/>
                </a:cxn>
                <a:cxn ang="0">
                  <a:pos x="1090" y="660"/>
                </a:cxn>
                <a:cxn ang="0">
                  <a:pos x="1134" y="655"/>
                </a:cxn>
                <a:cxn ang="0">
                  <a:pos x="1163" y="646"/>
                </a:cxn>
                <a:cxn ang="0">
                  <a:pos x="1177" y="590"/>
                </a:cxn>
                <a:cxn ang="0">
                  <a:pos x="1208" y="533"/>
                </a:cxn>
                <a:cxn ang="0">
                  <a:pos x="1248" y="481"/>
                </a:cxn>
                <a:cxn ang="0">
                  <a:pos x="1313" y="439"/>
                </a:cxn>
                <a:cxn ang="0">
                  <a:pos x="1359" y="421"/>
                </a:cxn>
                <a:cxn ang="0">
                  <a:pos x="1375" y="412"/>
                </a:cxn>
                <a:cxn ang="0">
                  <a:pos x="1415" y="376"/>
                </a:cxn>
                <a:cxn ang="0">
                  <a:pos x="1401" y="363"/>
                </a:cxn>
                <a:cxn ang="0">
                  <a:pos x="1372" y="366"/>
                </a:cxn>
                <a:cxn ang="0">
                  <a:pos x="1344" y="381"/>
                </a:cxn>
                <a:cxn ang="0">
                  <a:pos x="1339" y="365"/>
                </a:cxn>
                <a:cxn ang="0">
                  <a:pos x="1361" y="325"/>
                </a:cxn>
                <a:cxn ang="0">
                  <a:pos x="1372" y="301"/>
                </a:cxn>
                <a:cxn ang="0">
                  <a:pos x="1315" y="279"/>
                </a:cxn>
                <a:cxn ang="0">
                  <a:pos x="1279" y="267"/>
                </a:cxn>
                <a:cxn ang="0">
                  <a:pos x="1339" y="263"/>
                </a:cxn>
                <a:cxn ang="0">
                  <a:pos x="1357" y="268"/>
                </a:cxn>
                <a:cxn ang="0">
                  <a:pos x="1413" y="274"/>
                </a:cxn>
                <a:cxn ang="0">
                  <a:pos x="1459" y="236"/>
                </a:cxn>
                <a:cxn ang="0">
                  <a:pos x="1475" y="201"/>
                </a:cxn>
                <a:cxn ang="0">
                  <a:pos x="1489" y="187"/>
                </a:cxn>
                <a:cxn ang="0">
                  <a:pos x="1480" y="147"/>
                </a:cxn>
                <a:cxn ang="0">
                  <a:pos x="1450" y="125"/>
                </a:cxn>
                <a:cxn ang="0">
                  <a:pos x="1439" y="147"/>
                </a:cxn>
                <a:cxn ang="0">
                  <a:pos x="1435" y="200"/>
                </a:cxn>
                <a:cxn ang="0">
                  <a:pos x="1421" y="136"/>
                </a:cxn>
                <a:cxn ang="0">
                  <a:pos x="1404" y="134"/>
                </a:cxn>
                <a:cxn ang="0">
                  <a:pos x="1357" y="143"/>
                </a:cxn>
                <a:cxn ang="0">
                  <a:pos x="1317" y="152"/>
                </a:cxn>
                <a:cxn ang="0">
                  <a:pos x="1321" y="134"/>
                </a:cxn>
                <a:cxn ang="0">
                  <a:pos x="1350" y="118"/>
                </a:cxn>
                <a:cxn ang="0">
                  <a:pos x="1372" y="112"/>
                </a:cxn>
                <a:cxn ang="0">
                  <a:pos x="1382" y="98"/>
                </a:cxn>
                <a:cxn ang="0">
                  <a:pos x="1404" y="85"/>
                </a:cxn>
                <a:cxn ang="0">
                  <a:pos x="1402" y="76"/>
                </a:cxn>
                <a:cxn ang="0">
                  <a:pos x="1424" y="72"/>
                </a:cxn>
                <a:cxn ang="0">
                  <a:pos x="1450" y="96"/>
                </a:cxn>
                <a:cxn ang="0">
                  <a:pos x="1444" y="69"/>
                </a:cxn>
                <a:cxn ang="0">
                  <a:pos x="1399" y="27"/>
                </a:cxn>
                <a:cxn ang="0">
                  <a:pos x="1397" y="9"/>
                </a:cxn>
                <a:cxn ang="0">
                  <a:pos x="424" y="183"/>
                </a:cxn>
              </a:cxnLst>
              <a:rect l="0" t="0" r="r" b="b"/>
              <a:pathLst>
                <a:path w="1491" h="673">
                  <a:moveTo>
                    <a:pt x="1397" y="0"/>
                  </a:moveTo>
                  <a:lnTo>
                    <a:pt x="883" y="107"/>
                  </a:lnTo>
                  <a:lnTo>
                    <a:pt x="849" y="114"/>
                  </a:lnTo>
                  <a:lnTo>
                    <a:pt x="804" y="121"/>
                  </a:lnTo>
                  <a:lnTo>
                    <a:pt x="687" y="138"/>
                  </a:lnTo>
                  <a:lnTo>
                    <a:pt x="555" y="154"/>
                  </a:lnTo>
                  <a:lnTo>
                    <a:pt x="422" y="170"/>
                  </a:lnTo>
                  <a:lnTo>
                    <a:pt x="421" y="180"/>
                  </a:lnTo>
                  <a:lnTo>
                    <a:pt x="421" y="192"/>
                  </a:lnTo>
                  <a:lnTo>
                    <a:pt x="419" y="207"/>
                  </a:lnTo>
                  <a:lnTo>
                    <a:pt x="419" y="212"/>
                  </a:lnTo>
                  <a:lnTo>
                    <a:pt x="417" y="218"/>
                  </a:lnTo>
                  <a:lnTo>
                    <a:pt x="413" y="223"/>
                  </a:lnTo>
                  <a:lnTo>
                    <a:pt x="412" y="227"/>
                  </a:lnTo>
                  <a:lnTo>
                    <a:pt x="403" y="232"/>
                  </a:lnTo>
                  <a:lnTo>
                    <a:pt x="393" y="236"/>
                  </a:lnTo>
                  <a:lnTo>
                    <a:pt x="390" y="238"/>
                  </a:lnTo>
                  <a:lnTo>
                    <a:pt x="386" y="241"/>
                  </a:lnTo>
                  <a:lnTo>
                    <a:pt x="381" y="250"/>
                  </a:lnTo>
                  <a:lnTo>
                    <a:pt x="377" y="261"/>
                  </a:lnTo>
                  <a:lnTo>
                    <a:pt x="372" y="272"/>
                  </a:lnTo>
                  <a:lnTo>
                    <a:pt x="370" y="278"/>
                  </a:lnTo>
                  <a:lnTo>
                    <a:pt x="366" y="279"/>
                  </a:lnTo>
                  <a:lnTo>
                    <a:pt x="361" y="283"/>
                  </a:lnTo>
                  <a:lnTo>
                    <a:pt x="357" y="283"/>
                  </a:lnTo>
                  <a:lnTo>
                    <a:pt x="354" y="283"/>
                  </a:lnTo>
                  <a:lnTo>
                    <a:pt x="350" y="281"/>
                  </a:lnTo>
                  <a:lnTo>
                    <a:pt x="346" y="279"/>
                  </a:lnTo>
                  <a:lnTo>
                    <a:pt x="341" y="279"/>
                  </a:lnTo>
                  <a:lnTo>
                    <a:pt x="337" y="279"/>
                  </a:lnTo>
                  <a:lnTo>
                    <a:pt x="332" y="283"/>
                  </a:lnTo>
                  <a:lnTo>
                    <a:pt x="328" y="285"/>
                  </a:lnTo>
                  <a:lnTo>
                    <a:pt x="323" y="294"/>
                  </a:lnTo>
                  <a:lnTo>
                    <a:pt x="317" y="303"/>
                  </a:lnTo>
                  <a:lnTo>
                    <a:pt x="310" y="312"/>
                  </a:lnTo>
                  <a:lnTo>
                    <a:pt x="305" y="316"/>
                  </a:lnTo>
                  <a:lnTo>
                    <a:pt x="301" y="319"/>
                  </a:lnTo>
                  <a:lnTo>
                    <a:pt x="295" y="321"/>
                  </a:lnTo>
                  <a:lnTo>
                    <a:pt x="294" y="321"/>
                  </a:lnTo>
                  <a:lnTo>
                    <a:pt x="292" y="319"/>
                  </a:lnTo>
                  <a:lnTo>
                    <a:pt x="288" y="319"/>
                  </a:lnTo>
                  <a:lnTo>
                    <a:pt x="285" y="317"/>
                  </a:lnTo>
                  <a:lnTo>
                    <a:pt x="281" y="319"/>
                  </a:lnTo>
                  <a:lnTo>
                    <a:pt x="268" y="321"/>
                  </a:lnTo>
                  <a:lnTo>
                    <a:pt x="252" y="327"/>
                  </a:lnTo>
                  <a:lnTo>
                    <a:pt x="237" y="334"/>
                  </a:lnTo>
                  <a:lnTo>
                    <a:pt x="230" y="337"/>
                  </a:lnTo>
                  <a:lnTo>
                    <a:pt x="223" y="341"/>
                  </a:lnTo>
                  <a:lnTo>
                    <a:pt x="214" y="348"/>
                  </a:lnTo>
                  <a:lnTo>
                    <a:pt x="205" y="357"/>
                  </a:lnTo>
                  <a:lnTo>
                    <a:pt x="197" y="368"/>
                  </a:lnTo>
                  <a:lnTo>
                    <a:pt x="188" y="377"/>
                  </a:lnTo>
                  <a:lnTo>
                    <a:pt x="181" y="388"/>
                  </a:lnTo>
                  <a:lnTo>
                    <a:pt x="172" y="399"/>
                  </a:lnTo>
                  <a:lnTo>
                    <a:pt x="163" y="408"/>
                  </a:lnTo>
                  <a:lnTo>
                    <a:pt x="154" y="417"/>
                  </a:lnTo>
                  <a:lnTo>
                    <a:pt x="145" y="423"/>
                  </a:lnTo>
                  <a:lnTo>
                    <a:pt x="136" y="426"/>
                  </a:lnTo>
                  <a:lnTo>
                    <a:pt x="116" y="435"/>
                  </a:lnTo>
                  <a:lnTo>
                    <a:pt x="105" y="439"/>
                  </a:lnTo>
                  <a:lnTo>
                    <a:pt x="96" y="443"/>
                  </a:lnTo>
                  <a:lnTo>
                    <a:pt x="87" y="448"/>
                  </a:lnTo>
                  <a:lnTo>
                    <a:pt x="78" y="455"/>
                  </a:lnTo>
                  <a:lnTo>
                    <a:pt x="70" y="463"/>
                  </a:lnTo>
                  <a:lnTo>
                    <a:pt x="63" y="472"/>
                  </a:lnTo>
                  <a:lnTo>
                    <a:pt x="58" y="479"/>
                  </a:lnTo>
                  <a:lnTo>
                    <a:pt x="52" y="488"/>
                  </a:lnTo>
                  <a:lnTo>
                    <a:pt x="47" y="497"/>
                  </a:lnTo>
                  <a:lnTo>
                    <a:pt x="41" y="506"/>
                  </a:lnTo>
                  <a:lnTo>
                    <a:pt x="34" y="513"/>
                  </a:lnTo>
                  <a:lnTo>
                    <a:pt x="25" y="519"/>
                  </a:lnTo>
                  <a:lnTo>
                    <a:pt x="14" y="524"/>
                  </a:lnTo>
                  <a:lnTo>
                    <a:pt x="11" y="526"/>
                  </a:lnTo>
                  <a:lnTo>
                    <a:pt x="7" y="530"/>
                  </a:lnTo>
                  <a:lnTo>
                    <a:pt x="3" y="533"/>
                  </a:lnTo>
                  <a:lnTo>
                    <a:pt x="1" y="539"/>
                  </a:lnTo>
                  <a:lnTo>
                    <a:pt x="1" y="544"/>
                  </a:lnTo>
                  <a:lnTo>
                    <a:pt x="0" y="555"/>
                  </a:lnTo>
                  <a:lnTo>
                    <a:pt x="1" y="572"/>
                  </a:lnTo>
                  <a:lnTo>
                    <a:pt x="1" y="584"/>
                  </a:lnTo>
                  <a:lnTo>
                    <a:pt x="16" y="582"/>
                  </a:lnTo>
                  <a:lnTo>
                    <a:pt x="143" y="568"/>
                  </a:lnTo>
                  <a:lnTo>
                    <a:pt x="190" y="562"/>
                  </a:lnTo>
                  <a:lnTo>
                    <a:pt x="207" y="559"/>
                  </a:lnTo>
                  <a:lnTo>
                    <a:pt x="217" y="557"/>
                  </a:lnTo>
                  <a:lnTo>
                    <a:pt x="234" y="550"/>
                  </a:lnTo>
                  <a:lnTo>
                    <a:pt x="252" y="541"/>
                  </a:lnTo>
                  <a:lnTo>
                    <a:pt x="286" y="521"/>
                  </a:lnTo>
                  <a:lnTo>
                    <a:pt x="319" y="503"/>
                  </a:lnTo>
                  <a:lnTo>
                    <a:pt x="332" y="495"/>
                  </a:lnTo>
                  <a:lnTo>
                    <a:pt x="337" y="494"/>
                  </a:lnTo>
                  <a:lnTo>
                    <a:pt x="343" y="494"/>
                  </a:lnTo>
                  <a:lnTo>
                    <a:pt x="455" y="481"/>
                  </a:lnTo>
                  <a:lnTo>
                    <a:pt x="522" y="475"/>
                  </a:lnTo>
                  <a:lnTo>
                    <a:pt x="550" y="472"/>
                  </a:lnTo>
                  <a:lnTo>
                    <a:pt x="566" y="472"/>
                  </a:lnTo>
                  <a:lnTo>
                    <a:pt x="571" y="472"/>
                  </a:lnTo>
                  <a:lnTo>
                    <a:pt x="575" y="474"/>
                  </a:lnTo>
                  <a:lnTo>
                    <a:pt x="579" y="475"/>
                  </a:lnTo>
                  <a:lnTo>
                    <a:pt x="580" y="477"/>
                  </a:lnTo>
                  <a:lnTo>
                    <a:pt x="582" y="481"/>
                  </a:lnTo>
                  <a:lnTo>
                    <a:pt x="584" y="484"/>
                  </a:lnTo>
                  <a:lnTo>
                    <a:pt x="582" y="492"/>
                  </a:lnTo>
                  <a:lnTo>
                    <a:pt x="582" y="494"/>
                  </a:lnTo>
                  <a:lnTo>
                    <a:pt x="591" y="484"/>
                  </a:lnTo>
                  <a:lnTo>
                    <a:pt x="597" y="481"/>
                  </a:lnTo>
                  <a:lnTo>
                    <a:pt x="600" y="479"/>
                  </a:lnTo>
                  <a:lnTo>
                    <a:pt x="635" y="508"/>
                  </a:lnTo>
                  <a:lnTo>
                    <a:pt x="635" y="537"/>
                  </a:lnTo>
                  <a:lnTo>
                    <a:pt x="648" y="535"/>
                  </a:lnTo>
                  <a:lnTo>
                    <a:pt x="834" y="506"/>
                  </a:lnTo>
                  <a:lnTo>
                    <a:pt x="1063" y="673"/>
                  </a:lnTo>
                  <a:lnTo>
                    <a:pt x="1078" y="666"/>
                  </a:lnTo>
                  <a:lnTo>
                    <a:pt x="1090" y="660"/>
                  </a:lnTo>
                  <a:lnTo>
                    <a:pt x="1098" y="657"/>
                  </a:lnTo>
                  <a:lnTo>
                    <a:pt x="1105" y="657"/>
                  </a:lnTo>
                  <a:lnTo>
                    <a:pt x="1112" y="655"/>
                  </a:lnTo>
                  <a:lnTo>
                    <a:pt x="1117" y="655"/>
                  </a:lnTo>
                  <a:lnTo>
                    <a:pt x="1127" y="655"/>
                  </a:lnTo>
                  <a:lnTo>
                    <a:pt x="1134" y="655"/>
                  </a:lnTo>
                  <a:lnTo>
                    <a:pt x="1143" y="655"/>
                  </a:lnTo>
                  <a:lnTo>
                    <a:pt x="1154" y="655"/>
                  </a:lnTo>
                  <a:lnTo>
                    <a:pt x="1159" y="653"/>
                  </a:lnTo>
                  <a:lnTo>
                    <a:pt x="1163" y="651"/>
                  </a:lnTo>
                  <a:lnTo>
                    <a:pt x="1163" y="650"/>
                  </a:lnTo>
                  <a:lnTo>
                    <a:pt x="1163" y="646"/>
                  </a:lnTo>
                  <a:lnTo>
                    <a:pt x="1165" y="642"/>
                  </a:lnTo>
                  <a:lnTo>
                    <a:pt x="1165" y="635"/>
                  </a:lnTo>
                  <a:lnTo>
                    <a:pt x="1165" y="630"/>
                  </a:lnTo>
                  <a:lnTo>
                    <a:pt x="1168" y="619"/>
                  </a:lnTo>
                  <a:lnTo>
                    <a:pt x="1170" y="608"/>
                  </a:lnTo>
                  <a:lnTo>
                    <a:pt x="1177" y="590"/>
                  </a:lnTo>
                  <a:lnTo>
                    <a:pt x="1181" y="582"/>
                  </a:lnTo>
                  <a:lnTo>
                    <a:pt x="1185" y="573"/>
                  </a:lnTo>
                  <a:lnTo>
                    <a:pt x="1188" y="564"/>
                  </a:lnTo>
                  <a:lnTo>
                    <a:pt x="1192" y="557"/>
                  </a:lnTo>
                  <a:lnTo>
                    <a:pt x="1203" y="541"/>
                  </a:lnTo>
                  <a:lnTo>
                    <a:pt x="1208" y="533"/>
                  </a:lnTo>
                  <a:lnTo>
                    <a:pt x="1214" y="524"/>
                  </a:lnTo>
                  <a:lnTo>
                    <a:pt x="1219" y="513"/>
                  </a:lnTo>
                  <a:lnTo>
                    <a:pt x="1223" y="506"/>
                  </a:lnTo>
                  <a:lnTo>
                    <a:pt x="1228" y="501"/>
                  </a:lnTo>
                  <a:lnTo>
                    <a:pt x="1237" y="490"/>
                  </a:lnTo>
                  <a:lnTo>
                    <a:pt x="1248" y="481"/>
                  </a:lnTo>
                  <a:lnTo>
                    <a:pt x="1259" y="472"/>
                  </a:lnTo>
                  <a:lnTo>
                    <a:pt x="1270" y="463"/>
                  </a:lnTo>
                  <a:lnTo>
                    <a:pt x="1283" y="455"/>
                  </a:lnTo>
                  <a:lnTo>
                    <a:pt x="1294" y="450"/>
                  </a:lnTo>
                  <a:lnTo>
                    <a:pt x="1303" y="446"/>
                  </a:lnTo>
                  <a:lnTo>
                    <a:pt x="1313" y="439"/>
                  </a:lnTo>
                  <a:lnTo>
                    <a:pt x="1323" y="435"/>
                  </a:lnTo>
                  <a:lnTo>
                    <a:pt x="1332" y="432"/>
                  </a:lnTo>
                  <a:lnTo>
                    <a:pt x="1352" y="428"/>
                  </a:lnTo>
                  <a:lnTo>
                    <a:pt x="1355" y="428"/>
                  </a:lnTo>
                  <a:lnTo>
                    <a:pt x="1357" y="425"/>
                  </a:lnTo>
                  <a:lnTo>
                    <a:pt x="1359" y="421"/>
                  </a:lnTo>
                  <a:lnTo>
                    <a:pt x="1361" y="417"/>
                  </a:lnTo>
                  <a:lnTo>
                    <a:pt x="1362" y="412"/>
                  </a:lnTo>
                  <a:lnTo>
                    <a:pt x="1364" y="412"/>
                  </a:lnTo>
                  <a:lnTo>
                    <a:pt x="1366" y="410"/>
                  </a:lnTo>
                  <a:lnTo>
                    <a:pt x="1372" y="412"/>
                  </a:lnTo>
                  <a:lnTo>
                    <a:pt x="1375" y="412"/>
                  </a:lnTo>
                  <a:lnTo>
                    <a:pt x="1382" y="412"/>
                  </a:lnTo>
                  <a:lnTo>
                    <a:pt x="1388" y="408"/>
                  </a:lnTo>
                  <a:lnTo>
                    <a:pt x="1393" y="405"/>
                  </a:lnTo>
                  <a:lnTo>
                    <a:pt x="1399" y="399"/>
                  </a:lnTo>
                  <a:lnTo>
                    <a:pt x="1408" y="386"/>
                  </a:lnTo>
                  <a:lnTo>
                    <a:pt x="1415" y="376"/>
                  </a:lnTo>
                  <a:lnTo>
                    <a:pt x="1419" y="368"/>
                  </a:lnTo>
                  <a:lnTo>
                    <a:pt x="1419" y="363"/>
                  </a:lnTo>
                  <a:lnTo>
                    <a:pt x="1419" y="361"/>
                  </a:lnTo>
                  <a:lnTo>
                    <a:pt x="1415" y="359"/>
                  </a:lnTo>
                  <a:lnTo>
                    <a:pt x="1408" y="361"/>
                  </a:lnTo>
                  <a:lnTo>
                    <a:pt x="1401" y="363"/>
                  </a:lnTo>
                  <a:lnTo>
                    <a:pt x="1393" y="366"/>
                  </a:lnTo>
                  <a:lnTo>
                    <a:pt x="1388" y="366"/>
                  </a:lnTo>
                  <a:lnTo>
                    <a:pt x="1384" y="366"/>
                  </a:lnTo>
                  <a:lnTo>
                    <a:pt x="1379" y="366"/>
                  </a:lnTo>
                  <a:lnTo>
                    <a:pt x="1375" y="365"/>
                  </a:lnTo>
                  <a:lnTo>
                    <a:pt x="1372" y="366"/>
                  </a:lnTo>
                  <a:lnTo>
                    <a:pt x="1366" y="366"/>
                  </a:lnTo>
                  <a:lnTo>
                    <a:pt x="1362" y="370"/>
                  </a:lnTo>
                  <a:lnTo>
                    <a:pt x="1357" y="376"/>
                  </a:lnTo>
                  <a:lnTo>
                    <a:pt x="1352" y="379"/>
                  </a:lnTo>
                  <a:lnTo>
                    <a:pt x="1348" y="381"/>
                  </a:lnTo>
                  <a:lnTo>
                    <a:pt x="1344" y="381"/>
                  </a:lnTo>
                  <a:lnTo>
                    <a:pt x="1343" y="381"/>
                  </a:lnTo>
                  <a:lnTo>
                    <a:pt x="1339" y="379"/>
                  </a:lnTo>
                  <a:lnTo>
                    <a:pt x="1337" y="376"/>
                  </a:lnTo>
                  <a:lnTo>
                    <a:pt x="1337" y="372"/>
                  </a:lnTo>
                  <a:lnTo>
                    <a:pt x="1337" y="368"/>
                  </a:lnTo>
                  <a:lnTo>
                    <a:pt x="1339" y="365"/>
                  </a:lnTo>
                  <a:lnTo>
                    <a:pt x="1344" y="356"/>
                  </a:lnTo>
                  <a:lnTo>
                    <a:pt x="1350" y="348"/>
                  </a:lnTo>
                  <a:lnTo>
                    <a:pt x="1357" y="339"/>
                  </a:lnTo>
                  <a:lnTo>
                    <a:pt x="1359" y="339"/>
                  </a:lnTo>
                  <a:lnTo>
                    <a:pt x="1366" y="330"/>
                  </a:lnTo>
                  <a:lnTo>
                    <a:pt x="1361" y="325"/>
                  </a:lnTo>
                  <a:lnTo>
                    <a:pt x="1359" y="321"/>
                  </a:lnTo>
                  <a:lnTo>
                    <a:pt x="1361" y="319"/>
                  </a:lnTo>
                  <a:lnTo>
                    <a:pt x="1361" y="316"/>
                  </a:lnTo>
                  <a:lnTo>
                    <a:pt x="1364" y="310"/>
                  </a:lnTo>
                  <a:lnTo>
                    <a:pt x="1370" y="307"/>
                  </a:lnTo>
                  <a:lnTo>
                    <a:pt x="1372" y="301"/>
                  </a:lnTo>
                  <a:lnTo>
                    <a:pt x="1368" y="296"/>
                  </a:lnTo>
                  <a:lnTo>
                    <a:pt x="1362" y="294"/>
                  </a:lnTo>
                  <a:lnTo>
                    <a:pt x="1352" y="288"/>
                  </a:lnTo>
                  <a:lnTo>
                    <a:pt x="1328" y="281"/>
                  </a:lnTo>
                  <a:lnTo>
                    <a:pt x="1321" y="279"/>
                  </a:lnTo>
                  <a:lnTo>
                    <a:pt x="1315" y="279"/>
                  </a:lnTo>
                  <a:lnTo>
                    <a:pt x="1299" y="278"/>
                  </a:lnTo>
                  <a:lnTo>
                    <a:pt x="1292" y="278"/>
                  </a:lnTo>
                  <a:lnTo>
                    <a:pt x="1286" y="276"/>
                  </a:lnTo>
                  <a:lnTo>
                    <a:pt x="1281" y="272"/>
                  </a:lnTo>
                  <a:lnTo>
                    <a:pt x="1275" y="268"/>
                  </a:lnTo>
                  <a:lnTo>
                    <a:pt x="1279" y="267"/>
                  </a:lnTo>
                  <a:lnTo>
                    <a:pt x="1284" y="265"/>
                  </a:lnTo>
                  <a:lnTo>
                    <a:pt x="1295" y="265"/>
                  </a:lnTo>
                  <a:lnTo>
                    <a:pt x="1308" y="265"/>
                  </a:lnTo>
                  <a:lnTo>
                    <a:pt x="1323" y="265"/>
                  </a:lnTo>
                  <a:lnTo>
                    <a:pt x="1332" y="265"/>
                  </a:lnTo>
                  <a:lnTo>
                    <a:pt x="1339" y="263"/>
                  </a:lnTo>
                  <a:lnTo>
                    <a:pt x="1344" y="261"/>
                  </a:lnTo>
                  <a:lnTo>
                    <a:pt x="1346" y="258"/>
                  </a:lnTo>
                  <a:lnTo>
                    <a:pt x="1346" y="256"/>
                  </a:lnTo>
                  <a:lnTo>
                    <a:pt x="1350" y="261"/>
                  </a:lnTo>
                  <a:lnTo>
                    <a:pt x="1353" y="265"/>
                  </a:lnTo>
                  <a:lnTo>
                    <a:pt x="1357" y="268"/>
                  </a:lnTo>
                  <a:lnTo>
                    <a:pt x="1361" y="270"/>
                  </a:lnTo>
                  <a:lnTo>
                    <a:pt x="1370" y="270"/>
                  </a:lnTo>
                  <a:lnTo>
                    <a:pt x="1379" y="272"/>
                  </a:lnTo>
                  <a:lnTo>
                    <a:pt x="1392" y="274"/>
                  </a:lnTo>
                  <a:lnTo>
                    <a:pt x="1406" y="274"/>
                  </a:lnTo>
                  <a:lnTo>
                    <a:pt x="1413" y="274"/>
                  </a:lnTo>
                  <a:lnTo>
                    <a:pt x="1421" y="272"/>
                  </a:lnTo>
                  <a:lnTo>
                    <a:pt x="1428" y="267"/>
                  </a:lnTo>
                  <a:lnTo>
                    <a:pt x="1437" y="259"/>
                  </a:lnTo>
                  <a:lnTo>
                    <a:pt x="1451" y="247"/>
                  </a:lnTo>
                  <a:lnTo>
                    <a:pt x="1455" y="241"/>
                  </a:lnTo>
                  <a:lnTo>
                    <a:pt x="1459" y="236"/>
                  </a:lnTo>
                  <a:lnTo>
                    <a:pt x="1460" y="230"/>
                  </a:lnTo>
                  <a:lnTo>
                    <a:pt x="1462" y="223"/>
                  </a:lnTo>
                  <a:lnTo>
                    <a:pt x="1464" y="212"/>
                  </a:lnTo>
                  <a:lnTo>
                    <a:pt x="1468" y="207"/>
                  </a:lnTo>
                  <a:lnTo>
                    <a:pt x="1470" y="201"/>
                  </a:lnTo>
                  <a:lnTo>
                    <a:pt x="1475" y="201"/>
                  </a:lnTo>
                  <a:lnTo>
                    <a:pt x="1480" y="201"/>
                  </a:lnTo>
                  <a:lnTo>
                    <a:pt x="1482" y="200"/>
                  </a:lnTo>
                  <a:lnTo>
                    <a:pt x="1486" y="198"/>
                  </a:lnTo>
                  <a:lnTo>
                    <a:pt x="1488" y="194"/>
                  </a:lnTo>
                  <a:lnTo>
                    <a:pt x="1489" y="190"/>
                  </a:lnTo>
                  <a:lnTo>
                    <a:pt x="1489" y="187"/>
                  </a:lnTo>
                  <a:lnTo>
                    <a:pt x="1491" y="178"/>
                  </a:lnTo>
                  <a:lnTo>
                    <a:pt x="1491" y="176"/>
                  </a:lnTo>
                  <a:lnTo>
                    <a:pt x="1489" y="170"/>
                  </a:lnTo>
                  <a:lnTo>
                    <a:pt x="1489" y="163"/>
                  </a:lnTo>
                  <a:lnTo>
                    <a:pt x="1484" y="152"/>
                  </a:lnTo>
                  <a:lnTo>
                    <a:pt x="1480" y="147"/>
                  </a:lnTo>
                  <a:lnTo>
                    <a:pt x="1477" y="141"/>
                  </a:lnTo>
                  <a:lnTo>
                    <a:pt x="1471" y="136"/>
                  </a:lnTo>
                  <a:lnTo>
                    <a:pt x="1466" y="132"/>
                  </a:lnTo>
                  <a:lnTo>
                    <a:pt x="1457" y="127"/>
                  </a:lnTo>
                  <a:lnTo>
                    <a:pt x="1453" y="125"/>
                  </a:lnTo>
                  <a:lnTo>
                    <a:pt x="1450" y="125"/>
                  </a:lnTo>
                  <a:lnTo>
                    <a:pt x="1446" y="125"/>
                  </a:lnTo>
                  <a:lnTo>
                    <a:pt x="1444" y="127"/>
                  </a:lnTo>
                  <a:lnTo>
                    <a:pt x="1442" y="131"/>
                  </a:lnTo>
                  <a:lnTo>
                    <a:pt x="1440" y="136"/>
                  </a:lnTo>
                  <a:lnTo>
                    <a:pt x="1440" y="141"/>
                  </a:lnTo>
                  <a:lnTo>
                    <a:pt x="1439" y="147"/>
                  </a:lnTo>
                  <a:lnTo>
                    <a:pt x="1439" y="161"/>
                  </a:lnTo>
                  <a:lnTo>
                    <a:pt x="1439" y="169"/>
                  </a:lnTo>
                  <a:lnTo>
                    <a:pt x="1439" y="187"/>
                  </a:lnTo>
                  <a:lnTo>
                    <a:pt x="1439" y="190"/>
                  </a:lnTo>
                  <a:lnTo>
                    <a:pt x="1437" y="194"/>
                  </a:lnTo>
                  <a:lnTo>
                    <a:pt x="1435" y="200"/>
                  </a:lnTo>
                  <a:lnTo>
                    <a:pt x="1431" y="190"/>
                  </a:lnTo>
                  <a:lnTo>
                    <a:pt x="1428" y="180"/>
                  </a:lnTo>
                  <a:lnTo>
                    <a:pt x="1424" y="158"/>
                  </a:lnTo>
                  <a:lnTo>
                    <a:pt x="1422" y="147"/>
                  </a:lnTo>
                  <a:lnTo>
                    <a:pt x="1421" y="138"/>
                  </a:lnTo>
                  <a:lnTo>
                    <a:pt x="1421" y="136"/>
                  </a:lnTo>
                  <a:lnTo>
                    <a:pt x="1421" y="134"/>
                  </a:lnTo>
                  <a:lnTo>
                    <a:pt x="1419" y="134"/>
                  </a:lnTo>
                  <a:lnTo>
                    <a:pt x="1417" y="132"/>
                  </a:lnTo>
                  <a:lnTo>
                    <a:pt x="1415" y="132"/>
                  </a:lnTo>
                  <a:lnTo>
                    <a:pt x="1410" y="132"/>
                  </a:lnTo>
                  <a:lnTo>
                    <a:pt x="1404" y="134"/>
                  </a:lnTo>
                  <a:lnTo>
                    <a:pt x="1384" y="141"/>
                  </a:lnTo>
                  <a:lnTo>
                    <a:pt x="1375" y="145"/>
                  </a:lnTo>
                  <a:lnTo>
                    <a:pt x="1364" y="147"/>
                  </a:lnTo>
                  <a:lnTo>
                    <a:pt x="1362" y="147"/>
                  </a:lnTo>
                  <a:lnTo>
                    <a:pt x="1359" y="145"/>
                  </a:lnTo>
                  <a:lnTo>
                    <a:pt x="1357" y="143"/>
                  </a:lnTo>
                  <a:lnTo>
                    <a:pt x="1353" y="143"/>
                  </a:lnTo>
                  <a:lnTo>
                    <a:pt x="1348" y="143"/>
                  </a:lnTo>
                  <a:lnTo>
                    <a:pt x="1343" y="145"/>
                  </a:lnTo>
                  <a:lnTo>
                    <a:pt x="1333" y="149"/>
                  </a:lnTo>
                  <a:lnTo>
                    <a:pt x="1326" y="151"/>
                  </a:lnTo>
                  <a:lnTo>
                    <a:pt x="1317" y="152"/>
                  </a:lnTo>
                  <a:lnTo>
                    <a:pt x="1312" y="151"/>
                  </a:lnTo>
                  <a:lnTo>
                    <a:pt x="1310" y="147"/>
                  </a:lnTo>
                  <a:lnTo>
                    <a:pt x="1312" y="143"/>
                  </a:lnTo>
                  <a:lnTo>
                    <a:pt x="1315" y="138"/>
                  </a:lnTo>
                  <a:lnTo>
                    <a:pt x="1319" y="136"/>
                  </a:lnTo>
                  <a:lnTo>
                    <a:pt x="1321" y="134"/>
                  </a:lnTo>
                  <a:lnTo>
                    <a:pt x="1328" y="131"/>
                  </a:lnTo>
                  <a:lnTo>
                    <a:pt x="1335" y="129"/>
                  </a:lnTo>
                  <a:lnTo>
                    <a:pt x="1343" y="127"/>
                  </a:lnTo>
                  <a:lnTo>
                    <a:pt x="1344" y="125"/>
                  </a:lnTo>
                  <a:lnTo>
                    <a:pt x="1348" y="121"/>
                  </a:lnTo>
                  <a:lnTo>
                    <a:pt x="1350" y="118"/>
                  </a:lnTo>
                  <a:lnTo>
                    <a:pt x="1353" y="116"/>
                  </a:lnTo>
                  <a:lnTo>
                    <a:pt x="1355" y="116"/>
                  </a:lnTo>
                  <a:lnTo>
                    <a:pt x="1359" y="116"/>
                  </a:lnTo>
                  <a:lnTo>
                    <a:pt x="1362" y="116"/>
                  </a:lnTo>
                  <a:lnTo>
                    <a:pt x="1364" y="116"/>
                  </a:lnTo>
                  <a:lnTo>
                    <a:pt x="1372" y="112"/>
                  </a:lnTo>
                  <a:lnTo>
                    <a:pt x="1373" y="111"/>
                  </a:lnTo>
                  <a:lnTo>
                    <a:pt x="1373" y="109"/>
                  </a:lnTo>
                  <a:lnTo>
                    <a:pt x="1373" y="105"/>
                  </a:lnTo>
                  <a:lnTo>
                    <a:pt x="1373" y="102"/>
                  </a:lnTo>
                  <a:lnTo>
                    <a:pt x="1375" y="96"/>
                  </a:lnTo>
                  <a:lnTo>
                    <a:pt x="1382" y="98"/>
                  </a:lnTo>
                  <a:lnTo>
                    <a:pt x="1388" y="98"/>
                  </a:lnTo>
                  <a:lnTo>
                    <a:pt x="1397" y="98"/>
                  </a:lnTo>
                  <a:lnTo>
                    <a:pt x="1402" y="94"/>
                  </a:lnTo>
                  <a:lnTo>
                    <a:pt x="1408" y="91"/>
                  </a:lnTo>
                  <a:lnTo>
                    <a:pt x="1406" y="89"/>
                  </a:lnTo>
                  <a:lnTo>
                    <a:pt x="1404" y="85"/>
                  </a:lnTo>
                  <a:lnTo>
                    <a:pt x="1397" y="82"/>
                  </a:lnTo>
                  <a:lnTo>
                    <a:pt x="1393" y="80"/>
                  </a:lnTo>
                  <a:lnTo>
                    <a:pt x="1392" y="76"/>
                  </a:lnTo>
                  <a:lnTo>
                    <a:pt x="1390" y="74"/>
                  </a:lnTo>
                  <a:lnTo>
                    <a:pt x="1388" y="69"/>
                  </a:lnTo>
                  <a:lnTo>
                    <a:pt x="1402" y="76"/>
                  </a:lnTo>
                  <a:lnTo>
                    <a:pt x="1411" y="78"/>
                  </a:lnTo>
                  <a:lnTo>
                    <a:pt x="1419" y="80"/>
                  </a:lnTo>
                  <a:lnTo>
                    <a:pt x="1422" y="80"/>
                  </a:lnTo>
                  <a:lnTo>
                    <a:pt x="1424" y="78"/>
                  </a:lnTo>
                  <a:lnTo>
                    <a:pt x="1424" y="76"/>
                  </a:lnTo>
                  <a:lnTo>
                    <a:pt x="1424" y="72"/>
                  </a:lnTo>
                  <a:lnTo>
                    <a:pt x="1421" y="67"/>
                  </a:lnTo>
                  <a:lnTo>
                    <a:pt x="1424" y="71"/>
                  </a:lnTo>
                  <a:lnTo>
                    <a:pt x="1430" y="74"/>
                  </a:lnTo>
                  <a:lnTo>
                    <a:pt x="1437" y="83"/>
                  </a:lnTo>
                  <a:lnTo>
                    <a:pt x="1444" y="92"/>
                  </a:lnTo>
                  <a:lnTo>
                    <a:pt x="1450" y="96"/>
                  </a:lnTo>
                  <a:lnTo>
                    <a:pt x="1451" y="98"/>
                  </a:lnTo>
                  <a:lnTo>
                    <a:pt x="1455" y="98"/>
                  </a:lnTo>
                  <a:lnTo>
                    <a:pt x="1455" y="91"/>
                  </a:lnTo>
                  <a:lnTo>
                    <a:pt x="1451" y="83"/>
                  </a:lnTo>
                  <a:lnTo>
                    <a:pt x="1448" y="76"/>
                  </a:lnTo>
                  <a:lnTo>
                    <a:pt x="1444" y="69"/>
                  </a:lnTo>
                  <a:lnTo>
                    <a:pt x="1435" y="54"/>
                  </a:lnTo>
                  <a:lnTo>
                    <a:pt x="1426" y="45"/>
                  </a:lnTo>
                  <a:lnTo>
                    <a:pt x="1422" y="42"/>
                  </a:lnTo>
                  <a:lnTo>
                    <a:pt x="1419" y="38"/>
                  </a:lnTo>
                  <a:lnTo>
                    <a:pt x="1408" y="33"/>
                  </a:lnTo>
                  <a:lnTo>
                    <a:pt x="1399" y="27"/>
                  </a:lnTo>
                  <a:lnTo>
                    <a:pt x="1397" y="22"/>
                  </a:lnTo>
                  <a:lnTo>
                    <a:pt x="1395" y="18"/>
                  </a:lnTo>
                  <a:lnTo>
                    <a:pt x="1393" y="16"/>
                  </a:lnTo>
                  <a:lnTo>
                    <a:pt x="1395" y="14"/>
                  </a:lnTo>
                  <a:lnTo>
                    <a:pt x="1395" y="13"/>
                  </a:lnTo>
                  <a:lnTo>
                    <a:pt x="1397" y="9"/>
                  </a:lnTo>
                  <a:lnTo>
                    <a:pt x="1399" y="7"/>
                  </a:lnTo>
                  <a:lnTo>
                    <a:pt x="1399" y="5"/>
                  </a:lnTo>
                  <a:lnTo>
                    <a:pt x="1397" y="0"/>
                  </a:lnTo>
                  <a:close/>
                  <a:moveTo>
                    <a:pt x="424" y="185"/>
                  </a:moveTo>
                  <a:lnTo>
                    <a:pt x="422" y="183"/>
                  </a:lnTo>
                  <a:lnTo>
                    <a:pt x="424" y="183"/>
                  </a:lnTo>
                  <a:lnTo>
                    <a:pt x="424" y="185"/>
                  </a:lnTo>
                  <a:close/>
                  <a:moveTo>
                    <a:pt x="1362" y="310"/>
                  </a:moveTo>
                  <a:lnTo>
                    <a:pt x="1361" y="310"/>
                  </a:lnTo>
                  <a:lnTo>
                    <a:pt x="1362" y="308"/>
                  </a:lnTo>
                  <a:lnTo>
                    <a:pt x="1362" y="310"/>
                  </a:lnTo>
                  <a:close/>
                </a:path>
              </a:pathLst>
            </a:custGeom>
            <a:solidFill>
              <a:srgbClr val="2E2E38"/>
            </a:solidFill>
            <a:ln w="3175" cap="flat" cmpd="sng" algn="ctr">
              <a:solidFill>
                <a:srgbClr val="747480"/>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646464"/>
                </a:solidFill>
                <a:effectLst/>
                <a:uLnTx/>
                <a:uFillTx/>
                <a:cs typeface="Times New Roman" panose="02020603050405020304" pitchFamily="18" charset="0"/>
              </a:endParaRPr>
            </a:p>
          </p:txBody>
        </p:sp>
        <p:sp>
          <p:nvSpPr>
            <p:cNvPr id="45" name="Freeform 86">
              <a:extLst>
                <a:ext uri="{FF2B5EF4-FFF2-40B4-BE49-F238E27FC236}">
                  <a16:creationId xmlns:a16="http://schemas.microsoft.com/office/drawing/2014/main" id="{761D34CD-0B6E-8F53-299B-890466D0F7C7}"/>
                </a:ext>
              </a:extLst>
            </p:cNvPr>
            <p:cNvSpPr>
              <a:spLocks noEditPoints="1"/>
            </p:cNvSpPr>
            <p:nvPr/>
          </p:nvSpPr>
          <p:spPr bwMode="auto">
            <a:xfrm>
              <a:off x="5923395" y="4655430"/>
              <a:ext cx="608079" cy="339724"/>
            </a:xfrm>
            <a:custGeom>
              <a:avLst/>
              <a:gdLst/>
              <a:ahLst/>
              <a:cxnLst>
                <a:cxn ang="0">
                  <a:pos x="911" y="31"/>
                </a:cxn>
                <a:cxn ang="0">
                  <a:pos x="886" y="36"/>
                </a:cxn>
                <a:cxn ang="0">
                  <a:pos x="835" y="22"/>
                </a:cxn>
                <a:cxn ang="0">
                  <a:pos x="808" y="15"/>
                </a:cxn>
                <a:cxn ang="0">
                  <a:pos x="788" y="87"/>
                </a:cxn>
                <a:cxn ang="0">
                  <a:pos x="744" y="152"/>
                </a:cxn>
                <a:cxn ang="0">
                  <a:pos x="706" y="183"/>
                </a:cxn>
                <a:cxn ang="0">
                  <a:pos x="671" y="260"/>
                </a:cxn>
                <a:cxn ang="0">
                  <a:pos x="644" y="245"/>
                </a:cxn>
                <a:cxn ang="0">
                  <a:pos x="624" y="238"/>
                </a:cxn>
                <a:cxn ang="0">
                  <a:pos x="593" y="339"/>
                </a:cxn>
                <a:cxn ang="0">
                  <a:pos x="559" y="401"/>
                </a:cxn>
                <a:cxn ang="0">
                  <a:pos x="539" y="479"/>
                </a:cxn>
                <a:cxn ang="0">
                  <a:pos x="515" y="499"/>
                </a:cxn>
                <a:cxn ang="0">
                  <a:pos x="472" y="512"/>
                </a:cxn>
                <a:cxn ang="0">
                  <a:pos x="421" y="554"/>
                </a:cxn>
                <a:cxn ang="0">
                  <a:pos x="394" y="561"/>
                </a:cxn>
                <a:cxn ang="0">
                  <a:pos x="365" y="555"/>
                </a:cxn>
                <a:cxn ang="0">
                  <a:pos x="336" y="583"/>
                </a:cxn>
                <a:cxn ang="0">
                  <a:pos x="285" y="564"/>
                </a:cxn>
                <a:cxn ang="0">
                  <a:pos x="267" y="534"/>
                </a:cxn>
                <a:cxn ang="0">
                  <a:pos x="221" y="573"/>
                </a:cxn>
                <a:cxn ang="0">
                  <a:pos x="178" y="604"/>
                </a:cxn>
                <a:cxn ang="0">
                  <a:pos x="122" y="677"/>
                </a:cxn>
                <a:cxn ang="0">
                  <a:pos x="64" y="733"/>
                </a:cxn>
                <a:cxn ang="0">
                  <a:pos x="44" y="755"/>
                </a:cxn>
                <a:cxn ang="0">
                  <a:pos x="730" y="671"/>
                </a:cxn>
                <a:cxn ang="0">
                  <a:pos x="1321" y="543"/>
                </a:cxn>
                <a:cxn ang="0">
                  <a:pos x="1321" y="492"/>
                </a:cxn>
                <a:cxn ang="0">
                  <a:pos x="1281" y="477"/>
                </a:cxn>
                <a:cxn ang="0">
                  <a:pos x="1247" y="497"/>
                </a:cxn>
                <a:cxn ang="0">
                  <a:pos x="1232" y="486"/>
                </a:cxn>
                <a:cxn ang="0">
                  <a:pos x="1243" y="450"/>
                </a:cxn>
                <a:cxn ang="0">
                  <a:pos x="1225" y="419"/>
                </a:cxn>
                <a:cxn ang="0">
                  <a:pos x="1225" y="383"/>
                </a:cxn>
                <a:cxn ang="0">
                  <a:pos x="1238" y="374"/>
                </a:cxn>
                <a:cxn ang="0">
                  <a:pos x="1212" y="338"/>
                </a:cxn>
                <a:cxn ang="0">
                  <a:pos x="1216" y="307"/>
                </a:cxn>
                <a:cxn ang="0">
                  <a:pos x="1218" y="283"/>
                </a:cxn>
                <a:cxn ang="0">
                  <a:pos x="1205" y="261"/>
                </a:cxn>
                <a:cxn ang="0">
                  <a:pos x="1160" y="241"/>
                </a:cxn>
                <a:cxn ang="0">
                  <a:pos x="1134" y="232"/>
                </a:cxn>
                <a:cxn ang="0">
                  <a:pos x="1116" y="229"/>
                </a:cxn>
                <a:cxn ang="0">
                  <a:pos x="1092" y="227"/>
                </a:cxn>
                <a:cxn ang="0">
                  <a:pos x="1074" y="201"/>
                </a:cxn>
                <a:cxn ang="0">
                  <a:pos x="1054" y="191"/>
                </a:cxn>
                <a:cxn ang="0">
                  <a:pos x="1025" y="207"/>
                </a:cxn>
                <a:cxn ang="0">
                  <a:pos x="1018" y="174"/>
                </a:cxn>
                <a:cxn ang="0">
                  <a:pos x="1049" y="105"/>
                </a:cxn>
                <a:cxn ang="0">
                  <a:pos x="1022" y="71"/>
                </a:cxn>
                <a:cxn ang="0">
                  <a:pos x="980" y="47"/>
                </a:cxn>
                <a:cxn ang="0">
                  <a:pos x="962" y="40"/>
                </a:cxn>
                <a:cxn ang="0">
                  <a:pos x="947" y="9"/>
                </a:cxn>
                <a:cxn ang="0">
                  <a:pos x="1272" y="486"/>
                </a:cxn>
              </a:cxnLst>
              <a:rect l="0" t="0" r="r" b="b"/>
              <a:pathLst>
                <a:path w="1328" h="762">
                  <a:moveTo>
                    <a:pt x="920" y="0"/>
                  </a:moveTo>
                  <a:lnTo>
                    <a:pt x="916" y="4"/>
                  </a:lnTo>
                  <a:lnTo>
                    <a:pt x="915" y="7"/>
                  </a:lnTo>
                  <a:lnTo>
                    <a:pt x="913" y="13"/>
                  </a:lnTo>
                  <a:lnTo>
                    <a:pt x="911" y="18"/>
                  </a:lnTo>
                  <a:lnTo>
                    <a:pt x="911" y="31"/>
                  </a:lnTo>
                  <a:lnTo>
                    <a:pt x="909" y="38"/>
                  </a:lnTo>
                  <a:lnTo>
                    <a:pt x="907" y="44"/>
                  </a:lnTo>
                  <a:lnTo>
                    <a:pt x="906" y="42"/>
                  </a:lnTo>
                  <a:lnTo>
                    <a:pt x="902" y="40"/>
                  </a:lnTo>
                  <a:lnTo>
                    <a:pt x="895" y="36"/>
                  </a:lnTo>
                  <a:lnTo>
                    <a:pt x="886" y="36"/>
                  </a:lnTo>
                  <a:lnTo>
                    <a:pt x="878" y="36"/>
                  </a:lnTo>
                  <a:lnTo>
                    <a:pt x="869" y="34"/>
                  </a:lnTo>
                  <a:lnTo>
                    <a:pt x="860" y="34"/>
                  </a:lnTo>
                  <a:lnTo>
                    <a:pt x="853" y="33"/>
                  </a:lnTo>
                  <a:lnTo>
                    <a:pt x="844" y="29"/>
                  </a:lnTo>
                  <a:lnTo>
                    <a:pt x="835" y="22"/>
                  </a:lnTo>
                  <a:lnTo>
                    <a:pt x="826" y="15"/>
                  </a:lnTo>
                  <a:lnTo>
                    <a:pt x="818" y="11"/>
                  </a:lnTo>
                  <a:lnTo>
                    <a:pt x="817" y="9"/>
                  </a:lnTo>
                  <a:lnTo>
                    <a:pt x="813" y="9"/>
                  </a:lnTo>
                  <a:lnTo>
                    <a:pt x="811" y="9"/>
                  </a:lnTo>
                  <a:lnTo>
                    <a:pt x="808" y="15"/>
                  </a:lnTo>
                  <a:lnTo>
                    <a:pt x="806" y="24"/>
                  </a:lnTo>
                  <a:lnTo>
                    <a:pt x="804" y="36"/>
                  </a:lnTo>
                  <a:lnTo>
                    <a:pt x="800" y="56"/>
                  </a:lnTo>
                  <a:lnTo>
                    <a:pt x="797" y="73"/>
                  </a:lnTo>
                  <a:lnTo>
                    <a:pt x="793" y="80"/>
                  </a:lnTo>
                  <a:lnTo>
                    <a:pt x="788" y="87"/>
                  </a:lnTo>
                  <a:lnTo>
                    <a:pt x="775" y="107"/>
                  </a:lnTo>
                  <a:lnTo>
                    <a:pt x="764" y="123"/>
                  </a:lnTo>
                  <a:lnTo>
                    <a:pt x="759" y="132"/>
                  </a:lnTo>
                  <a:lnTo>
                    <a:pt x="753" y="142"/>
                  </a:lnTo>
                  <a:lnTo>
                    <a:pt x="746" y="149"/>
                  </a:lnTo>
                  <a:lnTo>
                    <a:pt x="744" y="152"/>
                  </a:lnTo>
                  <a:lnTo>
                    <a:pt x="740" y="154"/>
                  </a:lnTo>
                  <a:lnTo>
                    <a:pt x="737" y="158"/>
                  </a:lnTo>
                  <a:lnTo>
                    <a:pt x="733" y="160"/>
                  </a:lnTo>
                  <a:lnTo>
                    <a:pt x="724" y="160"/>
                  </a:lnTo>
                  <a:lnTo>
                    <a:pt x="713" y="158"/>
                  </a:lnTo>
                  <a:lnTo>
                    <a:pt x="706" y="183"/>
                  </a:lnTo>
                  <a:lnTo>
                    <a:pt x="697" y="218"/>
                  </a:lnTo>
                  <a:lnTo>
                    <a:pt x="691" y="234"/>
                  </a:lnTo>
                  <a:lnTo>
                    <a:pt x="684" y="247"/>
                  </a:lnTo>
                  <a:lnTo>
                    <a:pt x="681" y="252"/>
                  </a:lnTo>
                  <a:lnTo>
                    <a:pt x="675" y="258"/>
                  </a:lnTo>
                  <a:lnTo>
                    <a:pt x="671" y="260"/>
                  </a:lnTo>
                  <a:lnTo>
                    <a:pt x="668" y="261"/>
                  </a:lnTo>
                  <a:lnTo>
                    <a:pt x="666" y="261"/>
                  </a:lnTo>
                  <a:lnTo>
                    <a:pt x="659" y="260"/>
                  </a:lnTo>
                  <a:lnTo>
                    <a:pt x="653" y="256"/>
                  </a:lnTo>
                  <a:lnTo>
                    <a:pt x="648" y="250"/>
                  </a:lnTo>
                  <a:lnTo>
                    <a:pt x="644" y="245"/>
                  </a:lnTo>
                  <a:lnTo>
                    <a:pt x="637" y="236"/>
                  </a:lnTo>
                  <a:lnTo>
                    <a:pt x="633" y="232"/>
                  </a:lnTo>
                  <a:lnTo>
                    <a:pt x="630" y="230"/>
                  </a:lnTo>
                  <a:lnTo>
                    <a:pt x="630" y="232"/>
                  </a:lnTo>
                  <a:lnTo>
                    <a:pt x="628" y="232"/>
                  </a:lnTo>
                  <a:lnTo>
                    <a:pt x="624" y="238"/>
                  </a:lnTo>
                  <a:lnTo>
                    <a:pt x="622" y="247"/>
                  </a:lnTo>
                  <a:lnTo>
                    <a:pt x="619" y="263"/>
                  </a:lnTo>
                  <a:lnTo>
                    <a:pt x="613" y="283"/>
                  </a:lnTo>
                  <a:lnTo>
                    <a:pt x="606" y="301"/>
                  </a:lnTo>
                  <a:lnTo>
                    <a:pt x="599" y="319"/>
                  </a:lnTo>
                  <a:lnTo>
                    <a:pt x="593" y="339"/>
                  </a:lnTo>
                  <a:lnTo>
                    <a:pt x="590" y="348"/>
                  </a:lnTo>
                  <a:lnTo>
                    <a:pt x="586" y="356"/>
                  </a:lnTo>
                  <a:lnTo>
                    <a:pt x="579" y="368"/>
                  </a:lnTo>
                  <a:lnTo>
                    <a:pt x="572" y="377"/>
                  </a:lnTo>
                  <a:lnTo>
                    <a:pt x="563" y="392"/>
                  </a:lnTo>
                  <a:lnTo>
                    <a:pt x="559" y="401"/>
                  </a:lnTo>
                  <a:lnTo>
                    <a:pt x="557" y="416"/>
                  </a:lnTo>
                  <a:lnTo>
                    <a:pt x="552" y="446"/>
                  </a:lnTo>
                  <a:lnTo>
                    <a:pt x="548" y="461"/>
                  </a:lnTo>
                  <a:lnTo>
                    <a:pt x="546" y="468"/>
                  </a:lnTo>
                  <a:lnTo>
                    <a:pt x="543" y="474"/>
                  </a:lnTo>
                  <a:lnTo>
                    <a:pt x="539" y="479"/>
                  </a:lnTo>
                  <a:lnTo>
                    <a:pt x="535" y="483"/>
                  </a:lnTo>
                  <a:lnTo>
                    <a:pt x="530" y="485"/>
                  </a:lnTo>
                  <a:lnTo>
                    <a:pt x="525" y="486"/>
                  </a:lnTo>
                  <a:lnTo>
                    <a:pt x="521" y="486"/>
                  </a:lnTo>
                  <a:lnTo>
                    <a:pt x="517" y="495"/>
                  </a:lnTo>
                  <a:lnTo>
                    <a:pt x="515" y="499"/>
                  </a:lnTo>
                  <a:lnTo>
                    <a:pt x="512" y="503"/>
                  </a:lnTo>
                  <a:lnTo>
                    <a:pt x="510" y="505"/>
                  </a:lnTo>
                  <a:lnTo>
                    <a:pt x="506" y="506"/>
                  </a:lnTo>
                  <a:lnTo>
                    <a:pt x="499" y="510"/>
                  </a:lnTo>
                  <a:lnTo>
                    <a:pt x="481" y="512"/>
                  </a:lnTo>
                  <a:lnTo>
                    <a:pt x="472" y="512"/>
                  </a:lnTo>
                  <a:lnTo>
                    <a:pt x="465" y="515"/>
                  </a:lnTo>
                  <a:lnTo>
                    <a:pt x="456" y="519"/>
                  </a:lnTo>
                  <a:lnTo>
                    <a:pt x="448" y="526"/>
                  </a:lnTo>
                  <a:lnTo>
                    <a:pt x="436" y="541"/>
                  </a:lnTo>
                  <a:lnTo>
                    <a:pt x="428" y="548"/>
                  </a:lnTo>
                  <a:lnTo>
                    <a:pt x="421" y="554"/>
                  </a:lnTo>
                  <a:lnTo>
                    <a:pt x="412" y="559"/>
                  </a:lnTo>
                  <a:lnTo>
                    <a:pt x="408" y="561"/>
                  </a:lnTo>
                  <a:lnTo>
                    <a:pt x="403" y="563"/>
                  </a:lnTo>
                  <a:lnTo>
                    <a:pt x="399" y="563"/>
                  </a:lnTo>
                  <a:lnTo>
                    <a:pt x="396" y="563"/>
                  </a:lnTo>
                  <a:lnTo>
                    <a:pt x="394" y="561"/>
                  </a:lnTo>
                  <a:lnTo>
                    <a:pt x="387" y="557"/>
                  </a:lnTo>
                  <a:lnTo>
                    <a:pt x="381" y="554"/>
                  </a:lnTo>
                  <a:lnTo>
                    <a:pt x="378" y="552"/>
                  </a:lnTo>
                  <a:lnTo>
                    <a:pt x="374" y="552"/>
                  </a:lnTo>
                  <a:lnTo>
                    <a:pt x="368" y="554"/>
                  </a:lnTo>
                  <a:lnTo>
                    <a:pt x="365" y="555"/>
                  </a:lnTo>
                  <a:lnTo>
                    <a:pt x="363" y="559"/>
                  </a:lnTo>
                  <a:lnTo>
                    <a:pt x="356" y="568"/>
                  </a:lnTo>
                  <a:lnTo>
                    <a:pt x="350" y="575"/>
                  </a:lnTo>
                  <a:lnTo>
                    <a:pt x="348" y="579"/>
                  </a:lnTo>
                  <a:lnTo>
                    <a:pt x="345" y="581"/>
                  </a:lnTo>
                  <a:lnTo>
                    <a:pt x="336" y="583"/>
                  </a:lnTo>
                  <a:lnTo>
                    <a:pt x="329" y="584"/>
                  </a:lnTo>
                  <a:lnTo>
                    <a:pt x="323" y="584"/>
                  </a:lnTo>
                  <a:lnTo>
                    <a:pt x="318" y="583"/>
                  </a:lnTo>
                  <a:lnTo>
                    <a:pt x="307" y="579"/>
                  </a:lnTo>
                  <a:lnTo>
                    <a:pt x="298" y="572"/>
                  </a:lnTo>
                  <a:lnTo>
                    <a:pt x="285" y="564"/>
                  </a:lnTo>
                  <a:lnTo>
                    <a:pt x="280" y="561"/>
                  </a:lnTo>
                  <a:lnTo>
                    <a:pt x="272" y="554"/>
                  </a:lnTo>
                  <a:lnTo>
                    <a:pt x="267" y="546"/>
                  </a:lnTo>
                  <a:lnTo>
                    <a:pt x="267" y="543"/>
                  </a:lnTo>
                  <a:lnTo>
                    <a:pt x="265" y="539"/>
                  </a:lnTo>
                  <a:lnTo>
                    <a:pt x="267" y="534"/>
                  </a:lnTo>
                  <a:lnTo>
                    <a:pt x="269" y="528"/>
                  </a:lnTo>
                  <a:lnTo>
                    <a:pt x="265" y="530"/>
                  </a:lnTo>
                  <a:lnTo>
                    <a:pt x="260" y="534"/>
                  </a:lnTo>
                  <a:lnTo>
                    <a:pt x="250" y="541"/>
                  </a:lnTo>
                  <a:lnTo>
                    <a:pt x="232" y="563"/>
                  </a:lnTo>
                  <a:lnTo>
                    <a:pt x="221" y="573"/>
                  </a:lnTo>
                  <a:lnTo>
                    <a:pt x="211" y="584"/>
                  </a:lnTo>
                  <a:lnTo>
                    <a:pt x="200" y="593"/>
                  </a:lnTo>
                  <a:lnTo>
                    <a:pt x="192" y="597"/>
                  </a:lnTo>
                  <a:lnTo>
                    <a:pt x="187" y="599"/>
                  </a:lnTo>
                  <a:lnTo>
                    <a:pt x="182" y="603"/>
                  </a:lnTo>
                  <a:lnTo>
                    <a:pt x="178" y="604"/>
                  </a:lnTo>
                  <a:lnTo>
                    <a:pt x="169" y="612"/>
                  </a:lnTo>
                  <a:lnTo>
                    <a:pt x="162" y="619"/>
                  </a:lnTo>
                  <a:lnTo>
                    <a:pt x="154" y="630"/>
                  </a:lnTo>
                  <a:lnTo>
                    <a:pt x="142" y="648"/>
                  </a:lnTo>
                  <a:lnTo>
                    <a:pt x="133" y="659"/>
                  </a:lnTo>
                  <a:lnTo>
                    <a:pt x="122" y="677"/>
                  </a:lnTo>
                  <a:lnTo>
                    <a:pt x="109" y="695"/>
                  </a:lnTo>
                  <a:lnTo>
                    <a:pt x="96" y="710"/>
                  </a:lnTo>
                  <a:lnTo>
                    <a:pt x="89" y="717"/>
                  </a:lnTo>
                  <a:lnTo>
                    <a:pt x="80" y="724"/>
                  </a:lnTo>
                  <a:lnTo>
                    <a:pt x="73" y="728"/>
                  </a:lnTo>
                  <a:lnTo>
                    <a:pt x="64" y="733"/>
                  </a:lnTo>
                  <a:lnTo>
                    <a:pt x="40" y="742"/>
                  </a:lnTo>
                  <a:lnTo>
                    <a:pt x="16" y="751"/>
                  </a:lnTo>
                  <a:lnTo>
                    <a:pt x="7" y="757"/>
                  </a:lnTo>
                  <a:lnTo>
                    <a:pt x="0" y="762"/>
                  </a:lnTo>
                  <a:lnTo>
                    <a:pt x="13" y="760"/>
                  </a:lnTo>
                  <a:lnTo>
                    <a:pt x="44" y="755"/>
                  </a:lnTo>
                  <a:lnTo>
                    <a:pt x="171" y="739"/>
                  </a:lnTo>
                  <a:lnTo>
                    <a:pt x="348" y="720"/>
                  </a:lnTo>
                  <a:lnTo>
                    <a:pt x="481" y="704"/>
                  </a:lnTo>
                  <a:lnTo>
                    <a:pt x="613" y="688"/>
                  </a:lnTo>
                  <a:lnTo>
                    <a:pt x="675" y="679"/>
                  </a:lnTo>
                  <a:lnTo>
                    <a:pt x="730" y="671"/>
                  </a:lnTo>
                  <a:lnTo>
                    <a:pt x="775" y="664"/>
                  </a:lnTo>
                  <a:lnTo>
                    <a:pt x="809" y="657"/>
                  </a:lnTo>
                  <a:lnTo>
                    <a:pt x="1310" y="552"/>
                  </a:lnTo>
                  <a:lnTo>
                    <a:pt x="1323" y="550"/>
                  </a:lnTo>
                  <a:lnTo>
                    <a:pt x="1321" y="546"/>
                  </a:lnTo>
                  <a:lnTo>
                    <a:pt x="1321" y="543"/>
                  </a:lnTo>
                  <a:lnTo>
                    <a:pt x="1323" y="534"/>
                  </a:lnTo>
                  <a:lnTo>
                    <a:pt x="1325" y="528"/>
                  </a:lnTo>
                  <a:lnTo>
                    <a:pt x="1327" y="523"/>
                  </a:lnTo>
                  <a:lnTo>
                    <a:pt x="1328" y="515"/>
                  </a:lnTo>
                  <a:lnTo>
                    <a:pt x="1328" y="510"/>
                  </a:lnTo>
                  <a:lnTo>
                    <a:pt x="1321" y="492"/>
                  </a:lnTo>
                  <a:lnTo>
                    <a:pt x="1316" y="481"/>
                  </a:lnTo>
                  <a:lnTo>
                    <a:pt x="1312" y="475"/>
                  </a:lnTo>
                  <a:lnTo>
                    <a:pt x="1308" y="474"/>
                  </a:lnTo>
                  <a:lnTo>
                    <a:pt x="1303" y="474"/>
                  </a:lnTo>
                  <a:lnTo>
                    <a:pt x="1292" y="475"/>
                  </a:lnTo>
                  <a:lnTo>
                    <a:pt x="1281" y="477"/>
                  </a:lnTo>
                  <a:lnTo>
                    <a:pt x="1269" y="479"/>
                  </a:lnTo>
                  <a:lnTo>
                    <a:pt x="1259" y="481"/>
                  </a:lnTo>
                  <a:lnTo>
                    <a:pt x="1258" y="486"/>
                  </a:lnTo>
                  <a:lnTo>
                    <a:pt x="1254" y="490"/>
                  </a:lnTo>
                  <a:lnTo>
                    <a:pt x="1250" y="495"/>
                  </a:lnTo>
                  <a:lnTo>
                    <a:pt x="1247" y="497"/>
                  </a:lnTo>
                  <a:lnTo>
                    <a:pt x="1243" y="499"/>
                  </a:lnTo>
                  <a:lnTo>
                    <a:pt x="1238" y="497"/>
                  </a:lnTo>
                  <a:lnTo>
                    <a:pt x="1236" y="497"/>
                  </a:lnTo>
                  <a:lnTo>
                    <a:pt x="1236" y="495"/>
                  </a:lnTo>
                  <a:lnTo>
                    <a:pt x="1234" y="492"/>
                  </a:lnTo>
                  <a:lnTo>
                    <a:pt x="1232" y="486"/>
                  </a:lnTo>
                  <a:lnTo>
                    <a:pt x="1232" y="485"/>
                  </a:lnTo>
                  <a:lnTo>
                    <a:pt x="1234" y="479"/>
                  </a:lnTo>
                  <a:lnTo>
                    <a:pt x="1236" y="475"/>
                  </a:lnTo>
                  <a:lnTo>
                    <a:pt x="1241" y="463"/>
                  </a:lnTo>
                  <a:lnTo>
                    <a:pt x="1247" y="452"/>
                  </a:lnTo>
                  <a:lnTo>
                    <a:pt x="1243" y="450"/>
                  </a:lnTo>
                  <a:lnTo>
                    <a:pt x="1241" y="446"/>
                  </a:lnTo>
                  <a:lnTo>
                    <a:pt x="1241" y="443"/>
                  </a:lnTo>
                  <a:lnTo>
                    <a:pt x="1239" y="439"/>
                  </a:lnTo>
                  <a:lnTo>
                    <a:pt x="1234" y="432"/>
                  </a:lnTo>
                  <a:lnTo>
                    <a:pt x="1229" y="425"/>
                  </a:lnTo>
                  <a:lnTo>
                    <a:pt x="1225" y="419"/>
                  </a:lnTo>
                  <a:lnTo>
                    <a:pt x="1221" y="414"/>
                  </a:lnTo>
                  <a:lnTo>
                    <a:pt x="1220" y="407"/>
                  </a:lnTo>
                  <a:lnTo>
                    <a:pt x="1220" y="399"/>
                  </a:lnTo>
                  <a:lnTo>
                    <a:pt x="1221" y="390"/>
                  </a:lnTo>
                  <a:lnTo>
                    <a:pt x="1223" y="383"/>
                  </a:lnTo>
                  <a:lnTo>
                    <a:pt x="1225" y="383"/>
                  </a:lnTo>
                  <a:lnTo>
                    <a:pt x="1229" y="385"/>
                  </a:lnTo>
                  <a:lnTo>
                    <a:pt x="1234" y="390"/>
                  </a:lnTo>
                  <a:lnTo>
                    <a:pt x="1238" y="394"/>
                  </a:lnTo>
                  <a:lnTo>
                    <a:pt x="1238" y="388"/>
                  </a:lnTo>
                  <a:lnTo>
                    <a:pt x="1238" y="377"/>
                  </a:lnTo>
                  <a:lnTo>
                    <a:pt x="1238" y="374"/>
                  </a:lnTo>
                  <a:lnTo>
                    <a:pt x="1236" y="370"/>
                  </a:lnTo>
                  <a:lnTo>
                    <a:pt x="1232" y="363"/>
                  </a:lnTo>
                  <a:lnTo>
                    <a:pt x="1225" y="354"/>
                  </a:lnTo>
                  <a:lnTo>
                    <a:pt x="1220" y="348"/>
                  </a:lnTo>
                  <a:lnTo>
                    <a:pt x="1216" y="343"/>
                  </a:lnTo>
                  <a:lnTo>
                    <a:pt x="1212" y="338"/>
                  </a:lnTo>
                  <a:lnTo>
                    <a:pt x="1212" y="330"/>
                  </a:lnTo>
                  <a:lnTo>
                    <a:pt x="1212" y="325"/>
                  </a:lnTo>
                  <a:lnTo>
                    <a:pt x="1214" y="319"/>
                  </a:lnTo>
                  <a:lnTo>
                    <a:pt x="1218" y="314"/>
                  </a:lnTo>
                  <a:lnTo>
                    <a:pt x="1218" y="312"/>
                  </a:lnTo>
                  <a:lnTo>
                    <a:pt x="1216" y="307"/>
                  </a:lnTo>
                  <a:lnTo>
                    <a:pt x="1216" y="301"/>
                  </a:lnTo>
                  <a:lnTo>
                    <a:pt x="1214" y="298"/>
                  </a:lnTo>
                  <a:lnTo>
                    <a:pt x="1214" y="292"/>
                  </a:lnTo>
                  <a:lnTo>
                    <a:pt x="1214" y="290"/>
                  </a:lnTo>
                  <a:lnTo>
                    <a:pt x="1216" y="287"/>
                  </a:lnTo>
                  <a:lnTo>
                    <a:pt x="1218" y="283"/>
                  </a:lnTo>
                  <a:lnTo>
                    <a:pt x="1220" y="279"/>
                  </a:lnTo>
                  <a:lnTo>
                    <a:pt x="1221" y="274"/>
                  </a:lnTo>
                  <a:lnTo>
                    <a:pt x="1221" y="272"/>
                  </a:lnTo>
                  <a:lnTo>
                    <a:pt x="1218" y="269"/>
                  </a:lnTo>
                  <a:lnTo>
                    <a:pt x="1214" y="267"/>
                  </a:lnTo>
                  <a:lnTo>
                    <a:pt x="1205" y="261"/>
                  </a:lnTo>
                  <a:lnTo>
                    <a:pt x="1194" y="254"/>
                  </a:lnTo>
                  <a:lnTo>
                    <a:pt x="1190" y="250"/>
                  </a:lnTo>
                  <a:lnTo>
                    <a:pt x="1183" y="247"/>
                  </a:lnTo>
                  <a:lnTo>
                    <a:pt x="1171" y="245"/>
                  </a:lnTo>
                  <a:lnTo>
                    <a:pt x="1165" y="243"/>
                  </a:lnTo>
                  <a:lnTo>
                    <a:pt x="1160" y="241"/>
                  </a:lnTo>
                  <a:lnTo>
                    <a:pt x="1156" y="238"/>
                  </a:lnTo>
                  <a:lnTo>
                    <a:pt x="1151" y="236"/>
                  </a:lnTo>
                  <a:lnTo>
                    <a:pt x="1147" y="232"/>
                  </a:lnTo>
                  <a:lnTo>
                    <a:pt x="1141" y="230"/>
                  </a:lnTo>
                  <a:lnTo>
                    <a:pt x="1140" y="230"/>
                  </a:lnTo>
                  <a:lnTo>
                    <a:pt x="1134" y="232"/>
                  </a:lnTo>
                  <a:lnTo>
                    <a:pt x="1127" y="234"/>
                  </a:lnTo>
                  <a:lnTo>
                    <a:pt x="1125" y="232"/>
                  </a:lnTo>
                  <a:lnTo>
                    <a:pt x="1122" y="232"/>
                  </a:lnTo>
                  <a:lnTo>
                    <a:pt x="1120" y="230"/>
                  </a:lnTo>
                  <a:lnTo>
                    <a:pt x="1118" y="229"/>
                  </a:lnTo>
                  <a:lnTo>
                    <a:pt x="1116" y="229"/>
                  </a:lnTo>
                  <a:lnTo>
                    <a:pt x="1114" y="229"/>
                  </a:lnTo>
                  <a:lnTo>
                    <a:pt x="1111" y="229"/>
                  </a:lnTo>
                  <a:lnTo>
                    <a:pt x="1105" y="230"/>
                  </a:lnTo>
                  <a:lnTo>
                    <a:pt x="1100" y="230"/>
                  </a:lnTo>
                  <a:lnTo>
                    <a:pt x="1096" y="229"/>
                  </a:lnTo>
                  <a:lnTo>
                    <a:pt x="1092" y="227"/>
                  </a:lnTo>
                  <a:lnTo>
                    <a:pt x="1089" y="223"/>
                  </a:lnTo>
                  <a:lnTo>
                    <a:pt x="1085" y="220"/>
                  </a:lnTo>
                  <a:lnTo>
                    <a:pt x="1080" y="214"/>
                  </a:lnTo>
                  <a:lnTo>
                    <a:pt x="1076" y="207"/>
                  </a:lnTo>
                  <a:lnTo>
                    <a:pt x="1074" y="205"/>
                  </a:lnTo>
                  <a:lnTo>
                    <a:pt x="1074" y="201"/>
                  </a:lnTo>
                  <a:lnTo>
                    <a:pt x="1074" y="200"/>
                  </a:lnTo>
                  <a:lnTo>
                    <a:pt x="1069" y="192"/>
                  </a:lnTo>
                  <a:lnTo>
                    <a:pt x="1065" y="191"/>
                  </a:lnTo>
                  <a:lnTo>
                    <a:pt x="1060" y="189"/>
                  </a:lnTo>
                  <a:lnTo>
                    <a:pt x="1058" y="189"/>
                  </a:lnTo>
                  <a:lnTo>
                    <a:pt x="1054" y="191"/>
                  </a:lnTo>
                  <a:lnTo>
                    <a:pt x="1051" y="192"/>
                  </a:lnTo>
                  <a:lnTo>
                    <a:pt x="1042" y="198"/>
                  </a:lnTo>
                  <a:lnTo>
                    <a:pt x="1034" y="205"/>
                  </a:lnTo>
                  <a:lnTo>
                    <a:pt x="1031" y="207"/>
                  </a:lnTo>
                  <a:lnTo>
                    <a:pt x="1027" y="207"/>
                  </a:lnTo>
                  <a:lnTo>
                    <a:pt x="1025" y="207"/>
                  </a:lnTo>
                  <a:lnTo>
                    <a:pt x="1024" y="207"/>
                  </a:lnTo>
                  <a:lnTo>
                    <a:pt x="1022" y="205"/>
                  </a:lnTo>
                  <a:lnTo>
                    <a:pt x="1018" y="200"/>
                  </a:lnTo>
                  <a:lnTo>
                    <a:pt x="1016" y="194"/>
                  </a:lnTo>
                  <a:lnTo>
                    <a:pt x="1016" y="187"/>
                  </a:lnTo>
                  <a:lnTo>
                    <a:pt x="1018" y="174"/>
                  </a:lnTo>
                  <a:lnTo>
                    <a:pt x="1022" y="160"/>
                  </a:lnTo>
                  <a:lnTo>
                    <a:pt x="1027" y="147"/>
                  </a:lnTo>
                  <a:lnTo>
                    <a:pt x="1031" y="138"/>
                  </a:lnTo>
                  <a:lnTo>
                    <a:pt x="1042" y="120"/>
                  </a:lnTo>
                  <a:lnTo>
                    <a:pt x="1047" y="111"/>
                  </a:lnTo>
                  <a:lnTo>
                    <a:pt x="1049" y="105"/>
                  </a:lnTo>
                  <a:lnTo>
                    <a:pt x="1049" y="102"/>
                  </a:lnTo>
                  <a:lnTo>
                    <a:pt x="1047" y="94"/>
                  </a:lnTo>
                  <a:lnTo>
                    <a:pt x="1043" y="85"/>
                  </a:lnTo>
                  <a:lnTo>
                    <a:pt x="1040" y="82"/>
                  </a:lnTo>
                  <a:lnTo>
                    <a:pt x="1034" y="76"/>
                  </a:lnTo>
                  <a:lnTo>
                    <a:pt x="1022" y="71"/>
                  </a:lnTo>
                  <a:lnTo>
                    <a:pt x="1009" y="67"/>
                  </a:lnTo>
                  <a:lnTo>
                    <a:pt x="996" y="60"/>
                  </a:lnTo>
                  <a:lnTo>
                    <a:pt x="989" y="54"/>
                  </a:lnTo>
                  <a:lnTo>
                    <a:pt x="985" y="51"/>
                  </a:lnTo>
                  <a:lnTo>
                    <a:pt x="982" y="49"/>
                  </a:lnTo>
                  <a:lnTo>
                    <a:pt x="980" y="47"/>
                  </a:lnTo>
                  <a:lnTo>
                    <a:pt x="976" y="49"/>
                  </a:lnTo>
                  <a:lnTo>
                    <a:pt x="973" y="49"/>
                  </a:lnTo>
                  <a:lnTo>
                    <a:pt x="971" y="49"/>
                  </a:lnTo>
                  <a:lnTo>
                    <a:pt x="964" y="44"/>
                  </a:lnTo>
                  <a:lnTo>
                    <a:pt x="962" y="42"/>
                  </a:lnTo>
                  <a:lnTo>
                    <a:pt x="962" y="40"/>
                  </a:lnTo>
                  <a:lnTo>
                    <a:pt x="962" y="36"/>
                  </a:lnTo>
                  <a:lnTo>
                    <a:pt x="960" y="29"/>
                  </a:lnTo>
                  <a:lnTo>
                    <a:pt x="958" y="22"/>
                  </a:lnTo>
                  <a:lnTo>
                    <a:pt x="955" y="16"/>
                  </a:lnTo>
                  <a:lnTo>
                    <a:pt x="951" y="13"/>
                  </a:lnTo>
                  <a:lnTo>
                    <a:pt x="947" y="9"/>
                  </a:lnTo>
                  <a:lnTo>
                    <a:pt x="942" y="5"/>
                  </a:lnTo>
                  <a:lnTo>
                    <a:pt x="935" y="4"/>
                  </a:lnTo>
                  <a:lnTo>
                    <a:pt x="920" y="0"/>
                  </a:lnTo>
                  <a:close/>
                  <a:moveTo>
                    <a:pt x="1272" y="486"/>
                  </a:moveTo>
                  <a:lnTo>
                    <a:pt x="1272" y="485"/>
                  </a:lnTo>
                  <a:lnTo>
                    <a:pt x="1272" y="486"/>
                  </a:lnTo>
                  <a:close/>
                </a:path>
              </a:pathLst>
            </a:custGeom>
            <a:solidFill>
              <a:srgbClr val="2E2E38"/>
            </a:solidFill>
            <a:ln w="3175" cap="flat" cmpd="sng" algn="ctr">
              <a:solidFill>
                <a:srgbClr val="747480"/>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646464"/>
                </a:solidFill>
                <a:effectLst/>
                <a:uLnTx/>
                <a:uFillTx/>
                <a:cs typeface="Times New Roman" panose="02020603050405020304" pitchFamily="18" charset="0"/>
              </a:endParaRPr>
            </a:p>
          </p:txBody>
        </p:sp>
        <p:sp>
          <p:nvSpPr>
            <p:cNvPr id="46" name="Freeform 89">
              <a:extLst>
                <a:ext uri="{FF2B5EF4-FFF2-40B4-BE49-F238E27FC236}">
                  <a16:creationId xmlns:a16="http://schemas.microsoft.com/office/drawing/2014/main" id="{74A4395A-82E8-F9DD-154E-88735D315850}"/>
                </a:ext>
              </a:extLst>
            </p:cNvPr>
            <p:cNvSpPr>
              <a:spLocks noEditPoints="1"/>
            </p:cNvSpPr>
            <p:nvPr/>
          </p:nvSpPr>
          <p:spPr bwMode="auto">
            <a:xfrm>
              <a:off x="6199961" y="4588557"/>
              <a:ext cx="360819" cy="255015"/>
            </a:xfrm>
            <a:custGeom>
              <a:avLst/>
              <a:gdLst/>
              <a:ahLst/>
              <a:cxnLst>
                <a:cxn ang="0">
                  <a:pos x="31" y="224"/>
                </a:cxn>
                <a:cxn ang="0">
                  <a:pos x="82" y="169"/>
                </a:cxn>
                <a:cxn ang="0">
                  <a:pos x="104" y="166"/>
                </a:cxn>
                <a:cxn ang="0">
                  <a:pos x="129" y="129"/>
                </a:cxn>
                <a:cxn ang="0">
                  <a:pos x="160" y="138"/>
                </a:cxn>
                <a:cxn ang="0">
                  <a:pos x="231" y="104"/>
                </a:cxn>
                <a:cxn ang="0">
                  <a:pos x="285" y="124"/>
                </a:cxn>
                <a:cxn ang="0">
                  <a:pos x="316" y="151"/>
                </a:cxn>
                <a:cxn ang="0">
                  <a:pos x="358" y="187"/>
                </a:cxn>
                <a:cxn ang="0">
                  <a:pos x="376" y="198"/>
                </a:cxn>
                <a:cxn ang="0">
                  <a:pos x="430" y="227"/>
                </a:cxn>
                <a:cxn ang="0">
                  <a:pos x="441" y="267"/>
                </a:cxn>
                <a:cxn ang="0">
                  <a:pos x="412" y="345"/>
                </a:cxn>
                <a:cxn ang="0">
                  <a:pos x="447" y="343"/>
                </a:cxn>
                <a:cxn ang="0">
                  <a:pos x="472" y="349"/>
                </a:cxn>
                <a:cxn ang="0">
                  <a:pos x="496" y="354"/>
                </a:cxn>
                <a:cxn ang="0">
                  <a:pos x="507" y="351"/>
                </a:cxn>
                <a:cxn ang="0">
                  <a:pos x="532" y="356"/>
                </a:cxn>
                <a:cxn ang="0">
                  <a:pos x="557" y="363"/>
                </a:cxn>
                <a:cxn ang="0">
                  <a:pos x="579" y="374"/>
                </a:cxn>
                <a:cxn ang="0">
                  <a:pos x="596" y="376"/>
                </a:cxn>
                <a:cxn ang="0">
                  <a:pos x="577" y="323"/>
                </a:cxn>
                <a:cxn ang="0">
                  <a:pos x="552" y="296"/>
                </a:cxn>
                <a:cxn ang="0">
                  <a:pos x="530" y="215"/>
                </a:cxn>
                <a:cxn ang="0">
                  <a:pos x="523" y="180"/>
                </a:cxn>
                <a:cxn ang="0">
                  <a:pos x="521" y="138"/>
                </a:cxn>
                <a:cxn ang="0">
                  <a:pos x="527" y="106"/>
                </a:cxn>
                <a:cxn ang="0">
                  <a:pos x="556" y="77"/>
                </a:cxn>
                <a:cxn ang="0">
                  <a:pos x="577" y="58"/>
                </a:cxn>
                <a:cxn ang="0">
                  <a:pos x="586" y="46"/>
                </a:cxn>
                <a:cxn ang="0">
                  <a:pos x="605" y="51"/>
                </a:cxn>
                <a:cxn ang="0">
                  <a:pos x="588" y="84"/>
                </a:cxn>
                <a:cxn ang="0">
                  <a:pos x="559" y="136"/>
                </a:cxn>
                <a:cxn ang="0">
                  <a:pos x="570" y="155"/>
                </a:cxn>
                <a:cxn ang="0">
                  <a:pos x="588" y="147"/>
                </a:cxn>
                <a:cxn ang="0">
                  <a:pos x="586" y="180"/>
                </a:cxn>
                <a:cxn ang="0">
                  <a:pos x="588" y="200"/>
                </a:cxn>
                <a:cxn ang="0">
                  <a:pos x="568" y="216"/>
                </a:cxn>
                <a:cxn ang="0">
                  <a:pos x="590" y="244"/>
                </a:cxn>
                <a:cxn ang="0">
                  <a:pos x="610" y="249"/>
                </a:cxn>
                <a:cxn ang="0">
                  <a:pos x="616" y="269"/>
                </a:cxn>
                <a:cxn ang="0">
                  <a:pos x="585" y="291"/>
                </a:cxn>
                <a:cxn ang="0">
                  <a:pos x="608" y="318"/>
                </a:cxn>
                <a:cxn ang="0">
                  <a:pos x="637" y="314"/>
                </a:cxn>
                <a:cxn ang="0">
                  <a:pos x="657" y="305"/>
                </a:cxn>
                <a:cxn ang="0">
                  <a:pos x="659" y="329"/>
                </a:cxn>
                <a:cxn ang="0">
                  <a:pos x="668" y="345"/>
                </a:cxn>
                <a:cxn ang="0">
                  <a:pos x="666" y="358"/>
                </a:cxn>
                <a:cxn ang="0">
                  <a:pos x="677" y="369"/>
                </a:cxn>
                <a:cxn ang="0">
                  <a:pos x="674" y="396"/>
                </a:cxn>
                <a:cxn ang="0">
                  <a:pos x="701" y="389"/>
                </a:cxn>
                <a:cxn ang="0">
                  <a:pos x="694" y="463"/>
                </a:cxn>
                <a:cxn ang="0">
                  <a:pos x="692" y="558"/>
                </a:cxn>
                <a:cxn ang="0">
                  <a:pos x="704" y="567"/>
                </a:cxn>
                <a:cxn ang="0">
                  <a:pos x="704" y="507"/>
                </a:cxn>
                <a:cxn ang="0">
                  <a:pos x="743" y="438"/>
                </a:cxn>
                <a:cxn ang="0">
                  <a:pos x="761" y="365"/>
                </a:cxn>
                <a:cxn ang="0">
                  <a:pos x="782" y="314"/>
                </a:cxn>
                <a:cxn ang="0">
                  <a:pos x="788" y="254"/>
                </a:cxn>
                <a:cxn ang="0">
                  <a:pos x="775" y="260"/>
                </a:cxn>
              </a:cxnLst>
              <a:rect l="0" t="0" r="r" b="b"/>
              <a:pathLst>
                <a:path w="790" h="572">
                  <a:moveTo>
                    <a:pt x="614" y="0"/>
                  </a:moveTo>
                  <a:lnTo>
                    <a:pt x="171" y="84"/>
                  </a:lnTo>
                  <a:lnTo>
                    <a:pt x="0" y="117"/>
                  </a:lnTo>
                  <a:lnTo>
                    <a:pt x="18" y="216"/>
                  </a:lnTo>
                  <a:lnTo>
                    <a:pt x="18" y="220"/>
                  </a:lnTo>
                  <a:lnTo>
                    <a:pt x="20" y="233"/>
                  </a:lnTo>
                  <a:lnTo>
                    <a:pt x="31" y="224"/>
                  </a:lnTo>
                  <a:lnTo>
                    <a:pt x="33" y="222"/>
                  </a:lnTo>
                  <a:lnTo>
                    <a:pt x="44" y="211"/>
                  </a:lnTo>
                  <a:lnTo>
                    <a:pt x="53" y="198"/>
                  </a:lnTo>
                  <a:lnTo>
                    <a:pt x="64" y="185"/>
                  </a:lnTo>
                  <a:lnTo>
                    <a:pt x="71" y="180"/>
                  </a:lnTo>
                  <a:lnTo>
                    <a:pt x="77" y="175"/>
                  </a:lnTo>
                  <a:lnTo>
                    <a:pt x="82" y="169"/>
                  </a:lnTo>
                  <a:lnTo>
                    <a:pt x="89" y="166"/>
                  </a:lnTo>
                  <a:lnTo>
                    <a:pt x="95" y="166"/>
                  </a:lnTo>
                  <a:lnTo>
                    <a:pt x="97" y="166"/>
                  </a:lnTo>
                  <a:lnTo>
                    <a:pt x="98" y="166"/>
                  </a:lnTo>
                  <a:lnTo>
                    <a:pt x="98" y="167"/>
                  </a:lnTo>
                  <a:lnTo>
                    <a:pt x="100" y="167"/>
                  </a:lnTo>
                  <a:lnTo>
                    <a:pt x="104" y="166"/>
                  </a:lnTo>
                  <a:lnTo>
                    <a:pt x="109" y="160"/>
                  </a:lnTo>
                  <a:lnTo>
                    <a:pt x="113" y="153"/>
                  </a:lnTo>
                  <a:lnTo>
                    <a:pt x="116" y="144"/>
                  </a:lnTo>
                  <a:lnTo>
                    <a:pt x="120" y="136"/>
                  </a:lnTo>
                  <a:lnTo>
                    <a:pt x="122" y="133"/>
                  </a:lnTo>
                  <a:lnTo>
                    <a:pt x="124" y="131"/>
                  </a:lnTo>
                  <a:lnTo>
                    <a:pt x="129" y="129"/>
                  </a:lnTo>
                  <a:lnTo>
                    <a:pt x="131" y="129"/>
                  </a:lnTo>
                  <a:lnTo>
                    <a:pt x="136" y="129"/>
                  </a:lnTo>
                  <a:lnTo>
                    <a:pt x="140" y="133"/>
                  </a:lnTo>
                  <a:lnTo>
                    <a:pt x="144" y="136"/>
                  </a:lnTo>
                  <a:lnTo>
                    <a:pt x="149" y="138"/>
                  </a:lnTo>
                  <a:lnTo>
                    <a:pt x="155" y="140"/>
                  </a:lnTo>
                  <a:lnTo>
                    <a:pt x="160" y="138"/>
                  </a:lnTo>
                  <a:lnTo>
                    <a:pt x="165" y="136"/>
                  </a:lnTo>
                  <a:lnTo>
                    <a:pt x="175" y="129"/>
                  </a:lnTo>
                  <a:lnTo>
                    <a:pt x="180" y="126"/>
                  </a:lnTo>
                  <a:lnTo>
                    <a:pt x="187" y="120"/>
                  </a:lnTo>
                  <a:lnTo>
                    <a:pt x="205" y="113"/>
                  </a:lnTo>
                  <a:lnTo>
                    <a:pt x="222" y="106"/>
                  </a:lnTo>
                  <a:lnTo>
                    <a:pt x="231" y="104"/>
                  </a:lnTo>
                  <a:lnTo>
                    <a:pt x="238" y="102"/>
                  </a:lnTo>
                  <a:lnTo>
                    <a:pt x="242" y="102"/>
                  </a:lnTo>
                  <a:lnTo>
                    <a:pt x="249" y="104"/>
                  </a:lnTo>
                  <a:lnTo>
                    <a:pt x="256" y="107"/>
                  </a:lnTo>
                  <a:lnTo>
                    <a:pt x="263" y="111"/>
                  </a:lnTo>
                  <a:lnTo>
                    <a:pt x="273" y="117"/>
                  </a:lnTo>
                  <a:lnTo>
                    <a:pt x="285" y="124"/>
                  </a:lnTo>
                  <a:lnTo>
                    <a:pt x="293" y="129"/>
                  </a:lnTo>
                  <a:lnTo>
                    <a:pt x="298" y="133"/>
                  </a:lnTo>
                  <a:lnTo>
                    <a:pt x="303" y="138"/>
                  </a:lnTo>
                  <a:lnTo>
                    <a:pt x="307" y="144"/>
                  </a:lnTo>
                  <a:lnTo>
                    <a:pt x="311" y="147"/>
                  </a:lnTo>
                  <a:lnTo>
                    <a:pt x="312" y="149"/>
                  </a:lnTo>
                  <a:lnTo>
                    <a:pt x="316" y="151"/>
                  </a:lnTo>
                  <a:lnTo>
                    <a:pt x="331" y="155"/>
                  </a:lnTo>
                  <a:lnTo>
                    <a:pt x="343" y="160"/>
                  </a:lnTo>
                  <a:lnTo>
                    <a:pt x="347" y="164"/>
                  </a:lnTo>
                  <a:lnTo>
                    <a:pt x="351" y="167"/>
                  </a:lnTo>
                  <a:lnTo>
                    <a:pt x="354" y="173"/>
                  </a:lnTo>
                  <a:lnTo>
                    <a:pt x="356" y="180"/>
                  </a:lnTo>
                  <a:lnTo>
                    <a:pt x="358" y="187"/>
                  </a:lnTo>
                  <a:lnTo>
                    <a:pt x="358" y="191"/>
                  </a:lnTo>
                  <a:lnTo>
                    <a:pt x="358" y="193"/>
                  </a:lnTo>
                  <a:lnTo>
                    <a:pt x="360" y="195"/>
                  </a:lnTo>
                  <a:lnTo>
                    <a:pt x="367" y="200"/>
                  </a:lnTo>
                  <a:lnTo>
                    <a:pt x="369" y="200"/>
                  </a:lnTo>
                  <a:lnTo>
                    <a:pt x="372" y="200"/>
                  </a:lnTo>
                  <a:lnTo>
                    <a:pt x="376" y="198"/>
                  </a:lnTo>
                  <a:lnTo>
                    <a:pt x="378" y="200"/>
                  </a:lnTo>
                  <a:lnTo>
                    <a:pt x="381" y="202"/>
                  </a:lnTo>
                  <a:lnTo>
                    <a:pt x="385" y="205"/>
                  </a:lnTo>
                  <a:lnTo>
                    <a:pt x="392" y="211"/>
                  </a:lnTo>
                  <a:lnTo>
                    <a:pt x="405" y="218"/>
                  </a:lnTo>
                  <a:lnTo>
                    <a:pt x="418" y="222"/>
                  </a:lnTo>
                  <a:lnTo>
                    <a:pt x="430" y="227"/>
                  </a:lnTo>
                  <a:lnTo>
                    <a:pt x="436" y="233"/>
                  </a:lnTo>
                  <a:lnTo>
                    <a:pt x="439" y="236"/>
                  </a:lnTo>
                  <a:lnTo>
                    <a:pt x="443" y="245"/>
                  </a:lnTo>
                  <a:lnTo>
                    <a:pt x="445" y="253"/>
                  </a:lnTo>
                  <a:lnTo>
                    <a:pt x="445" y="256"/>
                  </a:lnTo>
                  <a:lnTo>
                    <a:pt x="443" y="262"/>
                  </a:lnTo>
                  <a:lnTo>
                    <a:pt x="441" y="267"/>
                  </a:lnTo>
                  <a:lnTo>
                    <a:pt x="438" y="271"/>
                  </a:lnTo>
                  <a:lnTo>
                    <a:pt x="427" y="289"/>
                  </a:lnTo>
                  <a:lnTo>
                    <a:pt x="423" y="298"/>
                  </a:lnTo>
                  <a:lnTo>
                    <a:pt x="418" y="311"/>
                  </a:lnTo>
                  <a:lnTo>
                    <a:pt x="414" y="325"/>
                  </a:lnTo>
                  <a:lnTo>
                    <a:pt x="412" y="338"/>
                  </a:lnTo>
                  <a:lnTo>
                    <a:pt x="412" y="345"/>
                  </a:lnTo>
                  <a:lnTo>
                    <a:pt x="418" y="356"/>
                  </a:lnTo>
                  <a:lnTo>
                    <a:pt x="420" y="358"/>
                  </a:lnTo>
                  <a:lnTo>
                    <a:pt x="423" y="358"/>
                  </a:lnTo>
                  <a:lnTo>
                    <a:pt x="427" y="358"/>
                  </a:lnTo>
                  <a:lnTo>
                    <a:pt x="430" y="356"/>
                  </a:lnTo>
                  <a:lnTo>
                    <a:pt x="438" y="349"/>
                  </a:lnTo>
                  <a:lnTo>
                    <a:pt x="447" y="343"/>
                  </a:lnTo>
                  <a:lnTo>
                    <a:pt x="450" y="342"/>
                  </a:lnTo>
                  <a:lnTo>
                    <a:pt x="454" y="340"/>
                  </a:lnTo>
                  <a:lnTo>
                    <a:pt x="456" y="340"/>
                  </a:lnTo>
                  <a:lnTo>
                    <a:pt x="461" y="342"/>
                  </a:lnTo>
                  <a:lnTo>
                    <a:pt x="465" y="345"/>
                  </a:lnTo>
                  <a:lnTo>
                    <a:pt x="470" y="351"/>
                  </a:lnTo>
                  <a:lnTo>
                    <a:pt x="472" y="349"/>
                  </a:lnTo>
                  <a:lnTo>
                    <a:pt x="476" y="349"/>
                  </a:lnTo>
                  <a:lnTo>
                    <a:pt x="479" y="349"/>
                  </a:lnTo>
                  <a:lnTo>
                    <a:pt x="483" y="347"/>
                  </a:lnTo>
                  <a:lnTo>
                    <a:pt x="487" y="345"/>
                  </a:lnTo>
                  <a:lnTo>
                    <a:pt x="488" y="347"/>
                  </a:lnTo>
                  <a:lnTo>
                    <a:pt x="492" y="349"/>
                  </a:lnTo>
                  <a:lnTo>
                    <a:pt x="496" y="354"/>
                  </a:lnTo>
                  <a:lnTo>
                    <a:pt x="498" y="356"/>
                  </a:lnTo>
                  <a:lnTo>
                    <a:pt x="499" y="358"/>
                  </a:lnTo>
                  <a:lnTo>
                    <a:pt x="501" y="358"/>
                  </a:lnTo>
                  <a:lnTo>
                    <a:pt x="503" y="356"/>
                  </a:lnTo>
                  <a:lnTo>
                    <a:pt x="503" y="354"/>
                  </a:lnTo>
                  <a:lnTo>
                    <a:pt x="505" y="352"/>
                  </a:lnTo>
                  <a:lnTo>
                    <a:pt x="507" y="351"/>
                  </a:lnTo>
                  <a:lnTo>
                    <a:pt x="512" y="351"/>
                  </a:lnTo>
                  <a:lnTo>
                    <a:pt x="518" y="352"/>
                  </a:lnTo>
                  <a:lnTo>
                    <a:pt x="521" y="356"/>
                  </a:lnTo>
                  <a:lnTo>
                    <a:pt x="525" y="356"/>
                  </a:lnTo>
                  <a:lnTo>
                    <a:pt x="527" y="358"/>
                  </a:lnTo>
                  <a:lnTo>
                    <a:pt x="528" y="358"/>
                  </a:lnTo>
                  <a:lnTo>
                    <a:pt x="532" y="356"/>
                  </a:lnTo>
                  <a:lnTo>
                    <a:pt x="537" y="356"/>
                  </a:lnTo>
                  <a:lnTo>
                    <a:pt x="539" y="356"/>
                  </a:lnTo>
                  <a:lnTo>
                    <a:pt x="545" y="358"/>
                  </a:lnTo>
                  <a:lnTo>
                    <a:pt x="547" y="360"/>
                  </a:lnTo>
                  <a:lnTo>
                    <a:pt x="550" y="363"/>
                  </a:lnTo>
                  <a:lnTo>
                    <a:pt x="554" y="367"/>
                  </a:lnTo>
                  <a:lnTo>
                    <a:pt x="557" y="363"/>
                  </a:lnTo>
                  <a:lnTo>
                    <a:pt x="561" y="362"/>
                  </a:lnTo>
                  <a:lnTo>
                    <a:pt x="565" y="363"/>
                  </a:lnTo>
                  <a:lnTo>
                    <a:pt x="567" y="367"/>
                  </a:lnTo>
                  <a:lnTo>
                    <a:pt x="570" y="371"/>
                  </a:lnTo>
                  <a:lnTo>
                    <a:pt x="574" y="374"/>
                  </a:lnTo>
                  <a:lnTo>
                    <a:pt x="577" y="374"/>
                  </a:lnTo>
                  <a:lnTo>
                    <a:pt x="579" y="374"/>
                  </a:lnTo>
                  <a:lnTo>
                    <a:pt x="583" y="372"/>
                  </a:lnTo>
                  <a:lnTo>
                    <a:pt x="585" y="372"/>
                  </a:lnTo>
                  <a:lnTo>
                    <a:pt x="586" y="371"/>
                  </a:lnTo>
                  <a:lnTo>
                    <a:pt x="586" y="372"/>
                  </a:lnTo>
                  <a:lnTo>
                    <a:pt x="588" y="372"/>
                  </a:lnTo>
                  <a:lnTo>
                    <a:pt x="592" y="380"/>
                  </a:lnTo>
                  <a:lnTo>
                    <a:pt x="596" y="376"/>
                  </a:lnTo>
                  <a:lnTo>
                    <a:pt x="596" y="371"/>
                  </a:lnTo>
                  <a:lnTo>
                    <a:pt x="594" y="363"/>
                  </a:lnTo>
                  <a:lnTo>
                    <a:pt x="590" y="356"/>
                  </a:lnTo>
                  <a:lnTo>
                    <a:pt x="581" y="342"/>
                  </a:lnTo>
                  <a:lnTo>
                    <a:pt x="579" y="336"/>
                  </a:lnTo>
                  <a:lnTo>
                    <a:pt x="579" y="329"/>
                  </a:lnTo>
                  <a:lnTo>
                    <a:pt x="577" y="323"/>
                  </a:lnTo>
                  <a:lnTo>
                    <a:pt x="576" y="318"/>
                  </a:lnTo>
                  <a:lnTo>
                    <a:pt x="574" y="316"/>
                  </a:lnTo>
                  <a:lnTo>
                    <a:pt x="572" y="314"/>
                  </a:lnTo>
                  <a:lnTo>
                    <a:pt x="568" y="311"/>
                  </a:lnTo>
                  <a:lnTo>
                    <a:pt x="559" y="305"/>
                  </a:lnTo>
                  <a:lnTo>
                    <a:pt x="556" y="302"/>
                  </a:lnTo>
                  <a:lnTo>
                    <a:pt x="552" y="296"/>
                  </a:lnTo>
                  <a:lnTo>
                    <a:pt x="547" y="287"/>
                  </a:lnTo>
                  <a:lnTo>
                    <a:pt x="543" y="276"/>
                  </a:lnTo>
                  <a:lnTo>
                    <a:pt x="539" y="265"/>
                  </a:lnTo>
                  <a:lnTo>
                    <a:pt x="537" y="253"/>
                  </a:lnTo>
                  <a:lnTo>
                    <a:pt x="536" y="240"/>
                  </a:lnTo>
                  <a:lnTo>
                    <a:pt x="532" y="218"/>
                  </a:lnTo>
                  <a:lnTo>
                    <a:pt x="530" y="215"/>
                  </a:lnTo>
                  <a:lnTo>
                    <a:pt x="530" y="211"/>
                  </a:lnTo>
                  <a:lnTo>
                    <a:pt x="527" y="204"/>
                  </a:lnTo>
                  <a:lnTo>
                    <a:pt x="523" y="196"/>
                  </a:lnTo>
                  <a:lnTo>
                    <a:pt x="521" y="193"/>
                  </a:lnTo>
                  <a:lnTo>
                    <a:pt x="521" y="189"/>
                  </a:lnTo>
                  <a:lnTo>
                    <a:pt x="521" y="185"/>
                  </a:lnTo>
                  <a:lnTo>
                    <a:pt x="523" y="180"/>
                  </a:lnTo>
                  <a:lnTo>
                    <a:pt x="530" y="167"/>
                  </a:lnTo>
                  <a:lnTo>
                    <a:pt x="532" y="164"/>
                  </a:lnTo>
                  <a:lnTo>
                    <a:pt x="534" y="158"/>
                  </a:lnTo>
                  <a:lnTo>
                    <a:pt x="532" y="155"/>
                  </a:lnTo>
                  <a:lnTo>
                    <a:pt x="532" y="151"/>
                  </a:lnTo>
                  <a:lnTo>
                    <a:pt x="525" y="142"/>
                  </a:lnTo>
                  <a:lnTo>
                    <a:pt x="521" y="138"/>
                  </a:lnTo>
                  <a:lnTo>
                    <a:pt x="518" y="133"/>
                  </a:lnTo>
                  <a:lnTo>
                    <a:pt x="516" y="129"/>
                  </a:lnTo>
                  <a:lnTo>
                    <a:pt x="516" y="126"/>
                  </a:lnTo>
                  <a:lnTo>
                    <a:pt x="518" y="120"/>
                  </a:lnTo>
                  <a:lnTo>
                    <a:pt x="519" y="115"/>
                  </a:lnTo>
                  <a:lnTo>
                    <a:pt x="523" y="111"/>
                  </a:lnTo>
                  <a:lnTo>
                    <a:pt x="527" y="106"/>
                  </a:lnTo>
                  <a:lnTo>
                    <a:pt x="532" y="102"/>
                  </a:lnTo>
                  <a:lnTo>
                    <a:pt x="536" y="97"/>
                  </a:lnTo>
                  <a:lnTo>
                    <a:pt x="537" y="89"/>
                  </a:lnTo>
                  <a:lnTo>
                    <a:pt x="539" y="84"/>
                  </a:lnTo>
                  <a:lnTo>
                    <a:pt x="547" y="82"/>
                  </a:lnTo>
                  <a:lnTo>
                    <a:pt x="552" y="80"/>
                  </a:lnTo>
                  <a:lnTo>
                    <a:pt x="556" y="77"/>
                  </a:lnTo>
                  <a:lnTo>
                    <a:pt x="561" y="75"/>
                  </a:lnTo>
                  <a:lnTo>
                    <a:pt x="570" y="71"/>
                  </a:lnTo>
                  <a:lnTo>
                    <a:pt x="576" y="71"/>
                  </a:lnTo>
                  <a:lnTo>
                    <a:pt x="579" y="68"/>
                  </a:lnTo>
                  <a:lnTo>
                    <a:pt x="579" y="66"/>
                  </a:lnTo>
                  <a:lnTo>
                    <a:pt x="579" y="62"/>
                  </a:lnTo>
                  <a:lnTo>
                    <a:pt x="577" y="58"/>
                  </a:lnTo>
                  <a:lnTo>
                    <a:pt x="574" y="57"/>
                  </a:lnTo>
                  <a:lnTo>
                    <a:pt x="574" y="53"/>
                  </a:lnTo>
                  <a:lnTo>
                    <a:pt x="576" y="51"/>
                  </a:lnTo>
                  <a:lnTo>
                    <a:pt x="579" y="48"/>
                  </a:lnTo>
                  <a:lnTo>
                    <a:pt x="583" y="46"/>
                  </a:lnTo>
                  <a:lnTo>
                    <a:pt x="585" y="46"/>
                  </a:lnTo>
                  <a:lnTo>
                    <a:pt x="586" y="46"/>
                  </a:lnTo>
                  <a:lnTo>
                    <a:pt x="588" y="46"/>
                  </a:lnTo>
                  <a:lnTo>
                    <a:pt x="590" y="49"/>
                  </a:lnTo>
                  <a:lnTo>
                    <a:pt x="592" y="55"/>
                  </a:lnTo>
                  <a:lnTo>
                    <a:pt x="590" y="60"/>
                  </a:lnTo>
                  <a:lnTo>
                    <a:pt x="596" y="55"/>
                  </a:lnTo>
                  <a:lnTo>
                    <a:pt x="603" y="51"/>
                  </a:lnTo>
                  <a:lnTo>
                    <a:pt x="605" y="51"/>
                  </a:lnTo>
                  <a:lnTo>
                    <a:pt x="606" y="51"/>
                  </a:lnTo>
                  <a:lnTo>
                    <a:pt x="606" y="57"/>
                  </a:lnTo>
                  <a:lnTo>
                    <a:pt x="606" y="60"/>
                  </a:lnTo>
                  <a:lnTo>
                    <a:pt x="605" y="66"/>
                  </a:lnTo>
                  <a:lnTo>
                    <a:pt x="601" y="71"/>
                  </a:lnTo>
                  <a:lnTo>
                    <a:pt x="597" y="75"/>
                  </a:lnTo>
                  <a:lnTo>
                    <a:pt x="588" y="84"/>
                  </a:lnTo>
                  <a:lnTo>
                    <a:pt x="585" y="89"/>
                  </a:lnTo>
                  <a:lnTo>
                    <a:pt x="583" y="95"/>
                  </a:lnTo>
                  <a:lnTo>
                    <a:pt x="577" y="107"/>
                  </a:lnTo>
                  <a:lnTo>
                    <a:pt x="570" y="120"/>
                  </a:lnTo>
                  <a:lnTo>
                    <a:pt x="563" y="127"/>
                  </a:lnTo>
                  <a:lnTo>
                    <a:pt x="561" y="131"/>
                  </a:lnTo>
                  <a:lnTo>
                    <a:pt x="559" y="136"/>
                  </a:lnTo>
                  <a:lnTo>
                    <a:pt x="557" y="142"/>
                  </a:lnTo>
                  <a:lnTo>
                    <a:pt x="557" y="146"/>
                  </a:lnTo>
                  <a:lnTo>
                    <a:pt x="557" y="149"/>
                  </a:lnTo>
                  <a:lnTo>
                    <a:pt x="559" y="153"/>
                  </a:lnTo>
                  <a:lnTo>
                    <a:pt x="563" y="155"/>
                  </a:lnTo>
                  <a:lnTo>
                    <a:pt x="565" y="155"/>
                  </a:lnTo>
                  <a:lnTo>
                    <a:pt x="570" y="155"/>
                  </a:lnTo>
                  <a:lnTo>
                    <a:pt x="576" y="153"/>
                  </a:lnTo>
                  <a:lnTo>
                    <a:pt x="579" y="151"/>
                  </a:lnTo>
                  <a:lnTo>
                    <a:pt x="581" y="147"/>
                  </a:lnTo>
                  <a:lnTo>
                    <a:pt x="583" y="146"/>
                  </a:lnTo>
                  <a:lnTo>
                    <a:pt x="585" y="144"/>
                  </a:lnTo>
                  <a:lnTo>
                    <a:pt x="586" y="146"/>
                  </a:lnTo>
                  <a:lnTo>
                    <a:pt x="588" y="147"/>
                  </a:lnTo>
                  <a:lnTo>
                    <a:pt x="586" y="153"/>
                  </a:lnTo>
                  <a:lnTo>
                    <a:pt x="585" y="156"/>
                  </a:lnTo>
                  <a:lnTo>
                    <a:pt x="583" y="162"/>
                  </a:lnTo>
                  <a:lnTo>
                    <a:pt x="581" y="166"/>
                  </a:lnTo>
                  <a:lnTo>
                    <a:pt x="581" y="169"/>
                  </a:lnTo>
                  <a:lnTo>
                    <a:pt x="583" y="173"/>
                  </a:lnTo>
                  <a:lnTo>
                    <a:pt x="586" y="180"/>
                  </a:lnTo>
                  <a:lnTo>
                    <a:pt x="590" y="185"/>
                  </a:lnTo>
                  <a:lnTo>
                    <a:pt x="592" y="189"/>
                  </a:lnTo>
                  <a:lnTo>
                    <a:pt x="592" y="193"/>
                  </a:lnTo>
                  <a:lnTo>
                    <a:pt x="592" y="195"/>
                  </a:lnTo>
                  <a:lnTo>
                    <a:pt x="592" y="196"/>
                  </a:lnTo>
                  <a:lnTo>
                    <a:pt x="590" y="198"/>
                  </a:lnTo>
                  <a:lnTo>
                    <a:pt x="588" y="200"/>
                  </a:lnTo>
                  <a:lnTo>
                    <a:pt x="583" y="202"/>
                  </a:lnTo>
                  <a:lnTo>
                    <a:pt x="576" y="204"/>
                  </a:lnTo>
                  <a:lnTo>
                    <a:pt x="572" y="204"/>
                  </a:lnTo>
                  <a:lnTo>
                    <a:pt x="570" y="207"/>
                  </a:lnTo>
                  <a:lnTo>
                    <a:pt x="568" y="211"/>
                  </a:lnTo>
                  <a:lnTo>
                    <a:pt x="568" y="213"/>
                  </a:lnTo>
                  <a:lnTo>
                    <a:pt x="568" y="216"/>
                  </a:lnTo>
                  <a:lnTo>
                    <a:pt x="570" y="218"/>
                  </a:lnTo>
                  <a:lnTo>
                    <a:pt x="577" y="224"/>
                  </a:lnTo>
                  <a:lnTo>
                    <a:pt x="585" y="229"/>
                  </a:lnTo>
                  <a:lnTo>
                    <a:pt x="586" y="231"/>
                  </a:lnTo>
                  <a:lnTo>
                    <a:pt x="590" y="234"/>
                  </a:lnTo>
                  <a:lnTo>
                    <a:pt x="590" y="240"/>
                  </a:lnTo>
                  <a:lnTo>
                    <a:pt x="590" y="244"/>
                  </a:lnTo>
                  <a:lnTo>
                    <a:pt x="588" y="247"/>
                  </a:lnTo>
                  <a:lnTo>
                    <a:pt x="592" y="247"/>
                  </a:lnTo>
                  <a:lnTo>
                    <a:pt x="596" y="247"/>
                  </a:lnTo>
                  <a:lnTo>
                    <a:pt x="601" y="247"/>
                  </a:lnTo>
                  <a:lnTo>
                    <a:pt x="603" y="247"/>
                  </a:lnTo>
                  <a:lnTo>
                    <a:pt x="606" y="249"/>
                  </a:lnTo>
                  <a:lnTo>
                    <a:pt x="610" y="249"/>
                  </a:lnTo>
                  <a:lnTo>
                    <a:pt x="612" y="253"/>
                  </a:lnTo>
                  <a:lnTo>
                    <a:pt x="616" y="256"/>
                  </a:lnTo>
                  <a:lnTo>
                    <a:pt x="617" y="258"/>
                  </a:lnTo>
                  <a:lnTo>
                    <a:pt x="619" y="260"/>
                  </a:lnTo>
                  <a:lnTo>
                    <a:pt x="621" y="260"/>
                  </a:lnTo>
                  <a:lnTo>
                    <a:pt x="617" y="267"/>
                  </a:lnTo>
                  <a:lnTo>
                    <a:pt x="616" y="269"/>
                  </a:lnTo>
                  <a:lnTo>
                    <a:pt x="612" y="271"/>
                  </a:lnTo>
                  <a:lnTo>
                    <a:pt x="606" y="274"/>
                  </a:lnTo>
                  <a:lnTo>
                    <a:pt x="601" y="274"/>
                  </a:lnTo>
                  <a:lnTo>
                    <a:pt x="596" y="278"/>
                  </a:lnTo>
                  <a:lnTo>
                    <a:pt x="590" y="282"/>
                  </a:lnTo>
                  <a:lnTo>
                    <a:pt x="586" y="285"/>
                  </a:lnTo>
                  <a:lnTo>
                    <a:pt x="585" y="291"/>
                  </a:lnTo>
                  <a:lnTo>
                    <a:pt x="583" y="296"/>
                  </a:lnTo>
                  <a:lnTo>
                    <a:pt x="585" y="303"/>
                  </a:lnTo>
                  <a:lnTo>
                    <a:pt x="588" y="311"/>
                  </a:lnTo>
                  <a:lnTo>
                    <a:pt x="592" y="313"/>
                  </a:lnTo>
                  <a:lnTo>
                    <a:pt x="596" y="314"/>
                  </a:lnTo>
                  <a:lnTo>
                    <a:pt x="603" y="316"/>
                  </a:lnTo>
                  <a:lnTo>
                    <a:pt x="608" y="318"/>
                  </a:lnTo>
                  <a:lnTo>
                    <a:pt x="610" y="320"/>
                  </a:lnTo>
                  <a:lnTo>
                    <a:pt x="612" y="323"/>
                  </a:lnTo>
                  <a:lnTo>
                    <a:pt x="619" y="322"/>
                  </a:lnTo>
                  <a:lnTo>
                    <a:pt x="625" y="316"/>
                  </a:lnTo>
                  <a:lnTo>
                    <a:pt x="630" y="313"/>
                  </a:lnTo>
                  <a:lnTo>
                    <a:pt x="635" y="311"/>
                  </a:lnTo>
                  <a:lnTo>
                    <a:pt x="637" y="314"/>
                  </a:lnTo>
                  <a:lnTo>
                    <a:pt x="637" y="316"/>
                  </a:lnTo>
                  <a:lnTo>
                    <a:pt x="639" y="318"/>
                  </a:lnTo>
                  <a:lnTo>
                    <a:pt x="641" y="318"/>
                  </a:lnTo>
                  <a:lnTo>
                    <a:pt x="643" y="318"/>
                  </a:lnTo>
                  <a:lnTo>
                    <a:pt x="645" y="316"/>
                  </a:lnTo>
                  <a:lnTo>
                    <a:pt x="650" y="311"/>
                  </a:lnTo>
                  <a:lnTo>
                    <a:pt x="657" y="305"/>
                  </a:lnTo>
                  <a:lnTo>
                    <a:pt x="661" y="303"/>
                  </a:lnTo>
                  <a:lnTo>
                    <a:pt x="665" y="303"/>
                  </a:lnTo>
                  <a:lnTo>
                    <a:pt x="665" y="309"/>
                  </a:lnTo>
                  <a:lnTo>
                    <a:pt x="663" y="314"/>
                  </a:lnTo>
                  <a:lnTo>
                    <a:pt x="661" y="322"/>
                  </a:lnTo>
                  <a:lnTo>
                    <a:pt x="659" y="327"/>
                  </a:lnTo>
                  <a:lnTo>
                    <a:pt x="659" y="329"/>
                  </a:lnTo>
                  <a:lnTo>
                    <a:pt x="661" y="331"/>
                  </a:lnTo>
                  <a:lnTo>
                    <a:pt x="665" y="332"/>
                  </a:lnTo>
                  <a:lnTo>
                    <a:pt x="668" y="334"/>
                  </a:lnTo>
                  <a:lnTo>
                    <a:pt x="670" y="336"/>
                  </a:lnTo>
                  <a:lnTo>
                    <a:pt x="670" y="340"/>
                  </a:lnTo>
                  <a:lnTo>
                    <a:pt x="670" y="343"/>
                  </a:lnTo>
                  <a:lnTo>
                    <a:pt x="668" y="345"/>
                  </a:lnTo>
                  <a:lnTo>
                    <a:pt x="665" y="349"/>
                  </a:lnTo>
                  <a:lnTo>
                    <a:pt x="663" y="351"/>
                  </a:lnTo>
                  <a:lnTo>
                    <a:pt x="661" y="352"/>
                  </a:lnTo>
                  <a:lnTo>
                    <a:pt x="659" y="356"/>
                  </a:lnTo>
                  <a:lnTo>
                    <a:pt x="659" y="358"/>
                  </a:lnTo>
                  <a:lnTo>
                    <a:pt x="659" y="362"/>
                  </a:lnTo>
                  <a:lnTo>
                    <a:pt x="666" y="358"/>
                  </a:lnTo>
                  <a:lnTo>
                    <a:pt x="672" y="356"/>
                  </a:lnTo>
                  <a:lnTo>
                    <a:pt x="675" y="354"/>
                  </a:lnTo>
                  <a:lnTo>
                    <a:pt x="679" y="352"/>
                  </a:lnTo>
                  <a:lnTo>
                    <a:pt x="675" y="363"/>
                  </a:lnTo>
                  <a:lnTo>
                    <a:pt x="674" y="369"/>
                  </a:lnTo>
                  <a:lnTo>
                    <a:pt x="672" y="374"/>
                  </a:lnTo>
                  <a:lnTo>
                    <a:pt x="677" y="369"/>
                  </a:lnTo>
                  <a:lnTo>
                    <a:pt x="683" y="365"/>
                  </a:lnTo>
                  <a:lnTo>
                    <a:pt x="684" y="363"/>
                  </a:lnTo>
                  <a:lnTo>
                    <a:pt x="683" y="372"/>
                  </a:lnTo>
                  <a:lnTo>
                    <a:pt x="679" y="380"/>
                  </a:lnTo>
                  <a:lnTo>
                    <a:pt x="675" y="387"/>
                  </a:lnTo>
                  <a:lnTo>
                    <a:pt x="674" y="391"/>
                  </a:lnTo>
                  <a:lnTo>
                    <a:pt x="674" y="396"/>
                  </a:lnTo>
                  <a:lnTo>
                    <a:pt x="674" y="398"/>
                  </a:lnTo>
                  <a:lnTo>
                    <a:pt x="681" y="396"/>
                  </a:lnTo>
                  <a:lnTo>
                    <a:pt x="686" y="392"/>
                  </a:lnTo>
                  <a:lnTo>
                    <a:pt x="688" y="392"/>
                  </a:lnTo>
                  <a:lnTo>
                    <a:pt x="694" y="389"/>
                  </a:lnTo>
                  <a:lnTo>
                    <a:pt x="697" y="389"/>
                  </a:lnTo>
                  <a:lnTo>
                    <a:pt x="701" y="389"/>
                  </a:lnTo>
                  <a:lnTo>
                    <a:pt x="704" y="396"/>
                  </a:lnTo>
                  <a:lnTo>
                    <a:pt x="704" y="401"/>
                  </a:lnTo>
                  <a:lnTo>
                    <a:pt x="703" y="411"/>
                  </a:lnTo>
                  <a:lnTo>
                    <a:pt x="701" y="418"/>
                  </a:lnTo>
                  <a:lnTo>
                    <a:pt x="699" y="427"/>
                  </a:lnTo>
                  <a:lnTo>
                    <a:pt x="697" y="434"/>
                  </a:lnTo>
                  <a:lnTo>
                    <a:pt x="694" y="463"/>
                  </a:lnTo>
                  <a:lnTo>
                    <a:pt x="686" y="492"/>
                  </a:lnTo>
                  <a:lnTo>
                    <a:pt x="684" y="505"/>
                  </a:lnTo>
                  <a:lnTo>
                    <a:pt x="684" y="518"/>
                  </a:lnTo>
                  <a:lnTo>
                    <a:pt x="684" y="527"/>
                  </a:lnTo>
                  <a:lnTo>
                    <a:pt x="686" y="538"/>
                  </a:lnTo>
                  <a:lnTo>
                    <a:pt x="688" y="547"/>
                  </a:lnTo>
                  <a:lnTo>
                    <a:pt x="692" y="558"/>
                  </a:lnTo>
                  <a:lnTo>
                    <a:pt x="692" y="561"/>
                  </a:lnTo>
                  <a:lnTo>
                    <a:pt x="694" y="565"/>
                  </a:lnTo>
                  <a:lnTo>
                    <a:pt x="695" y="568"/>
                  </a:lnTo>
                  <a:lnTo>
                    <a:pt x="697" y="570"/>
                  </a:lnTo>
                  <a:lnTo>
                    <a:pt x="699" y="572"/>
                  </a:lnTo>
                  <a:lnTo>
                    <a:pt x="703" y="570"/>
                  </a:lnTo>
                  <a:lnTo>
                    <a:pt x="704" y="567"/>
                  </a:lnTo>
                  <a:lnTo>
                    <a:pt x="704" y="561"/>
                  </a:lnTo>
                  <a:lnTo>
                    <a:pt x="704" y="552"/>
                  </a:lnTo>
                  <a:lnTo>
                    <a:pt x="703" y="543"/>
                  </a:lnTo>
                  <a:lnTo>
                    <a:pt x="701" y="527"/>
                  </a:lnTo>
                  <a:lnTo>
                    <a:pt x="701" y="521"/>
                  </a:lnTo>
                  <a:lnTo>
                    <a:pt x="701" y="516"/>
                  </a:lnTo>
                  <a:lnTo>
                    <a:pt x="704" y="507"/>
                  </a:lnTo>
                  <a:lnTo>
                    <a:pt x="708" y="496"/>
                  </a:lnTo>
                  <a:lnTo>
                    <a:pt x="714" y="487"/>
                  </a:lnTo>
                  <a:lnTo>
                    <a:pt x="726" y="469"/>
                  </a:lnTo>
                  <a:lnTo>
                    <a:pt x="732" y="460"/>
                  </a:lnTo>
                  <a:lnTo>
                    <a:pt x="737" y="450"/>
                  </a:lnTo>
                  <a:lnTo>
                    <a:pt x="739" y="445"/>
                  </a:lnTo>
                  <a:lnTo>
                    <a:pt x="743" y="438"/>
                  </a:lnTo>
                  <a:lnTo>
                    <a:pt x="743" y="432"/>
                  </a:lnTo>
                  <a:lnTo>
                    <a:pt x="744" y="425"/>
                  </a:lnTo>
                  <a:lnTo>
                    <a:pt x="748" y="412"/>
                  </a:lnTo>
                  <a:lnTo>
                    <a:pt x="752" y="398"/>
                  </a:lnTo>
                  <a:lnTo>
                    <a:pt x="755" y="387"/>
                  </a:lnTo>
                  <a:lnTo>
                    <a:pt x="759" y="376"/>
                  </a:lnTo>
                  <a:lnTo>
                    <a:pt x="761" y="365"/>
                  </a:lnTo>
                  <a:lnTo>
                    <a:pt x="762" y="354"/>
                  </a:lnTo>
                  <a:lnTo>
                    <a:pt x="764" y="343"/>
                  </a:lnTo>
                  <a:lnTo>
                    <a:pt x="766" y="331"/>
                  </a:lnTo>
                  <a:lnTo>
                    <a:pt x="768" y="323"/>
                  </a:lnTo>
                  <a:lnTo>
                    <a:pt x="772" y="318"/>
                  </a:lnTo>
                  <a:lnTo>
                    <a:pt x="775" y="309"/>
                  </a:lnTo>
                  <a:lnTo>
                    <a:pt x="782" y="314"/>
                  </a:lnTo>
                  <a:lnTo>
                    <a:pt x="786" y="309"/>
                  </a:lnTo>
                  <a:lnTo>
                    <a:pt x="788" y="302"/>
                  </a:lnTo>
                  <a:lnTo>
                    <a:pt x="790" y="293"/>
                  </a:lnTo>
                  <a:lnTo>
                    <a:pt x="790" y="282"/>
                  </a:lnTo>
                  <a:lnTo>
                    <a:pt x="790" y="269"/>
                  </a:lnTo>
                  <a:lnTo>
                    <a:pt x="788" y="256"/>
                  </a:lnTo>
                  <a:lnTo>
                    <a:pt x="788" y="254"/>
                  </a:lnTo>
                  <a:lnTo>
                    <a:pt x="753" y="260"/>
                  </a:lnTo>
                  <a:lnTo>
                    <a:pt x="723" y="265"/>
                  </a:lnTo>
                  <a:lnTo>
                    <a:pt x="692" y="269"/>
                  </a:lnTo>
                  <a:lnTo>
                    <a:pt x="614" y="0"/>
                  </a:lnTo>
                  <a:close/>
                  <a:moveTo>
                    <a:pt x="775" y="260"/>
                  </a:moveTo>
                  <a:lnTo>
                    <a:pt x="775" y="258"/>
                  </a:lnTo>
                  <a:lnTo>
                    <a:pt x="775" y="260"/>
                  </a:lnTo>
                  <a:close/>
                </a:path>
              </a:pathLst>
            </a:custGeom>
            <a:solidFill>
              <a:srgbClr val="2E2E38"/>
            </a:solidFill>
            <a:ln w="3175" cap="flat" cmpd="sng" algn="ctr">
              <a:solidFill>
                <a:srgbClr val="747480"/>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646464"/>
                </a:solidFill>
                <a:effectLst/>
                <a:uLnTx/>
                <a:uFillTx/>
                <a:cs typeface="Times New Roman" panose="02020603050405020304" pitchFamily="18" charset="0"/>
              </a:endParaRPr>
            </a:p>
          </p:txBody>
        </p:sp>
        <p:sp>
          <p:nvSpPr>
            <p:cNvPr id="47" name="Freeform 91">
              <a:extLst>
                <a:ext uri="{FF2B5EF4-FFF2-40B4-BE49-F238E27FC236}">
                  <a16:creationId xmlns:a16="http://schemas.microsoft.com/office/drawing/2014/main" id="{AE7D9EC4-572B-5992-B832-DBC536C9D0A5}"/>
                </a:ext>
              </a:extLst>
            </p:cNvPr>
            <p:cNvSpPr>
              <a:spLocks/>
            </p:cNvSpPr>
            <p:nvPr/>
          </p:nvSpPr>
          <p:spPr bwMode="auto">
            <a:xfrm>
              <a:off x="6480190" y="4588557"/>
              <a:ext cx="80589" cy="255015"/>
            </a:xfrm>
            <a:custGeom>
              <a:avLst/>
              <a:gdLst/>
              <a:ahLst/>
              <a:cxnLst>
                <a:cxn ang="0">
                  <a:pos x="69" y="365"/>
                </a:cxn>
                <a:cxn ang="0">
                  <a:pos x="70" y="363"/>
                </a:cxn>
                <a:cxn ang="0">
                  <a:pos x="65" y="380"/>
                </a:cxn>
                <a:cxn ang="0">
                  <a:pos x="61" y="387"/>
                </a:cxn>
                <a:cxn ang="0">
                  <a:pos x="60" y="394"/>
                </a:cxn>
                <a:cxn ang="0">
                  <a:pos x="60" y="398"/>
                </a:cxn>
                <a:cxn ang="0">
                  <a:pos x="72" y="392"/>
                </a:cxn>
                <a:cxn ang="0">
                  <a:pos x="74" y="392"/>
                </a:cxn>
                <a:cxn ang="0">
                  <a:pos x="87" y="389"/>
                </a:cxn>
                <a:cxn ang="0">
                  <a:pos x="90" y="401"/>
                </a:cxn>
                <a:cxn ang="0">
                  <a:pos x="87" y="418"/>
                </a:cxn>
                <a:cxn ang="0">
                  <a:pos x="83" y="434"/>
                </a:cxn>
                <a:cxn ang="0">
                  <a:pos x="72" y="492"/>
                </a:cxn>
                <a:cxn ang="0">
                  <a:pos x="70" y="516"/>
                </a:cxn>
                <a:cxn ang="0">
                  <a:pos x="72" y="538"/>
                </a:cxn>
                <a:cxn ang="0">
                  <a:pos x="76" y="558"/>
                </a:cxn>
                <a:cxn ang="0">
                  <a:pos x="78" y="561"/>
                </a:cxn>
                <a:cxn ang="0">
                  <a:pos x="80" y="568"/>
                </a:cxn>
                <a:cxn ang="0">
                  <a:pos x="85" y="572"/>
                </a:cxn>
                <a:cxn ang="0">
                  <a:pos x="89" y="570"/>
                </a:cxn>
                <a:cxn ang="0">
                  <a:pos x="90" y="561"/>
                </a:cxn>
                <a:cxn ang="0">
                  <a:pos x="85" y="527"/>
                </a:cxn>
                <a:cxn ang="0">
                  <a:pos x="90" y="507"/>
                </a:cxn>
                <a:cxn ang="0">
                  <a:pos x="100" y="487"/>
                </a:cxn>
                <a:cxn ang="0">
                  <a:pos x="123" y="450"/>
                </a:cxn>
                <a:cxn ang="0">
                  <a:pos x="130" y="425"/>
                </a:cxn>
                <a:cxn ang="0">
                  <a:pos x="138" y="398"/>
                </a:cxn>
                <a:cxn ang="0">
                  <a:pos x="145" y="376"/>
                </a:cxn>
                <a:cxn ang="0">
                  <a:pos x="148" y="354"/>
                </a:cxn>
                <a:cxn ang="0">
                  <a:pos x="152" y="331"/>
                </a:cxn>
                <a:cxn ang="0">
                  <a:pos x="161" y="309"/>
                </a:cxn>
                <a:cxn ang="0">
                  <a:pos x="168" y="314"/>
                </a:cxn>
                <a:cxn ang="0">
                  <a:pos x="170" y="307"/>
                </a:cxn>
                <a:cxn ang="0">
                  <a:pos x="174" y="302"/>
                </a:cxn>
                <a:cxn ang="0">
                  <a:pos x="176" y="282"/>
                </a:cxn>
                <a:cxn ang="0">
                  <a:pos x="174" y="256"/>
                </a:cxn>
                <a:cxn ang="0">
                  <a:pos x="174" y="254"/>
                </a:cxn>
                <a:cxn ang="0">
                  <a:pos x="76" y="269"/>
                </a:cxn>
                <a:cxn ang="0">
                  <a:pos x="0" y="0"/>
                </a:cxn>
              </a:cxnLst>
              <a:rect l="0" t="0" r="r" b="b"/>
              <a:pathLst>
                <a:path w="176" h="572">
                  <a:moveTo>
                    <a:pt x="69" y="365"/>
                  </a:moveTo>
                  <a:lnTo>
                    <a:pt x="70" y="363"/>
                  </a:lnTo>
                  <a:lnTo>
                    <a:pt x="65" y="380"/>
                  </a:lnTo>
                  <a:lnTo>
                    <a:pt x="61" y="387"/>
                  </a:lnTo>
                  <a:lnTo>
                    <a:pt x="60" y="394"/>
                  </a:lnTo>
                  <a:lnTo>
                    <a:pt x="60" y="398"/>
                  </a:lnTo>
                  <a:lnTo>
                    <a:pt x="72" y="392"/>
                  </a:lnTo>
                  <a:lnTo>
                    <a:pt x="74" y="392"/>
                  </a:lnTo>
                  <a:lnTo>
                    <a:pt x="87" y="389"/>
                  </a:lnTo>
                  <a:lnTo>
                    <a:pt x="90" y="401"/>
                  </a:lnTo>
                  <a:lnTo>
                    <a:pt x="87" y="418"/>
                  </a:lnTo>
                  <a:lnTo>
                    <a:pt x="83" y="434"/>
                  </a:lnTo>
                  <a:lnTo>
                    <a:pt x="72" y="492"/>
                  </a:lnTo>
                  <a:lnTo>
                    <a:pt x="70" y="516"/>
                  </a:lnTo>
                  <a:lnTo>
                    <a:pt x="72" y="538"/>
                  </a:lnTo>
                  <a:lnTo>
                    <a:pt x="76" y="558"/>
                  </a:lnTo>
                  <a:lnTo>
                    <a:pt x="78" y="561"/>
                  </a:lnTo>
                  <a:lnTo>
                    <a:pt x="80" y="568"/>
                  </a:lnTo>
                  <a:lnTo>
                    <a:pt x="85" y="572"/>
                  </a:lnTo>
                  <a:lnTo>
                    <a:pt x="89" y="570"/>
                  </a:lnTo>
                  <a:lnTo>
                    <a:pt x="90" y="561"/>
                  </a:lnTo>
                  <a:lnTo>
                    <a:pt x="85" y="527"/>
                  </a:lnTo>
                  <a:lnTo>
                    <a:pt x="90" y="507"/>
                  </a:lnTo>
                  <a:lnTo>
                    <a:pt x="100" y="487"/>
                  </a:lnTo>
                  <a:lnTo>
                    <a:pt x="123" y="450"/>
                  </a:lnTo>
                  <a:lnTo>
                    <a:pt x="130" y="425"/>
                  </a:lnTo>
                  <a:lnTo>
                    <a:pt x="138" y="398"/>
                  </a:lnTo>
                  <a:lnTo>
                    <a:pt x="145" y="376"/>
                  </a:lnTo>
                  <a:lnTo>
                    <a:pt x="148" y="354"/>
                  </a:lnTo>
                  <a:lnTo>
                    <a:pt x="152" y="331"/>
                  </a:lnTo>
                  <a:lnTo>
                    <a:pt x="161" y="309"/>
                  </a:lnTo>
                  <a:lnTo>
                    <a:pt x="168" y="314"/>
                  </a:lnTo>
                  <a:lnTo>
                    <a:pt x="170" y="307"/>
                  </a:lnTo>
                  <a:lnTo>
                    <a:pt x="174" y="302"/>
                  </a:lnTo>
                  <a:lnTo>
                    <a:pt x="176" y="282"/>
                  </a:lnTo>
                  <a:lnTo>
                    <a:pt x="174" y="256"/>
                  </a:lnTo>
                  <a:lnTo>
                    <a:pt x="174" y="254"/>
                  </a:lnTo>
                  <a:lnTo>
                    <a:pt x="76" y="269"/>
                  </a:lnTo>
                  <a:lnTo>
                    <a:pt x="0" y="0"/>
                  </a:lnTo>
                </a:path>
              </a:pathLst>
            </a:custGeom>
            <a:solidFill>
              <a:srgbClr val="2E2E38"/>
            </a:solidFill>
            <a:ln w="3175" cap="flat" cmpd="sng" algn="ctr">
              <a:solidFill>
                <a:srgbClr val="747480"/>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646464"/>
                </a:solidFill>
                <a:effectLst/>
                <a:uLnTx/>
                <a:uFillTx/>
                <a:cs typeface="Times New Roman" panose="02020603050405020304" pitchFamily="18" charset="0"/>
              </a:endParaRPr>
            </a:p>
          </p:txBody>
        </p:sp>
        <p:sp>
          <p:nvSpPr>
            <p:cNvPr id="48" name="Line 93">
              <a:extLst>
                <a:ext uri="{FF2B5EF4-FFF2-40B4-BE49-F238E27FC236}">
                  <a16:creationId xmlns:a16="http://schemas.microsoft.com/office/drawing/2014/main" id="{D241E2CF-369B-D0F1-B629-8925540FF42B}"/>
                </a:ext>
              </a:extLst>
            </p:cNvPr>
            <p:cNvSpPr>
              <a:spLocks noChangeShapeType="1"/>
            </p:cNvSpPr>
            <p:nvPr/>
          </p:nvSpPr>
          <p:spPr bwMode="auto">
            <a:xfrm>
              <a:off x="6554368" y="4703582"/>
              <a:ext cx="915" cy="894"/>
            </a:xfrm>
            <a:prstGeom prst="line">
              <a:avLst/>
            </a:prstGeom>
            <a:solidFill>
              <a:srgbClr val="C0C0C0"/>
            </a:solidFill>
            <a:ln w="6350">
              <a:solidFill>
                <a:srgbClr val="999999">
                  <a:lumMod val="5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646464"/>
                </a:solidFill>
                <a:effectLst/>
                <a:uLnTx/>
                <a:uFillTx/>
                <a:cs typeface="Times New Roman" panose="02020603050405020304" pitchFamily="18" charset="0"/>
              </a:endParaRPr>
            </a:p>
          </p:txBody>
        </p:sp>
        <p:sp>
          <p:nvSpPr>
            <p:cNvPr id="49" name="Freeform 94">
              <a:extLst>
                <a:ext uri="{FF2B5EF4-FFF2-40B4-BE49-F238E27FC236}">
                  <a16:creationId xmlns:a16="http://schemas.microsoft.com/office/drawing/2014/main" id="{407542D6-2B25-A6AB-C137-1A0BBF4B9C7B}"/>
                </a:ext>
              </a:extLst>
            </p:cNvPr>
            <p:cNvSpPr>
              <a:spLocks/>
            </p:cNvSpPr>
            <p:nvPr/>
          </p:nvSpPr>
          <p:spPr bwMode="auto">
            <a:xfrm>
              <a:off x="6640451" y="3972418"/>
              <a:ext cx="130041" cy="271065"/>
            </a:xfrm>
            <a:custGeom>
              <a:avLst/>
              <a:gdLst/>
              <a:ahLst/>
              <a:cxnLst>
                <a:cxn ang="0">
                  <a:pos x="87" y="11"/>
                </a:cxn>
                <a:cxn ang="0">
                  <a:pos x="71" y="9"/>
                </a:cxn>
                <a:cxn ang="0">
                  <a:pos x="63" y="17"/>
                </a:cxn>
                <a:cxn ang="0">
                  <a:pos x="60" y="33"/>
                </a:cxn>
                <a:cxn ang="0">
                  <a:pos x="56" y="69"/>
                </a:cxn>
                <a:cxn ang="0">
                  <a:pos x="54" y="82"/>
                </a:cxn>
                <a:cxn ang="0">
                  <a:pos x="58" y="109"/>
                </a:cxn>
                <a:cxn ang="0">
                  <a:pos x="54" y="127"/>
                </a:cxn>
                <a:cxn ang="0">
                  <a:pos x="54" y="140"/>
                </a:cxn>
                <a:cxn ang="0">
                  <a:pos x="65" y="158"/>
                </a:cxn>
                <a:cxn ang="0">
                  <a:pos x="73" y="184"/>
                </a:cxn>
                <a:cxn ang="0">
                  <a:pos x="67" y="207"/>
                </a:cxn>
                <a:cxn ang="0">
                  <a:pos x="54" y="218"/>
                </a:cxn>
                <a:cxn ang="0">
                  <a:pos x="42" y="229"/>
                </a:cxn>
                <a:cxn ang="0">
                  <a:pos x="38" y="236"/>
                </a:cxn>
                <a:cxn ang="0">
                  <a:pos x="33" y="242"/>
                </a:cxn>
                <a:cxn ang="0">
                  <a:pos x="25" y="242"/>
                </a:cxn>
                <a:cxn ang="0">
                  <a:pos x="16" y="247"/>
                </a:cxn>
                <a:cxn ang="0">
                  <a:pos x="14" y="271"/>
                </a:cxn>
                <a:cxn ang="0">
                  <a:pos x="18" y="280"/>
                </a:cxn>
                <a:cxn ang="0">
                  <a:pos x="24" y="291"/>
                </a:cxn>
                <a:cxn ang="0">
                  <a:pos x="18" y="311"/>
                </a:cxn>
                <a:cxn ang="0">
                  <a:pos x="16" y="320"/>
                </a:cxn>
                <a:cxn ang="0">
                  <a:pos x="20" y="329"/>
                </a:cxn>
                <a:cxn ang="0">
                  <a:pos x="16" y="347"/>
                </a:cxn>
                <a:cxn ang="0">
                  <a:pos x="13" y="374"/>
                </a:cxn>
                <a:cxn ang="0">
                  <a:pos x="4" y="391"/>
                </a:cxn>
                <a:cxn ang="0">
                  <a:pos x="5" y="410"/>
                </a:cxn>
                <a:cxn ang="0">
                  <a:pos x="2" y="425"/>
                </a:cxn>
                <a:cxn ang="0">
                  <a:pos x="2" y="434"/>
                </a:cxn>
                <a:cxn ang="0">
                  <a:pos x="5" y="438"/>
                </a:cxn>
                <a:cxn ang="0">
                  <a:pos x="9" y="469"/>
                </a:cxn>
                <a:cxn ang="0">
                  <a:pos x="11" y="505"/>
                </a:cxn>
                <a:cxn ang="0">
                  <a:pos x="14" y="538"/>
                </a:cxn>
                <a:cxn ang="0">
                  <a:pos x="11" y="552"/>
                </a:cxn>
                <a:cxn ang="0">
                  <a:pos x="9" y="568"/>
                </a:cxn>
                <a:cxn ang="0">
                  <a:pos x="18" y="587"/>
                </a:cxn>
                <a:cxn ang="0">
                  <a:pos x="31" y="608"/>
                </a:cxn>
                <a:cxn ang="0">
                  <a:pos x="218" y="559"/>
                </a:cxn>
                <a:cxn ang="0">
                  <a:pos x="229" y="557"/>
                </a:cxn>
                <a:cxn ang="0">
                  <a:pos x="227" y="543"/>
                </a:cxn>
                <a:cxn ang="0">
                  <a:pos x="232" y="538"/>
                </a:cxn>
                <a:cxn ang="0">
                  <a:pos x="243" y="536"/>
                </a:cxn>
                <a:cxn ang="0">
                  <a:pos x="243" y="528"/>
                </a:cxn>
                <a:cxn ang="0">
                  <a:pos x="249" y="525"/>
                </a:cxn>
                <a:cxn ang="0">
                  <a:pos x="261" y="518"/>
                </a:cxn>
                <a:cxn ang="0">
                  <a:pos x="274" y="514"/>
                </a:cxn>
                <a:cxn ang="0">
                  <a:pos x="278" y="494"/>
                </a:cxn>
                <a:cxn ang="0">
                  <a:pos x="276" y="472"/>
                </a:cxn>
                <a:cxn ang="0">
                  <a:pos x="270" y="454"/>
                </a:cxn>
                <a:cxn ang="0">
                  <a:pos x="265" y="436"/>
                </a:cxn>
                <a:cxn ang="0">
                  <a:pos x="256" y="423"/>
                </a:cxn>
                <a:cxn ang="0">
                  <a:pos x="234" y="412"/>
                </a:cxn>
                <a:cxn ang="0">
                  <a:pos x="223" y="403"/>
                </a:cxn>
                <a:cxn ang="0">
                  <a:pos x="219" y="391"/>
                </a:cxn>
                <a:cxn ang="0">
                  <a:pos x="218" y="371"/>
                </a:cxn>
                <a:cxn ang="0">
                  <a:pos x="200" y="293"/>
                </a:cxn>
                <a:cxn ang="0">
                  <a:pos x="102" y="0"/>
                </a:cxn>
              </a:cxnLst>
              <a:rect l="0" t="0" r="r" b="b"/>
              <a:pathLst>
                <a:path w="283" h="608">
                  <a:moveTo>
                    <a:pt x="102" y="0"/>
                  </a:moveTo>
                  <a:lnTo>
                    <a:pt x="94" y="11"/>
                  </a:lnTo>
                  <a:lnTo>
                    <a:pt x="87" y="11"/>
                  </a:lnTo>
                  <a:lnTo>
                    <a:pt x="80" y="11"/>
                  </a:lnTo>
                  <a:lnTo>
                    <a:pt x="73" y="9"/>
                  </a:lnTo>
                  <a:lnTo>
                    <a:pt x="71" y="9"/>
                  </a:lnTo>
                  <a:lnTo>
                    <a:pt x="67" y="11"/>
                  </a:lnTo>
                  <a:lnTo>
                    <a:pt x="65" y="13"/>
                  </a:lnTo>
                  <a:lnTo>
                    <a:pt x="63" y="17"/>
                  </a:lnTo>
                  <a:lnTo>
                    <a:pt x="62" y="18"/>
                  </a:lnTo>
                  <a:lnTo>
                    <a:pt x="60" y="26"/>
                  </a:lnTo>
                  <a:lnTo>
                    <a:pt x="60" y="33"/>
                  </a:lnTo>
                  <a:lnTo>
                    <a:pt x="58" y="55"/>
                  </a:lnTo>
                  <a:lnTo>
                    <a:pt x="58" y="66"/>
                  </a:lnTo>
                  <a:lnTo>
                    <a:pt x="56" y="69"/>
                  </a:lnTo>
                  <a:lnTo>
                    <a:pt x="54" y="75"/>
                  </a:lnTo>
                  <a:lnTo>
                    <a:pt x="54" y="78"/>
                  </a:lnTo>
                  <a:lnTo>
                    <a:pt x="54" y="82"/>
                  </a:lnTo>
                  <a:lnTo>
                    <a:pt x="54" y="86"/>
                  </a:lnTo>
                  <a:lnTo>
                    <a:pt x="56" y="97"/>
                  </a:lnTo>
                  <a:lnTo>
                    <a:pt x="58" y="109"/>
                  </a:lnTo>
                  <a:lnTo>
                    <a:pt x="58" y="115"/>
                  </a:lnTo>
                  <a:lnTo>
                    <a:pt x="56" y="122"/>
                  </a:lnTo>
                  <a:lnTo>
                    <a:pt x="54" y="127"/>
                  </a:lnTo>
                  <a:lnTo>
                    <a:pt x="53" y="131"/>
                  </a:lnTo>
                  <a:lnTo>
                    <a:pt x="53" y="136"/>
                  </a:lnTo>
                  <a:lnTo>
                    <a:pt x="54" y="140"/>
                  </a:lnTo>
                  <a:lnTo>
                    <a:pt x="56" y="146"/>
                  </a:lnTo>
                  <a:lnTo>
                    <a:pt x="62" y="153"/>
                  </a:lnTo>
                  <a:lnTo>
                    <a:pt x="65" y="158"/>
                  </a:lnTo>
                  <a:lnTo>
                    <a:pt x="69" y="165"/>
                  </a:lnTo>
                  <a:lnTo>
                    <a:pt x="73" y="175"/>
                  </a:lnTo>
                  <a:lnTo>
                    <a:pt x="73" y="184"/>
                  </a:lnTo>
                  <a:lnTo>
                    <a:pt x="71" y="196"/>
                  </a:lnTo>
                  <a:lnTo>
                    <a:pt x="69" y="202"/>
                  </a:lnTo>
                  <a:lnTo>
                    <a:pt x="67" y="207"/>
                  </a:lnTo>
                  <a:lnTo>
                    <a:pt x="65" y="211"/>
                  </a:lnTo>
                  <a:lnTo>
                    <a:pt x="62" y="214"/>
                  </a:lnTo>
                  <a:lnTo>
                    <a:pt x="54" y="218"/>
                  </a:lnTo>
                  <a:lnTo>
                    <a:pt x="49" y="222"/>
                  </a:lnTo>
                  <a:lnTo>
                    <a:pt x="42" y="227"/>
                  </a:lnTo>
                  <a:lnTo>
                    <a:pt x="42" y="229"/>
                  </a:lnTo>
                  <a:lnTo>
                    <a:pt x="40" y="229"/>
                  </a:lnTo>
                  <a:lnTo>
                    <a:pt x="40" y="233"/>
                  </a:lnTo>
                  <a:lnTo>
                    <a:pt x="38" y="236"/>
                  </a:lnTo>
                  <a:lnTo>
                    <a:pt x="38" y="238"/>
                  </a:lnTo>
                  <a:lnTo>
                    <a:pt x="36" y="240"/>
                  </a:lnTo>
                  <a:lnTo>
                    <a:pt x="33" y="242"/>
                  </a:lnTo>
                  <a:lnTo>
                    <a:pt x="31" y="242"/>
                  </a:lnTo>
                  <a:lnTo>
                    <a:pt x="27" y="242"/>
                  </a:lnTo>
                  <a:lnTo>
                    <a:pt x="25" y="242"/>
                  </a:lnTo>
                  <a:lnTo>
                    <a:pt x="24" y="242"/>
                  </a:lnTo>
                  <a:lnTo>
                    <a:pt x="20" y="244"/>
                  </a:lnTo>
                  <a:lnTo>
                    <a:pt x="16" y="247"/>
                  </a:lnTo>
                  <a:lnTo>
                    <a:pt x="14" y="251"/>
                  </a:lnTo>
                  <a:lnTo>
                    <a:pt x="13" y="256"/>
                  </a:lnTo>
                  <a:lnTo>
                    <a:pt x="14" y="271"/>
                  </a:lnTo>
                  <a:lnTo>
                    <a:pt x="14" y="274"/>
                  </a:lnTo>
                  <a:lnTo>
                    <a:pt x="13" y="278"/>
                  </a:lnTo>
                  <a:lnTo>
                    <a:pt x="18" y="280"/>
                  </a:lnTo>
                  <a:lnTo>
                    <a:pt x="20" y="283"/>
                  </a:lnTo>
                  <a:lnTo>
                    <a:pt x="22" y="287"/>
                  </a:lnTo>
                  <a:lnTo>
                    <a:pt x="24" y="291"/>
                  </a:lnTo>
                  <a:lnTo>
                    <a:pt x="22" y="300"/>
                  </a:lnTo>
                  <a:lnTo>
                    <a:pt x="20" y="309"/>
                  </a:lnTo>
                  <a:lnTo>
                    <a:pt x="18" y="311"/>
                  </a:lnTo>
                  <a:lnTo>
                    <a:pt x="18" y="312"/>
                  </a:lnTo>
                  <a:lnTo>
                    <a:pt x="16" y="318"/>
                  </a:lnTo>
                  <a:lnTo>
                    <a:pt x="16" y="320"/>
                  </a:lnTo>
                  <a:lnTo>
                    <a:pt x="18" y="322"/>
                  </a:lnTo>
                  <a:lnTo>
                    <a:pt x="20" y="323"/>
                  </a:lnTo>
                  <a:lnTo>
                    <a:pt x="20" y="329"/>
                  </a:lnTo>
                  <a:lnTo>
                    <a:pt x="18" y="332"/>
                  </a:lnTo>
                  <a:lnTo>
                    <a:pt x="16" y="340"/>
                  </a:lnTo>
                  <a:lnTo>
                    <a:pt x="16" y="347"/>
                  </a:lnTo>
                  <a:lnTo>
                    <a:pt x="16" y="356"/>
                  </a:lnTo>
                  <a:lnTo>
                    <a:pt x="14" y="365"/>
                  </a:lnTo>
                  <a:lnTo>
                    <a:pt x="13" y="374"/>
                  </a:lnTo>
                  <a:lnTo>
                    <a:pt x="7" y="381"/>
                  </a:lnTo>
                  <a:lnTo>
                    <a:pt x="5" y="387"/>
                  </a:lnTo>
                  <a:lnTo>
                    <a:pt x="4" y="391"/>
                  </a:lnTo>
                  <a:lnTo>
                    <a:pt x="4" y="394"/>
                  </a:lnTo>
                  <a:lnTo>
                    <a:pt x="4" y="403"/>
                  </a:lnTo>
                  <a:lnTo>
                    <a:pt x="5" y="410"/>
                  </a:lnTo>
                  <a:lnTo>
                    <a:pt x="5" y="412"/>
                  </a:lnTo>
                  <a:lnTo>
                    <a:pt x="2" y="421"/>
                  </a:lnTo>
                  <a:lnTo>
                    <a:pt x="2" y="425"/>
                  </a:lnTo>
                  <a:lnTo>
                    <a:pt x="0" y="430"/>
                  </a:lnTo>
                  <a:lnTo>
                    <a:pt x="0" y="432"/>
                  </a:lnTo>
                  <a:lnTo>
                    <a:pt x="2" y="434"/>
                  </a:lnTo>
                  <a:lnTo>
                    <a:pt x="4" y="436"/>
                  </a:lnTo>
                  <a:lnTo>
                    <a:pt x="5" y="436"/>
                  </a:lnTo>
                  <a:lnTo>
                    <a:pt x="5" y="438"/>
                  </a:lnTo>
                  <a:lnTo>
                    <a:pt x="5" y="445"/>
                  </a:lnTo>
                  <a:lnTo>
                    <a:pt x="7" y="450"/>
                  </a:lnTo>
                  <a:lnTo>
                    <a:pt x="9" y="469"/>
                  </a:lnTo>
                  <a:lnTo>
                    <a:pt x="11" y="478"/>
                  </a:lnTo>
                  <a:lnTo>
                    <a:pt x="11" y="489"/>
                  </a:lnTo>
                  <a:lnTo>
                    <a:pt x="11" y="505"/>
                  </a:lnTo>
                  <a:lnTo>
                    <a:pt x="13" y="523"/>
                  </a:lnTo>
                  <a:lnTo>
                    <a:pt x="13" y="530"/>
                  </a:lnTo>
                  <a:lnTo>
                    <a:pt x="14" y="538"/>
                  </a:lnTo>
                  <a:lnTo>
                    <a:pt x="14" y="543"/>
                  </a:lnTo>
                  <a:lnTo>
                    <a:pt x="13" y="548"/>
                  </a:lnTo>
                  <a:lnTo>
                    <a:pt x="11" y="552"/>
                  </a:lnTo>
                  <a:lnTo>
                    <a:pt x="9" y="556"/>
                  </a:lnTo>
                  <a:lnTo>
                    <a:pt x="9" y="563"/>
                  </a:lnTo>
                  <a:lnTo>
                    <a:pt x="9" y="568"/>
                  </a:lnTo>
                  <a:lnTo>
                    <a:pt x="11" y="576"/>
                  </a:lnTo>
                  <a:lnTo>
                    <a:pt x="14" y="581"/>
                  </a:lnTo>
                  <a:lnTo>
                    <a:pt x="18" y="587"/>
                  </a:lnTo>
                  <a:lnTo>
                    <a:pt x="25" y="596"/>
                  </a:lnTo>
                  <a:lnTo>
                    <a:pt x="29" y="601"/>
                  </a:lnTo>
                  <a:lnTo>
                    <a:pt x="31" y="608"/>
                  </a:lnTo>
                  <a:lnTo>
                    <a:pt x="216" y="568"/>
                  </a:lnTo>
                  <a:lnTo>
                    <a:pt x="216" y="563"/>
                  </a:lnTo>
                  <a:lnTo>
                    <a:pt x="218" y="559"/>
                  </a:lnTo>
                  <a:lnTo>
                    <a:pt x="219" y="557"/>
                  </a:lnTo>
                  <a:lnTo>
                    <a:pt x="223" y="556"/>
                  </a:lnTo>
                  <a:lnTo>
                    <a:pt x="229" y="557"/>
                  </a:lnTo>
                  <a:lnTo>
                    <a:pt x="229" y="550"/>
                  </a:lnTo>
                  <a:lnTo>
                    <a:pt x="227" y="547"/>
                  </a:lnTo>
                  <a:lnTo>
                    <a:pt x="227" y="543"/>
                  </a:lnTo>
                  <a:lnTo>
                    <a:pt x="229" y="541"/>
                  </a:lnTo>
                  <a:lnTo>
                    <a:pt x="230" y="539"/>
                  </a:lnTo>
                  <a:lnTo>
                    <a:pt x="232" y="538"/>
                  </a:lnTo>
                  <a:lnTo>
                    <a:pt x="234" y="538"/>
                  </a:lnTo>
                  <a:lnTo>
                    <a:pt x="236" y="538"/>
                  </a:lnTo>
                  <a:lnTo>
                    <a:pt x="243" y="536"/>
                  </a:lnTo>
                  <a:lnTo>
                    <a:pt x="243" y="534"/>
                  </a:lnTo>
                  <a:lnTo>
                    <a:pt x="243" y="530"/>
                  </a:lnTo>
                  <a:lnTo>
                    <a:pt x="243" y="528"/>
                  </a:lnTo>
                  <a:lnTo>
                    <a:pt x="245" y="527"/>
                  </a:lnTo>
                  <a:lnTo>
                    <a:pt x="247" y="525"/>
                  </a:lnTo>
                  <a:lnTo>
                    <a:pt x="249" y="525"/>
                  </a:lnTo>
                  <a:lnTo>
                    <a:pt x="252" y="527"/>
                  </a:lnTo>
                  <a:lnTo>
                    <a:pt x="258" y="519"/>
                  </a:lnTo>
                  <a:lnTo>
                    <a:pt x="261" y="518"/>
                  </a:lnTo>
                  <a:lnTo>
                    <a:pt x="265" y="516"/>
                  </a:lnTo>
                  <a:lnTo>
                    <a:pt x="270" y="514"/>
                  </a:lnTo>
                  <a:lnTo>
                    <a:pt x="274" y="514"/>
                  </a:lnTo>
                  <a:lnTo>
                    <a:pt x="283" y="512"/>
                  </a:lnTo>
                  <a:lnTo>
                    <a:pt x="283" y="510"/>
                  </a:lnTo>
                  <a:lnTo>
                    <a:pt x="278" y="494"/>
                  </a:lnTo>
                  <a:lnTo>
                    <a:pt x="276" y="487"/>
                  </a:lnTo>
                  <a:lnTo>
                    <a:pt x="276" y="481"/>
                  </a:lnTo>
                  <a:lnTo>
                    <a:pt x="276" y="472"/>
                  </a:lnTo>
                  <a:lnTo>
                    <a:pt x="278" y="465"/>
                  </a:lnTo>
                  <a:lnTo>
                    <a:pt x="274" y="459"/>
                  </a:lnTo>
                  <a:lnTo>
                    <a:pt x="270" y="454"/>
                  </a:lnTo>
                  <a:lnTo>
                    <a:pt x="267" y="449"/>
                  </a:lnTo>
                  <a:lnTo>
                    <a:pt x="265" y="443"/>
                  </a:lnTo>
                  <a:lnTo>
                    <a:pt x="265" y="436"/>
                  </a:lnTo>
                  <a:lnTo>
                    <a:pt x="261" y="430"/>
                  </a:lnTo>
                  <a:lnTo>
                    <a:pt x="259" y="427"/>
                  </a:lnTo>
                  <a:lnTo>
                    <a:pt x="256" y="423"/>
                  </a:lnTo>
                  <a:lnTo>
                    <a:pt x="247" y="420"/>
                  </a:lnTo>
                  <a:lnTo>
                    <a:pt x="238" y="416"/>
                  </a:lnTo>
                  <a:lnTo>
                    <a:pt x="234" y="412"/>
                  </a:lnTo>
                  <a:lnTo>
                    <a:pt x="229" y="410"/>
                  </a:lnTo>
                  <a:lnTo>
                    <a:pt x="227" y="407"/>
                  </a:lnTo>
                  <a:lnTo>
                    <a:pt x="223" y="403"/>
                  </a:lnTo>
                  <a:lnTo>
                    <a:pt x="221" y="400"/>
                  </a:lnTo>
                  <a:lnTo>
                    <a:pt x="219" y="394"/>
                  </a:lnTo>
                  <a:lnTo>
                    <a:pt x="219" y="391"/>
                  </a:lnTo>
                  <a:lnTo>
                    <a:pt x="219" y="387"/>
                  </a:lnTo>
                  <a:lnTo>
                    <a:pt x="218" y="378"/>
                  </a:lnTo>
                  <a:lnTo>
                    <a:pt x="218" y="371"/>
                  </a:lnTo>
                  <a:lnTo>
                    <a:pt x="218" y="358"/>
                  </a:lnTo>
                  <a:lnTo>
                    <a:pt x="212" y="336"/>
                  </a:lnTo>
                  <a:lnTo>
                    <a:pt x="200" y="293"/>
                  </a:lnTo>
                  <a:lnTo>
                    <a:pt x="160" y="176"/>
                  </a:lnTo>
                  <a:lnTo>
                    <a:pt x="102" y="2"/>
                  </a:lnTo>
                  <a:lnTo>
                    <a:pt x="102" y="0"/>
                  </a:lnTo>
                  <a:close/>
                </a:path>
              </a:pathLst>
            </a:custGeom>
            <a:solidFill>
              <a:srgbClr val="FFE600"/>
            </a:solidFill>
            <a:ln w="6350" cap="flat" cmpd="sng" algn="ctr">
              <a:solidFill>
                <a:srgbClr val="2E2E38"/>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646464"/>
                </a:solidFill>
                <a:effectLst/>
                <a:uLnTx/>
                <a:uFillTx/>
                <a:cs typeface="Times New Roman" panose="02020603050405020304" pitchFamily="18" charset="0"/>
              </a:endParaRPr>
            </a:p>
          </p:txBody>
        </p:sp>
        <p:sp>
          <p:nvSpPr>
            <p:cNvPr id="50" name="Freeform 97">
              <a:extLst>
                <a:ext uri="{FF2B5EF4-FFF2-40B4-BE49-F238E27FC236}">
                  <a16:creationId xmlns:a16="http://schemas.microsoft.com/office/drawing/2014/main" id="{0C36B783-362E-062B-E6FF-DF1930F72610}"/>
                </a:ext>
              </a:extLst>
            </p:cNvPr>
            <p:cNvSpPr>
              <a:spLocks noEditPoints="1"/>
            </p:cNvSpPr>
            <p:nvPr/>
          </p:nvSpPr>
          <p:spPr bwMode="auto">
            <a:xfrm>
              <a:off x="6687157" y="3725426"/>
              <a:ext cx="294882" cy="453856"/>
            </a:xfrm>
            <a:custGeom>
              <a:avLst/>
              <a:gdLst/>
              <a:ahLst/>
              <a:cxnLst>
                <a:cxn ang="0">
                  <a:pos x="281" y="16"/>
                </a:cxn>
                <a:cxn ang="0">
                  <a:pos x="254" y="36"/>
                </a:cxn>
                <a:cxn ang="0">
                  <a:pos x="215" y="64"/>
                </a:cxn>
                <a:cxn ang="0">
                  <a:pos x="181" y="44"/>
                </a:cxn>
                <a:cxn ang="0">
                  <a:pos x="152" y="25"/>
                </a:cxn>
                <a:cxn ang="0">
                  <a:pos x="123" y="94"/>
                </a:cxn>
                <a:cxn ang="0">
                  <a:pos x="85" y="241"/>
                </a:cxn>
                <a:cxn ang="0">
                  <a:pos x="70" y="301"/>
                </a:cxn>
                <a:cxn ang="0">
                  <a:pos x="76" y="356"/>
                </a:cxn>
                <a:cxn ang="0">
                  <a:pos x="88" y="385"/>
                </a:cxn>
                <a:cxn ang="0">
                  <a:pos x="76" y="412"/>
                </a:cxn>
                <a:cxn ang="0">
                  <a:pos x="45" y="485"/>
                </a:cxn>
                <a:cxn ang="0">
                  <a:pos x="61" y="510"/>
                </a:cxn>
                <a:cxn ang="0">
                  <a:pos x="50" y="519"/>
                </a:cxn>
                <a:cxn ang="0">
                  <a:pos x="38" y="535"/>
                </a:cxn>
                <a:cxn ang="0">
                  <a:pos x="29" y="554"/>
                </a:cxn>
                <a:cxn ang="0">
                  <a:pos x="0" y="555"/>
                </a:cxn>
                <a:cxn ang="0">
                  <a:pos x="117" y="942"/>
                </a:cxn>
                <a:cxn ang="0">
                  <a:pos x="154" y="978"/>
                </a:cxn>
                <a:cxn ang="0">
                  <a:pos x="176" y="1020"/>
                </a:cxn>
                <a:cxn ang="0">
                  <a:pos x="192" y="964"/>
                </a:cxn>
                <a:cxn ang="0">
                  <a:pos x="212" y="913"/>
                </a:cxn>
                <a:cxn ang="0">
                  <a:pos x="235" y="887"/>
                </a:cxn>
                <a:cxn ang="0">
                  <a:pos x="232" y="842"/>
                </a:cxn>
                <a:cxn ang="0">
                  <a:pos x="255" y="829"/>
                </a:cxn>
                <a:cxn ang="0">
                  <a:pos x="274" y="831"/>
                </a:cxn>
                <a:cxn ang="0">
                  <a:pos x="294" y="826"/>
                </a:cxn>
                <a:cxn ang="0">
                  <a:pos x="301" y="789"/>
                </a:cxn>
                <a:cxn ang="0">
                  <a:pos x="330" y="788"/>
                </a:cxn>
                <a:cxn ang="0">
                  <a:pos x="344" y="764"/>
                </a:cxn>
                <a:cxn ang="0">
                  <a:pos x="368" y="757"/>
                </a:cxn>
                <a:cxn ang="0">
                  <a:pos x="375" y="710"/>
                </a:cxn>
                <a:cxn ang="0">
                  <a:pos x="370" y="653"/>
                </a:cxn>
                <a:cxn ang="0">
                  <a:pos x="388" y="619"/>
                </a:cxn>
                <a:cxn ang="0">
                  <a:pos x="401" y="628"/>
                </a:cxn>
                <a:cxn ang="0">
                  <a:pos x="413" y="668"/>
                </a:cxn>
                <a:cxn ang="0">
                  <a:pos x="448" y="653"/>
                </a:cxn>
                <a:cxn ang="0">
                  <a:pos x="450" y="613"/>
                </a:cxn>
                <a:cxn ang="0">
                  <a:pos x="475" y="603"/>
                </a:cxn>
                <a:cxn ang="0">
                  <a:pos x="502" y="612"/>
                </a:cxn>
                <a:cxn ang="0">
                  <a:pos x="524" y="621"/>
                </a:cxn>
                <a:cxn ang="0">
                  <a:pos x="535" y="584"/>
                </a:cxn>
                <a:cxn ang="0">
                  <a:pos x="558" y="573"/>
                </a:cxn>
                <a:cxn ang="0">
                  <a:pos x="575" y="555"/>
                </a:cxn>
                <a:cxn ang="0">
                  <a:pos x="593" y="550"/>
                </a:cxn>
                <a:cxn ang="0">
                  <a:pos x="607" y="526"/>
                </a:cxn>
                <a:cxn ang="0">
                  <a:pos x="644" y="472"/>
                </a:cxn>
                <a:cxn ang="0">
                  <a:pos x="627" y="479"/>
                </a:cxn>
                <a:cxn ang="0">
                  <a:pos x="606" y="474"/>
                </a:cxn>
                <a:cxn ang="0">
                  <a:pos x="624" y="452"/>
                </a:cxn>
                <a:cxn ang="0">
                  <a:pos x="607" y="425"/>
                </a:cxn>
                <a:cxn ang="0">
                  <a:pos x="575" y="423"/>
                </a:cxn>
                <a:cxn ang="0">
                  <a:pos x="542" y="405"/>
                </a:cxn>
                <a:cxn ang="0">
                  <a:pos x="533" y="354"/>
                </a:cxn>
                <a:cxn ang="0">
                  <a:pos x="479" y="338"/>
                </a:cxn>
                <a:cxn ang="0">
                  <a:pos x="466" y="303"/>
                </a:cxn>
                <a:cxn ang="0">
                  <a:pos x="455" y="269"/>
                </a:cxn>
                <a:cxn ang="0">
                  <a:pos x="390" y="64"/>
                </a:cxn>
                <a:cxn ang="0">
                  <a:pos x="312" y="5"/>
                </a:cxn>
                <a:cxn ang="0">
                  <a:pos x="617" y="459"/>
                </a:cxn>
              </a:cxnLst>
              <a:rect l="0" t="0" r="r" b="b"/>
              <a:pathLst>
                <a:path w="644" h="1020">
                  <a:moveTo>
                    <a:pt x="294" y="0"/>
                  </a:moveTo>
                  <a:lnTo>
                    <a:pt x="292" y="0"/>
                  </a:lnTo>
                  <a:lnTo>
                    <a:pt x="290" y="2"/>
                  </a:lnTo>
                  <a:lnTo>
                    <a:pt x="288" y="2"/>
                  </a:lnTo>
                  <a:lnTo>
                    <a:pt x="286" y="5"/>
                  </a:lnTo>
                  <a:lnTo>
                    <a:pt x="284" y="9"/>
                  </a:lnTo>
                  <a:lnTo>
                    <a:pt x="284" y="13"/>
                  </a:lnTo>
                  <a:lnTo>
                    <a:pt x="281" y="16"/>
                  </a:lnTo>
                  <a:lnTo>
                    <a:pt x="277" y="18"/>
                  </a:lnTo>
                  <a:lnTo>
                    <a:pt x="275" y="20"/>
                  </a:lnTo>
                  <a:lnTo>
                    <a:pt x="272" y="22"/>
                  </a:lnTo>
                  <a:lnTo>
                    <a:pt x="266" y="24"/>
                  </a:lnTo>
                  <a:lnTo>
                    <a:pt x="257" y="25"/>
                  </a:lnTo>
                  <a:lnTo>
                    <a:pt x="257" y="27"/>
                  </a:lnTo>
                  <a:lnTo>
                    <a:pt x="257" y="31"/>
                  </a:lnTo>
                  <a:lnTo>
                    <a:pt x="254" y="36"/>
                  </a:lnTo>
                  <a:lnTo>
                    <a:pt x="250" y="40"/>
                  </a:lnTo>
                  <a:lnTo>
                    <a:pt x="245" y="42"/>
                  </a:lnTo>
                  <a:lnTo>
                    <a:pt x="234" y="47"/>
                  </a:lnTo>
                  <a:lnTo>
                    <a:pt x="228" y="49"/>
                  </a:lnTo>
                  <a:lnTo>
                    <a:pt x="225" y="53"/>
                  </a:lnTo>
                  <a:lnTo>
                    <a:pt x="221" y="56"/>
                  </a:lnTo>
                  <a:lnTo>
                    <a:pt x="217" y="60"/>
                  </a:lnTo>
                  <a:lnTo>
                    <a:pt x="215" y="64"/>
                  </a:lnTo>
                  <a:lnTo>
                    <a:pt x="210" y="65"/>
                  </a:lnTo>
                  <a:lnTo>
                    <a:pt x="206" y="65"/>
                  </a:lnTo>
                  <a:lnTo>
                    <a:pt x="201" y="65"/>
                  </a:lnTo>
                  <a:lnTo>
                    <a:pt x="194" y="64"/>
                  </a:lnTo>
                  <a:lnTo>
                    <a:pt x="188" y="60"/>
                  </a:lnTo>
                  <a:lnTo>
                    <a:pt x="185" y="58"/>
                  </a:lnTo>
                  <a:lnTo>
                    <a:pt x="181" y="51"/>
                  </a:lnTo>
                  <a:lnTo>
                    <a:pt x="181" y="44"/>
                  </a:lnTo>
                  <a:lnTo>
                    <a:pt x="181" y="35"/>
                  </a:lnTo>
                  <a:lnTo>
                    <a:pt x="181" y="29"/>
                  </a:lnTo>
                  <a:lnTo>
                    <a:pt x="181" y="25"/>
                  </a:lnTo>
                  <a:lnTo>
                    <a:pt x="179" y="22"/>
                  </a:lnTo>
                  <a:lnTo>
                    <a:pt x="170" y="22"/>
                  </a:lnTo>
                  <a:lnTo>
                    <a:pt x="159" y="24"/>
                  </a:lnTo>
                  <a:lnTo>
                    <a:pt x="156" y="24"/>
                  </a:lnTo>
                  <a:lnTo>
                    <a:pt x="152" y="25"/>
                  </a:lnTo>
                  <a:lnTo>
                    <a:pt x="148" y="29"/>
                  </a:lnTo>
                  <a:lnTo>
                    <a:pt x="147" y="31"/>
                  </a:lnTo>
                  <a:lnTo>
                    <a:pt x="145" y="33"/>
                  </a:lnTo>
                  <a:lnTo>
                    <a:pt x="141" y="40"/>
                  </a:lnTo>
                  <a:lnTo>
                    <a:pt x="137" y="47"/>
                  </a:lnTo>
                  <a:lnTo>
                    <a:pt x="132" y="62"/>
                  </a:lnTo>
                  <a:lnTo>
                    <a:pt x="127" y="78"/>
                  </a:lnTo>
                  <a:lnTo>
                    <a:pt x="123" y="94"/>
                  </a:lnTo>
                  <a:lnTo>
                    <a:pt x="112" y="123"/>
                  </a:lnTo>
                  <a:lnTo>
                    <a:pt x="105" y="156"/>
                  </a:lnTo>
                  <a:lnTo>
                    <a:pt x="94" y="187"/>
                  </a:lnTo>
                  <a:lnTo>
                    <a:pt x="88" y="201"/>
                  </a:lnTo>
                  <a:lnTo>
                    <a:pt x="83" y="214"/>
                  </a:lnTo>
                  <a:lnTo>
                    <a:pt x="83" y="221"/>
                  </a:lnTo>
                  <a:lnTo>
                    <a:pt x="83" y="232"/>
                  </a:lnTo>
                  <a:lnTo>
                    <a:pt x="85" y="241"/>
                  </a:lnTo>
                  <a:lnTo>
                    <a:pt x="87" y="250"/>
                  </a:lnTo>
                  <a:lnTo>
                    <a:pt x="87" y="260"/>
                  </a:lnTo>
                  <a:lnTo>
                    <a:pt x="87" y="265"/>
                  </a:lnTo>
                  <a:lnTo>
                    <a:pt x="85" y="272"/>
                  </a:lnTo>
                  <a:lnTo>
                    <a:pt x="83" y="280"/>
                  </a:lnTo>
                  <a:lnTo>
                    <a:pt x="78" y="287"/>
                  </a:lnTo>
                  <a:lnTo>
                    <a:pt x="74" y="294"/>
                  </a:lnTo>
                  <a:lnTo>
                    <a:pt x="70" y="301"/>
                  </a:lnTo>
                  <a:lnTo>
                    <a:pt x="69" y="309"/>
                  </a:lnTo>
                  <a:lnTo>
                    <a:pt x="67" y="316"/>
                  </a:lnTo>
                  <a:lnTo>
                    <a:pt x="69" y="325"/>
                  </a:lnTo>
                  <a:lnTo>
                    <a:pt x="70" y="332"/>
                  </a:lnTo>
                  <a:lnTo>
                    <a:pt x="72" y="339"/>
                  </a:lnTo>
                  <a:lnTo>
                    <a:pt x="76" y="347"/>
                  </a:lnTo>
                  <a:lnTo>
                    <a:pt x="76" y="350"/>
                  </a:lnTo>
                  <a:lnTo>
                    <a:pt x="76" y="356"/>
                  </a:lnTo>
                  <a:lnTo>
                    <a:pt x="76" y="363"/>
                  </a:lnTo>
                  <a:lnTo>
                    <a:pt x="76" y="367"/>
                  </a:lnTo>
                  <a:lnTo>
                    <a:pt x="76" y="370"/>
                  </a:lnTo>
                  <a:lnTo>
                    <a:pt x="78" y="374"/>
                  </a:lnTo>
                  <a:lnTo>
                    <a:pt x="81" y="378"/>
                  </a:lnTo>
                  <a:lnTo>
                    <a:pt x="85" y="379"/>
                  </a:lnTo>
                  <a:lnTo>
                    <a:pt x="88" y="383"/>
                  </a:lnTo>
                  <a:lnTo>
                    <a:pt x="88" y="385"/>
                  </a:lnTo>
                  <a:lnTo>
                    <a:pt x="90" y="387"/>
                  </a:lnTo>
                  <a:lnTo>
                    <a:pt x="90" y="390"/>
                  </a:lnTo>
                  <a:lnTo>
                    <a:pt x="90" y="392"/>
                  </a:lnTo>
                  <a:lnTo>
                    <a:pt x="88" y="394"/>
                  </a:lnTo>
                  <a:lnTo>
                    <a:pt x="87" y="399"/>
                  </a:lnTo>
                  <a:lnTo>
                    <a:pt x="83" y="403"/>
                  </a:lnTo>
                  <a:lnTo>
                    <a:pt x="79" y="407"/>
                  </a:lnTo>
                  <a:lnTo>
                    <a:pt x="76" y="412"/>
                  </a:lnTo>
                  <a:lnTo>
                    <a:pt x="74" y="417"/>
                  </a:lnTo>
                  <a:lnTo>
                    <a:pt x="76" y="425"/>
                  </a:lnTo>
                  <a:lnTo>
                    <a:pt x="76" y="428"/>
                  </a:lnTo>
                  <a:lnTo>
                    <a:pt x="74" y="437"/>
                  </a:lnTo>
                  <a:lnTo>
                    <a:pt x="70" y="446"/>
                  </a:lnTo>
                  <a:lnTo>
                    <a:pt x="61" y="463"/>
                  </a:lnTo>
                  <a:lnTo>
                    <a:pt x="50" y="475"/>
                  </a:lnTo>
                  <a:lnTo>
                    <a:pt x="45" y="485"/>
                  </a:lnTo>
                  <a:lnTo>
                    <a:pt x="43" y="488"/>
                  </a:lnTo>
                  <a:lnTo>
                    <a:pt x="43" y="490"/>
                  </a:lnTo>
                  <a:lnTo>
                    <a:pt x="43" y="492"/>
                  </a:lnTo>
                  <a:lnTo>
                    <a:pt x="43" y="494"/>
                  </a:lnTo>
                  <a:lnTo>
                    <a:pt x="45" y="495"/>
                  </a:lnTo>
                  <a:lnTo>
                    <a:pt x="47" y="499"/>
                  </a:lnTo>
                  <a:lnTo>
                    <a:pt x="54" y="505"/>
                  </a:lnTo>
                  <a:lnTo>
                    <a:pt x="61" y="510"/>
                  </a:lnTo>
                  <a:lnTo>
                    <a:pt x="63" y="512"/>
                  </a:lnTo>
                  <a:lnTo>
                    <a:pt x="63" y="514"/>
                  </a:lnTo>
                  <a:lnTo>
                    <a:pt x="63" y="515"/>
                  </a:lnTo>
                  <a:lnTo>
                    <a:pt x="61" y="519"/>
                  </a:lnTo>
                  <a:lnTo>
                    <a:pt x="59" y="521"/>
                  </a:lnTo>
                  <a:lnTo>
                    <a:pt x="56" y="523"/>
                  </a:lnTo>
                  <a:lnTo>
                    <a:pt x="54" y="521"/>
                  </a:lnTo>
                  <a:lnTo>
                    <a:pt x="50" y="519"/>
                  </a:lnTo>
                  <a:lnTo>
                    <a:pt x="47" y="517"/>
                  </a:lnTo>
                  <a:lnTo>
                    <a:pt x="45" y="517"/>
                  </a:lnTo>
                  <a:lnTo>
                    <a:pt x="38" y="517"/>
                  </a:lnTo>
                  <a:lnTo>
                    <a:pt x="34" y="519"/>
                  </a:lnTo>
                  <a:lnTo>
                    <a:pt x="34" y="521"/>
                  </a:lnTo>
                  <a:lnTo>
                    <a:pt x="34" y="523"/>
                  </a:lnTo>
                  <a:lnTo>
                    <a:pt x="34" y="526"/>
                  </a:lnTo>
                  <a:lnTo>
                    <a:pt x="38" y="535"/>
                  </a:lnTo>
                  <a:lnTo>
                    <a:pt x="39" y="541"/>
                  </a:lnTo>
                  <a:lnTo>
                    <a:pt x="39" y="546"/>
                  </a:lnTo>
                  <a:lnTo>
                    <a:pt x="39" y="552"/>
                  </a:lnTo>
                  <a:lnTo>
                    <a:pt x="39" y="557"/>
                  </a:lnTo>
                  <a:lnTo>
                    <a:pt x="38" y="559"/>
                  </a:lnTo>
                  <a:lnTo>
                    <a:pt x="36" y="559"/>
                  </a:lnTo>
                  <a:lnTo>
                    <a:pt x="32" y="557"/>
                  </a:lnTo>
                  <a:lnTo>
                    <a:pt x="29" y="554"/>
                  </a:lnTo>
                  <a:lnTo>
                    <a:pt x="25" y="550"/>
                  </a:lnTo>
                  <a:lnTo>
                    <a:pt x="21" y="546"/>
                  </a:lnTo>
                  <a:lnTo>
                    <a:pt x="18" y="546"/>
                  </a:lnTo>
                  <a:lnTo>
                    <a:pt x="14" y="544"/>
                  </a:lnTo>
                  <a:lnTo>
                    <a:pt x="10" y="546"/>
                  </a:lnTo>
                  <a:lnTo>
                    <a:pt x="7" y="548"/>
                  </a:lnTo>
                  <a:lnTo>
                    <a:pt x="3" y="552"/>
                  </a:lnTo>
                  <a:lnTo>
                    <a:pt x="0" y="555"/>
                  </a:lnTo>
                  <a:lnTo>
                    <a:pt x="0" y="557"/>
                  </a:lnTo>
                  <a:lnTo>
                    <a:pt x="58" y="731"/>
                  </a:lnTo>
                  <a:lnTo>
                    <a:pt x="98" y="848"/>
                  </a:lnTo>
                  <a:lnTo>
                    <a:pt x="110" y="891"/>
                  </a:lnTo>
                  <a:lnTo>
                    <a:pt x="116" y="913"/>
                  </a:lnTo>
                  <a:lnTo>
                    <a:pt x="116" y="926"/>
                  </a:lnTo>
                  <a:lnTo>
                    <a:pt x="116" y="933"/>
                  </a:lnTo>
                  <a:lnTo>
                    <a:pt x="117" y="942"/>
                  </a:lnTo>
                  <a:lnTo>
                    <a:pt x="117" y="949"/>
                  </a:lnTo>
                  <a:lnTo>
                    <a:pt x="121" y="958"/>
                  </a:lnTo>
                  <a:lnTo>
                    <a:pt x="125" y="962"/>
                  </a:lnTo>
                  <a:lnTo>
                    <a:pt x="127" y="965"/>
                  </a:lnTo>
                  <a:lnTo>
                    <a:pt x="132" y="967"/>
                  </a:lnTo>
                  <a:lnTo>
                    <a:pt x="136" y="971"/>
                  </a:lnTo>
                  <a:lnTo>
                    <a:pt x="145" y="975"/>
                  </a:lnTo>
                  <a:lnTo>
                    <a:pt x="154" y="978"/>
                  </a:lnTo>
                  <a:lnTo>
                    <a:pt x="157" y="982"/>
                  </a:lnTo>
                  <a:lnTo>
                    <a:pt x="159" y="985"/>
                  </a:lnTo>
                  <a:lnTo>
                    <a:pt x="163" y="996"/>
                  </a:lnTo>
                  <a:lnTo>
                    <a:pt x="165" y="1004"/>
                  </a:lnTo>
                  <a:lnTo>
                    <a:pt x="166" y="1009"/>
                  </a:lnTo>
                  <a:lnTo>
                    <a:pt x="168" y="1009"/>
                  </a:lnTo>
                  <a:lnTo>
                    <a:pt x="172" y="1014"/>
                  </a:lnTo>
                  <a:lnTo>
                    <a:pt x="176" y="1020"/>
                  </a:lnTo>
                  <a:lnTo>
                    <a:pt x="181" y="1011"/>
                  </a:lnTo>
                  <a:lnTo>
                    <a:pt x="183" y="1009"/>
                  </a:lnTo>
                  <a:lnTo>
                    <a:pt x="183" y="1007"/>
                  </a:lnTo>
                  <a:lnTo>
                    <a:pt x="186" y="1002"/>
                  </a:lnTo>
                  <a:lnTo>
                    <a:pt x="188" y="995"/>
                  </a:lnTo>
                  <a:lnTo>
                    <a:pt x="188" y="982"/>
                  </a:lnTo>
                  <a:lnTo>
                    <a:pt x="190" y="969"/>
                  </a:lnTo>
                  <a:lnTo>
                    <a:pt x="192" y="964"/>
                  </a:lnTo>
                  <a:lnTo>
                    <a:pt x="196" y="958"/>
                  </a:lnTo>
                  <a:lnTo>
                    <a:pt x="208" y="942"/>
                  </a:lnTo>
                  <a:lnTo>
                    <a:pt x="214" y="933"/>
                  </a:lnTo>
                  <a:lnTo>
                    <a:pt x="215" y="927"/>
                  </a:lnTo>
                  <a:lnTo>
                    <a:pt x="217" y="924"/>
                  </a:lnTo>
                  <a:lnTo>
                    <a:pt x="215" y="920"/>
                  </a:lnTo>
                  <a:lnTo>
                    <a:pt x="215" y="916"/>
                  </a:lnTo>
                  <a:lnTo>
                    <a:pt x="212" y="913"/>
                  </a:lnTo>
                  <a:lnTo>
                    <a:pt x="206" y="909"/>
                  </a:lnTo>
                  <a:lnTo>
                    <a:pt x="214" y="906"/>
                  </a:lnTo>
                  <a:lnTo>
                    <a:pt x="223" y="902"/>
                  </a:lnTo>
                  <a:lnTo>
                    <a:pt x="230" y="897"/>
                  </a:lnTo>
                  <a:lnTo>
                    <a:pt x="232" y="897"/>
                  </a:lnTo>
                  <a:lnTo>
                    <a:pt x="234" y="895"/>
                  </a:lnTo>
                  <a:lnTo>
                    <a:pt x="235" y="891"/>
                  </a:lnTo>
                  <a:lnTo>
                    <a:pt x="235" y="887"/>
                  </a:lnTo>
                  <a:lnTo>
                    <a:pt x="235" y="884"/>
                  </a:lnTo>
                  <a:lnTo>
                    <a:pt x="235" y="880"/>
                  </a:lnTo>
                  <a:lnTo>
                    <a:pt x="232" y="875"/>
                  </a:lnTo>
                  <a:lnTo>
                    <a:pt x="228" y="867"/>
                  </a:lnTo>
                  <a:lnTo>
                    <a:pt x="226" y="864"/>
                  </a:lnTo>
                  <a:lnTo>
                    <a:pt x="226" y="860"/>
                  </a:lnTo>
                  <a:lnTo>
                    <a:pt x="228" y="851"/>
                  </a:lnTo>
                  <a:lnTo>
                    <a:pt x="232" y="842"/>
                  </a:lnTo>
                  <a:lnTo>
                    <a:pt x="237" y="833"/>
                  </a:lnTo>
                  <a:lnTo>
                    <a:pt x="241" y="829"/>
                  </a:lnTo>
                  <a:lnTo>
                    <a:pt x="245" y="826"/>
                  </a:lnTo>
                  <a:lnTo>
                    <a:pt x="248" y="824"/>
                  </a:lnTo>
                  <a:lnTo>
                    <a:pt x="252" y="824"/>
                  </a:lnTo>
                  <a:lnTo>
                    <a:pt x="254" y="824"/>
                  </a:lnTo>
                  <a:lnTo>
                    <a:pt x="254" y="826"/>
                  </a:lnTo>
                  <a:lnTo>
                    <a:pt x="255" y="829"/>
                  </a:lnTo>
                  <a:lnTo>
                    <a:pt x="255" y="831"/>
                  </a:lnTo>
                  <a:lnTo>
                    <a:pt x="255" y="837"/>
                  </a:lnTo>
                  <a:lnTo>
                    <a:pt x="255" y="844"/>
                  </a:lnTo>
                  <a:lnTo>
                    <a:pt x="263" y="840"/>
                  </a:lnTo>
                  <a:lnTo>
                    <a:pt x="266" y="837"/>
                  </a:lnTo>
                  <a:lnTo>
                    <a:pt x="268" y="835"/>
                  </a:lnTo>
                  <a:lnTo>
                    <a:pt x="270" y="831"/>
                  </a:lnTo>
                  <a:lnTo>
                    <a:pt x="274" y="831"/>
                  </a:lnTo>
                  <a:lnTo>
                    <a:pt x="275" y="831"/>
                  </a:lnTo>
                  <a:lnTo>
                    <a:pt x="277" y="833"/>
                  </a:lnTo>
                  <a:lnTo>
                    <a:pt x="286" y="840"/>
                  </a:lnTo>
                  <a:lnTo>
                    <a:pt x="288" y="837"/>
                  </a:lnTo>
                  <a:lnTo>
                    <a:pt x="292" y="835"/>
                  </a:lnTo>
                  <a:lnTo>
                    <a:pt x="294" y="831"/>
                  </a:lnTo>
                  <a:lnTo>
                    <a:pt x="294" y="829"/>
                  </a:lnTo>
                  <a:lnTo>
                    <a:pt x="294" y="826"/>
                  </a:lnTo>
                  <a:lnTo>
                    <a:pt x="294" y="820"/>
                  </a:lnTo>
                  <a:lnTo>
                    <a:pt x="292" y="815"/>
                  </a:lnTo>
                  <a:lnTo>
                    <a:pt x="290" y="809"/>
                  </a:lnTo>
                  <a:lnTo>
                    <a:pt x="290" y="804"/>
                  </a:lnTo>
                  <a:lnTo>
                    <a:pt x="290" y="800"/>
                  </a:lnTo>
                  <a:lnTo>
                    <a:pt x="292" y="797"/>
                  </a:lnTo>
                  <a:lnTo>
                    <a:pt x="295" y="793"/>
                  </a:lnTo>
                  <a:lnTo>
                    <a:pt x="301" y="789"/>
                  </a:lnTo>
                  <a:lnTo>
                    <a:pt x="304" y="795"/>
                  </a:lnTo>
                  <a:lnTo>
                    <a:pt x="308" y="799"/>
                  </a:lnTo>
                  <a:lnTo>
                    <a:pt x="312" y="802"/>
                  </a:lnTo>
                  <a:lnTo>
                    <a:pt x="315" y="802"/>
                  </a:lnTo>
                  <a:lnTo>
                    <a:pt x="319" y="802"/>
                  </a:lnTo>
                  <a:lnTo>
                    <a:pt x="323" y="799"/>
                  </a:lnTo>
                  <a:lnTo>
                    <a:pt x="326" y="795"/>
                  </a:lnTo>
                  <a:lnTo>
                    <a:pt x="330" y="788"/>
                  </a:lnTo>
                  <a:lnTo>
                    <a:pt x="330" y="782"/>
                  </a:lnTo>
                  <a:lnTo>
                    <a:pt x="332" y="777"/>
                  </a:lnTo>
                  <a:lnTo>
                    <a:pt x="332" y="768"/>
                  </a:lnTo>
                  <a:lnTo>
                    <a:pt x="332" y="762"/>
                  </a:lnTo>
                  <a:lnTo>
                    <a:pt x="333" y="760"/>
                  </a:lnTo>
                  <a:lnTo>
                    <a:pt x="335" y="759"/>
                  </a:lnTo>
                  <a:lnTo>
                    <a:pt x="339" y="760"/>
                  </a:lnTo>
                  <a:lnTo>
                    <a:pt x="344" y="764"/>
                  </a:lnTo>
                  <a:lnTo>
                    <a:pt x="348" y="766"/>
                  </a:lnTo>
                  <a:lnTo>
                    <a:pt x="352" y="769"/>
                  </a:lnTo>
                  <a:lnTo>
                    <a:pt x="353" y="771"/>
                  </a:lnTo>
                  <a:lnTo>
                    <a:pt x="355" y="771"/>
                  </a:lnTo>
                  <a:lnTo>
                    <a:pt x="357" y="771"/>
                  </a:lnTo>
                  <a:lnTo>
                    <a:pt x="361" y="768"/>
                  </a:lnTo>
                  <a:lnTo>
                    <a:pt x="364" y="764"/>
                  </a:lnTo>
                  <a:lnTo>
                    <a:pt x="368" y="757"/>
                  </a:lnTo>
                  <a:lnTo>
                    <a:pt x="375" y="744"/>
                  </a:lnTo>
                  <a:lnTo>
                    <a:pt x="377" y="735"/>
                  </a:lnTo>
                  <a:lnTo>
                    <a:pt x="375" y="731"/>
                  </a:lnTo>
                  <a:lnTo>
                    <a:pt x="375" y="728"/>
                  </a:lnTo>
                  <a:lnTo>
                    <a:pt x="373" y="724"/>
                  </a:lnTo>
                  <a:lnTo>
                    <a:pt x="373" y="722"/>
                  </a:lnTo>
                  <a:lnTo>
                    <a:pt x="375" y="717"/>
                  </a:lnTo>
                  <a:lnTo>
                    <a:pt x="375" y="710"/>
                  </a:lnTo>
                  <a:lnTo>
                    <a:pt x="377" y="704"/>
                  </a:lnTo>
                  <a:lnTo>
                    <a:pt x="379" y="699"/>
                  </a:lnTo>
                  <a:lnTo>
                    <a:pt x="379" y="697"/>
                  </a:lnTo>
                  <a:lnTo>
                    <a:pt x="377" y="686"/>
                  </a:lnTo>
                  <a:lnTo>
                    <a:pt x="373" y="675"/>
                  </a:lnTo>
                  <a:lnTo>
                    <a:pt x="372" y="664"/>
                  </a:lnTo>
                  <a:lnTo>
                    <a:pt x="370" y="655"/>
                  </a:lnTo>
                  <a:lnTo>
                    <a:pt x="370" y="653"/>
                  </a:lnTo>
                  <a:lnTo>
                    <a:pt x="372" y="646"/>
                  </a:lnTo>
                  <a:lnTo>
                    <a:pt x="372" y="644"/>
                  </a:lnTo>
                  <a:lnTo>
                    <a:pt x="373" y="642"/>
                  </a:lnTo>
                  <a:lnTo>
                    <a:pt x="377" y="639"/>
                  </a:lnTo>
                  <a:lnTo>
                    <a:pt x="382" y="633"/>
                  </a:lnTo>
                  <a:lnTo>
                    <a:pt x="386" y="628"/>
                  </a:lnTo>
                  <a:lnTo>
                    <a:pt x="388" y="622"/>
                  </a:lnTo>
                  <a:lnTo>
                    <a:pt x="388" y="619"/>
                  </a:lnTo>
                  <a:lnTo>
                    <a:pt x="390" y="617"/>
                  </a:lnTo>
                  <a:lnTo>
                    <a:pt x="392" y="615"/>
                  </a:lnTo>
                  <a:lnTo>
                    <a:pt x="393" y="615"/>
                  </a:lnTo>
                  <a:lnTo>
                    <a:pt x="397" y="615"/>
                  </a:lnTo>
                  <a:lnTo>
                    <a:pt x="399" y="617"/>
                  </a:lnTo>
                  <a:lnTo>
                    <a:pt x="401" y="621"/>
                  </a:lnTo>
                  <a:lnTo>
                    <a:pt x="401" y="622"/>
                  </a:lnTo>
                  <a:lnTo>
                    <a:pt x="401" y="628"/>
                  </a:lnTo>
                  <a:lnTo>
                    <a:pt x="401" y="641"/>
                  </a:lnTo>
                  <a:lnTo>
                    <a:pt x="399" y="652"/>
                  </a:lnTo>
                  <a:lnTo>
                    <a:pt x="399" y="655"/>
                  </a:lnTo>
                  <a:lnTo>
                    <a:pt x="401" y="662"/>
                  </a:lnTo>
                  <a:lnTo>
                    <a:pt x="402" y="664"/>
                  </a:lnTo>
                  <a:lnTo>
                    <a:pt x="404" y="666"/>
                  </a:lnTo>
                  <a:lnTo>
                    <a:pt x="408" y="666"/>
                  </a:lnTo>
                  <a:lnTo>
                    <a:pt x="413" y="668"/>
                  </a:lnTo>
                  <a:lnTo>
                    <a:pt x="421" y="668"/>
                  </a:lnTo>
                  <a:lnTo>
                    <a:pt x="428" y="670"/>
                  </a:lnTo>
                  <a:lnTo>
                    <a:pt x="435" y="668"/>
                  </a:lnTo>
                  <a:lnTo>
                    <a:pt x="441" y="666"/>
                  </a:lnTo>
                  <a:lnTo>
                    <a:pt x="446" y="664"/>
                  </a:lnTo>
                  <a:lnTo>
                    <a:pt x="446" y="661"/>
                  </a:lnTo>
                  <a:lnTo>
                    <a:pt x="448" y="657"/>
                  </a:lnTo>
                  <a:lnTo>
                    <a:pt x="448" y="653"/>
                  </a:lnTo>
                  <a:lnTo>
                    <a:pt x="446" y="652"/>
                  </a:lnTo>
                  <a:lnTo>
                    <a:pt x="444" y="648"/>
                  </a:lnTo>
                  <a:lnTo>
                    <a:pt x="441" y="642"/>
                  </a:lnTo>
                  <a:lnTo>
                    <a:pt x="441" y="641"/>
                  </a:lnTo>
                  <a:lnTo>
                    <a:pt x="439" y="639"/>
                  </a:lnTo>
                  <a:lnTo>
                    <a:pt x="441" y="635"/>
                  </a:lnTo>
                  <a:lnTo>
                    <a:pt x="444" y="624"/>
                  </a:lnTo>
                  <a:lnTo>
                    <a:pt x="450" y="613"/>
                  </a:lnTo>
                  <a:lnTo>
                    <a:pt x="457" y="621"/>
                  </a:lnTo>
                  <a:lnTo>
                    <a:pt x="459" y="622"/>
                  </a:lnTo>
                  <a:lnTo>
                    <a:pt x="460" y="622"/>
                  </a:lnTo>
                  <a:lnTo>
                    <a:pt x="462" y="622"/>
                  </a:lnTo>
                  <a:lnTo>
                    <a:pt x="466" y="619"/>
                  </a:lnTo>
                  <a:lnTo>
                    <a:pt x="470" y="613"/>
                  </a:lnTo>
                  <a:lnTo>
                    <a:pt x="473" y="604"/>
                  </a:lnTo>
                  <a:lnTo>
                    <a:pt x="475" y="603"/>
                  </a:lnTo>
                  <a:lnTo>
                    <a:pt x="479" y="599"/>
                  </a:lnTo>
                  <a:lnTo>
                    <a:pt x="486" y="599"/>
                  </a:lnTo>
                  <a:lnTo>
                    <a:pt x="497" y="599"/>
                  </a:lnTo>
                  <a:lnTo>
                    <a:pt x="500" y="601"/>
                  </a:lnTo>
                  <a:lnTo>
                    <a:pt x="502" y="603"/>
                  </a:lnTo>
                  <a:lnTo>
                    <a:pt x="504" y="604"/>
                  </a:lnTo>
                  <a:lnTo>
                    <a:pt x="504" y="606"/>
                  </a:lnTo>
                  <a:lnTo>
                    <a:pt x="502" y="612"/>
                  </a:lnTo>
                  <a:lnTo>
                    <a:pt x="500" y="619"/>
                  </a:lnTo>
                  <a:lnTo>
                    <a:pt x="499" y="624"/>
                  </a:lnTo>
                  <a:lnTo>
                    <a:pt x="499" y="628"/>
                  </a:lnTo>
                  <a:lnTo>
                    <a:pt x="504" y="630"/>
                  </a:lnTo>
                  <a:lnTo>
                    <a:pt x="511" y="628"/>
                  </a:lnTo>
                  <a:lnTo>
                    <a:pt x="513" y="628"/>
                  </a:lnTo>
                  <a:lnTo>
                    <a:pt x="519" y="624"/>
                  </a:lnTo>
                  <a:lnTo>
                    <a:pt x="524" y="621"/>
                  </a:lnTo>
                  <a:lnTo>
                    <a:pt x="529" y="615"/>
                  </a:lnTo>
                  <a:lnTo>
                    <a:pt x="531" y="612"/>
                  </a:lnTo>
                  <a:lnTo>
                    <a:pt x="531" y="608"/>
                  </a:lnTo>
                  <a:lnTo>
                    <a:pt x="531" y="604"/>
                  </a:lnTo>
                  <a:lnTo>
                    <a:pt x="531" y="599"/>
                  </a:lnTo>
                  <a:lnTo>
                    <a:pt x="531" y="592"/>
                  </a:lnTo>
                  <a:lnTo>
                    <a:pt x="533" y="586"/>
                  </a:lnTo>
                  <a:lnTo>
                    <a:pt x="535" y="584"/>
                  </a:lnTo>
                  <a:lnTo>
                    <a:pt x="537" y="584"/>
                  </a:lnTo>
                  <a:lnTo>
                    <a:pt x="540" y="584"/>
                  </a:lnTo>
                  <a:lnTo>
                    <a:pt x="544" y="588"/>
                  </a:lnTo>
                  <a:lnTo>
                    <a:pt x="546" y="573"/>
                  </a:lnTo>
                  <a:lnTo>
                    <a:pt x="548" y="568"/>
                  </a:lnTo>
                  <a:lnTo>
                    <a:pt x="549" y="566"/>
                  </a:lnTo>
                  <a:lnTo>
                    <a:pt x="553" y="564"/>
                  </a:lnTo>
                  <a:lnTo>
                    <a:pt x="558" y="573"/>
                  </a:lnTo>
                  <a:lnTo>
                    <a:pt x="560" y="577"/>
                  </a:lnTo>
                  <a:lnTo>
                    <a:pt x="564" y="579"/>
                  </a:lnTo>
                  <a:lnTo>
                    <a:pt x="566" y="579"/>
                  </a:lnTo>
                  <a:lnTo>
                    <a:pt x="568" y="577"/>
                  </a:lnTo>
                  <a:lnTo>
                    <a:pt x="571" y="572"/>
                  </a:lnTo>
                  <a:lnTo>
                    <a:pt x="573" y="566"/>
                  </a:lnTo>
                  <a:lnTo>
                    <a:pt x="575" y="561"/>
                  </a:lnTo>
                  <a:lnTo>
                    <a:pt x="575" y="555"/>
                  </a:lnTo>
                  <a:lnTo>
                    <a:pt x="577" y="550"/>
                  </a:lnTo>
                  <a:lnTo>
                    <a:pt x="580" y="544"/>
                  </a:lnTo>
                  <a:lnTo>
                    <a:pt x="582" y="543"/>
                  </a:lnTo>
                  <a:lnTo>
                    <a:pt x="584" y="544"/>
                  </a:lnTo>
                  <a:lnTo>
                    <a:pt x="586" y="546"/>
                  </a:lnTo>
                  <a:lnTo>
                    <a:pt x="587" y="548"/>
                  </a:lnTo>
                  <a:lnTo>
                    <a:pt x="591" y="550"/>
                  </a:lnTo>
                  <a:lnTo>
                    <a:pt x="593" y="550"/>
                  </a:lnTo>
                  <a:lnTo>
                    <a:pt x="595" y="548"/>
                  </a:lnTo>
                  <a:lnTo>
                    <a:pt x="595" y="546"/>
                  </a:lnTo>
                  <a:lnTo>
                    <a:pt x="597" y="537"/>
                  </a:lnTo>
                  <a:lnTo>
                    <a:pt x="597" y="534"/>
                  </a:lnTo>
                  <a:lnTo>
                    <a:pt x="598" y="530"/>
                  </a:lnTo>
                  <a:lnTo>
                    <a:pt x="600" y="528"/>
                  </a:lnTo>
                  <a:lnTo>
                    <a:pt x="604" y="526"/>
                  </a:lnTo>
                  <a:lnTo>
                    <a:pt x="607" y="526"/>
                  </a:lnTo>
                  <a:lnTo>
                    <a:pt x="611" y="528"/>
                  </a:lnTo>
                  <a:lnTo>
                    <a:pt x="618" y="532"/>
                  </a:lnTo>
                  <a:lnTo>
                    <a:pt x="624" y="519"/>
                  </a:lnTo>
                  <a:lnTo>
                    <a:pt x="633" y="503"/>
                  </a:lnTo>
                  <a:lnTo>
                    <a:pt x="640" y="486"/>
                  </a:lnTo>
                  <a:lnTo>
                    <a:pt x="644" y="479"/>
                  </a:lnTo>
                  <a:lnTo>
                    <a:pt x="644" y="475"/>
                  </a:lnTo>
                  <a:lnTo>
                    <a:pt x="644" y="472"/>
                  </a:lnTo>
                  <a:lnTo>
                    <a:pt x="644" y="468"/>
                  </a:lnTo>
                  <a:lnTo>
                    <a:pt x="644" y="465"/>
                  </a:lnTo>
                  <a:lnTo>
                    <a:pt x="642" y="463"/>
                  </a:lnTo>
                  <a:lnTo>
                    <a:pt x="640" y="463"/>
                  </a:lnTo>
                  <a:lnTo>
                    <a:pt x="638" y="463"/>
                  </a:lnTo>
                  <a:lnTo>
                    <a:pt x="635" y="466"/>
                  </a:lnTo>
                  <a:lnTo>
                    <a:pt x="631" y="472"/>
                  </a:lnTo>
                  <a:lnTo>
                    <a:pt x="627" y="479"/>
                  </a:lnTo>
                  <a:lnTo>
                    <a:pt x="622" y="485"/>
                  </a:lnTo>
                  <a:lnTo>
                    <a:pt x="618" y="486"/>
                  </a:lnTo>
                  <a:lnTo>
                    <a:pt x="615" y="488"/>
                  </a:lnTo>
                  <a:lnTo>
                    <a:pt x="613" y="486"/>
                  </a:lnTo>
                  <a:lnTo>
                    <a:pt x="611" y="486"/>
                  </a:lnTo>
                  <a:lnTo>
                    <a:pt x="607" y="479"/>
                  </a:lnTo>
                  <a:lnTo>
                    <a:pt x="606" y="475"/>
                  </a:lnTo>
                  <a:lnTo>
                    <a:pt x="606" y="474"/>
                  </a:lnTo>
                  <a:lnTo>
                    <a:pt x="606" y="470"/>
                  </a:lnTo>
                  <a:lnTo>
                    <a:pt x="607" y="466"/>
                  </a:lnTo>
                  <a:lnTo>
                    <a:pt x="613" y="463"/>
                  </a:lnTo>
                  <a:lnTo>
                    <a:pt x="617" y="461"/>
                  </a:lnTo>
                  <a:lnTo>
                    <a:pt x="620" y="459"/>
                  </a:lnTo>
                  <a:lnTo>
                    <a:pt x="622" y="456"/>
                  </a:lnTo>
                  <a:lnTo>
                    <a:pt x="624" y="454"/>
                  </a:lnTo>
                  <a:lnTo>
                    <a:pt x="624" y="452"/>
                  </a:lnTo>
                  <a:lnTo>
                    <a:pt x="622" y="446"/>
                  </a:lnTo>
                  <a:lnTo>
                    <a:pt x="615" y="439"/>
                  </a:lnTo>
                  <a:lnTo>
                    <a:pt x="613" y="436"/>
                  </a:lnTo>
                  <a:lnTo>
                    <a:pt x="611" y="434"/>
                  </a:lnTo>
                  <a:lnTo>
                    <a:pt x="609" y="432"/>
                  </a:lnTo>
                  <a:lnTo>
                    <a:pt x="607" y="430"/>
                  </a:lnTo>
                  <a:lnTo>
                    <a:pt x="607" y="427"/>
                  </a:lnTo>
                  <a:lnTo>
                    <a:pt x="607" y="425"/>
                  </a:lnTo>
                  <a:lnTo>
                    <a:pt x="607" y="421"/>
                  </a:lnTo>
                  <a:lnTo>
                    <a:pt x="604" y="419"/>
                  </a:lnTo>
                  <a:lnTo>
                    <a:pt x="600" y="416"/>
                  </a:lnTo>
                  <a:lnTo>
                    <a:pt x="595" y="416"/>
                  </a:lnTo>
                  <a:lnTo>
                    <a:pt x="593" y="416"/>
                  </a:lnTo>
                  <a:lnTo>
                    <a:pt x="586" y="417"/>
                  </a:lnTo>
                  <a:lnTo>
                    <a:pt x="580" y="421"/>
                  </a:lnTo>
                  <a:lnTo>
                    <a:pt x="575" y="423"/>
                  </a:lnTo>
                  <a:lnTo>
                    <a:pt x="569" y="427"/>
                  </a:lnTo>
                  <a:lnTo>
                    <a:pt x="566" y="427"/>
                  </a:lnTo>
                  <a:lnTo>
                    <a:pt x="562" y="427"/>
                  </a:lnTo>
                  <a:lnTo>
                    <a:pt x="558" y="425"/>
                  </a:lnTo>
                  <a:lnTo>
                    <a:pt x="551" y="421"/>
                  </a:lnTo>
                  <a:lnTo>
                    <a:pt x="548" y="416"/>
                  </a:lnTo>
                  <a:lnTo>
                    <a:pt x="544" y="408"/>
                  </a:lnTo>
                  <a:lnTo>
                    <a:pt x="542" y="405"/>
                  </a:lnTo>
                  <a:lnTo>
                    <a:pt x="540" y="401"/>
                  </a:lnTo>
                  <a:lnTo>
                    <a:pt x="540" y="392"/>
                  </a:lnTo>
                  <a:lnTo>
                    <a:pt x="540" y="383"/>
                  </a:lnTo>
                  <a:lnTo>
                    <a:pt x="537" y="376"/>
                  </a:lnTo>
                  <a:lnTo>
                    <a:pt x="535" y="372"/>
                  </a:lnTo>
                  <a:lnTo>
                    <a:pt x="535" y="368"/>
                  </a:lnTo>
                  <a:lnTo>
                    <a:pt x="533" y="361"/>
                  </a:lnTo>
                  <a:lnTo>
                    <a:pt x="533" y="354"/>
                  </a:lnTo>
                  <a:lnTo>
                    <a:pt x="529" y="347"/>
                  </a:lnTo>
                  <a:lnTo>
                    <a:pt x="528" y="345"/>
                  </a:lnTo>
                  <a:lnTo>
                    <a:pt x="524" y="343"/>
                  </a:lnTo>
                  <a:lnTo>
                    <a:pt x="517" y="341"/>
                  </a:lnTo>
                  <a:lnTo>
                    <a:pt x="508" y="341"/>
                  </a:lnTo>
                  <a:lnTo>
                    <a:pt x="499" y="341"/>
                  </a:lnTo>
                  <a:lnTo>
                    <a:pt x="486" y="339"/>
                  </a:lnTo>
                  <a:lnTo>
                    <a:pt x="479" y="338"/>
                  </a:lnTo>
                  <a:lnTo>
                    <a:pt x="473" y="336"/>
                  </a:lnTo>
                  <a:lnTo>
                    <a:pt x="468" y="330"/>
                  </a:lnTo>
                  <a:lnTo>
                    <a:pt x="468" y="327"/>
                  </a:lnTo>
                  <a:lnTo>
                    <a:pt x="468" y="319"/>
                  </a:lnTo>
                  <a:lnTo>
                    <a:pt x="470" y="312"/>
                  </a:lnTo>
                  <a:lnTo>
                    <a:pt x="470" y="310"/>
                  </a:lnTo>
                  <a:lnTo>
                    <a:pt x="468" y="307"/>
                  </a:lnTo>
                  <a:lnTo>
                    <a:pt x="466" y="303"/>
                  </a:lnTo>
                  <a:lnTo>
                    <a:pt x="464" y="299"/>
                  </a:lnTo>
                  <a:lnTo>
                    <a:pt x="462" y="296"/>
                  </a:lnTo>
                  <a:lnTo>
                    <a:pt x="462" y="294"/>
                  </a:lnTo>
                  <a:lnTo>
                    <a:pt x="462" y="289"/>
                  </a:lnTo>
                  <a:lnTo>
                    <a:pt x="464" y="283"/>
                  </a:lnTo>
                  <a:lnTo>
                    <a:pt x="460" y="280"/>
                  </a:lnTo>
                  <a:lnTo>
                    <a:pt x="457" y="274"/>
                  </a:lnTo>
                  <a:lnTo>
                    <a:pt x="455" y="269"/>
                  </a:lnTo>
                  <a:lnTo>
                    <a:pt x="451" y="261"/>
                  </a:lnTo>
                  <a:lnTo>
                    <a:pt x="444" y="243"/>
                  </a:lnTo>
                  <a:lnTo>
                    <a:pt x="439" y="223"/>
                  </a:lnTo>
                  <a:lnTo>
                    <a:pt x="421" y="160"/>
                  </a:lnTo>
                  <a:lnTo>
                    <a:pt x="413" y="136"/>
                  </a:lnTo>
                  <a:lnTo>
                    <a:pt x="406" y="111"/>
                  </a:lnTo>
                  <a:lnTo>
                    <a:pt x="399" y="87"/>
                  </a:lnTo>
                  <a:lnTo>
                    <a:pt x="390" y="64"/>
                  </a:lnTo>
                  <a:lnTo>
                    <a:pt x="388" y="58"/>
                  </a:lnTo>
                  <a:lnTo>
                    <a:pt x="384" y="53"/>
                  </a:lnTo>
                  <a:lnTo>
                    <a:pt x="379" y="44"/>
                  </a:lnTo>
                  <a:lnTo>
                    <a:pt x="372" y="36"/>
                  </a:lnTo>
                  <a:lnTo>
                    <a:pt x="364" y="31"/>
                  </a:lnTo>
                  <a:lnTo>
                    <a:pt x="348" y="22"/>
                  </a:lnTo>
                  <a:lnTo>
                    <a:pt x="328" y="13"/>
                  </a:lnTo>
                  <a:lnTo>
                    <a:pt x="312" y="5"/>
                  </a:lnTo>
                  <a:lnTo>
                    <a:pt x="303" y="2"/>
                  </a:lnTo>
                  <a:lnTo>
                    <a:pt x="294" y="0"/>
                  </a:lnTo>
                  <a:close/>
                  <a:moveTo>
                    <a:pt x="455" y="296"/>
                  </a:moveTo>
                  <a:lnTo>
                    <a:pt x="455" y="294"/>
                  </a:lnTo>
                  <a:lnTo>
                    <a:pt x="457" y="294"/>
                  </a:lnTo>
                  <a:lnTo>
                    <a:pt x="455" y="296"/>
                  </a:lnTo>
                  <a:close/>
                  <a:moveTo>
                    <a:pt x="618" y="459"/>
                  </a:moveTo>
                  <a:lnTo>
                    <a:pt x="617" y="459"/>
                  </a:lnTo>
                  <a:lnTo>
                    <a:pt x="618" y="459"/>
                  </a:lnTo>
                  <a:close/>
                </a:path>
              </a:pathLst>
            </a:custGeom>
            <a:solidFill>
              <a:srgbClr val="2E2E38"/>
            </a:solidFill>
            <a:ln w="3175" cap="flat" cmpd="sng" algn="ctr">
              <a:solidFill>
                <a:srgbClr val="747480"/>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646464"/>
                </a:solidFill>
                <a:effectLst/>
                <a:uLnTx/>
                <a:uFillTx/>
                <a:cs typeface="Times New Roman" panose="02020603050405020304" pitchFamily="18" charset="0"/>
              </a:endParaRPr>
            </a:p>
          </p:txBody>
        </p:sp>
        <p:sp>
          <p:nvSpPr>
            <p:cNvPr id="51" name="Freeform 102">
              <a:extLst>
                <a:ext uri="{FF2B5EF4-FFF2-40B4-BE49-F238E27FC236}">
                  <a16:creationId xmlns:a16="http://schemas.microsoft.com/office/drawing/2014/main" id="{73641B7E-B785-07E6-D493-B949EE1D15C0}"/>
                </a:ext>
              </a:extLst>
            </p:cNvPr>
            <p:cNvSpPr>
              <a:spLocks noEditPoints="1"/>
            </p:cNvSpPr>
            <p:nvPr/>
          </p:nvSpPr>
          <p:spPr bwMode="auto">
            <a:xfrm>
              <a:off x="5975595" y="5111072"/>
              <a:ext cx="400197" cy="303166"/>
            </a:xfrm>
            <a:custGeom>
              <a:avLst/>
              <a:gdLst/>
              <a:ahLst/>
              <a:cxnLst>
                <a:cxn ang="0">
                  <a:pos x="155" y="22"/>
                </a:cxn>
                <a:cxn ang="0">
                  <a:pos x="115" y="38"/>
                </a:cxn>
                <a:cxn ang="0">
                  <a:pos x="46" y="78"/>
                </a:cxn>
                <a:cxn ang="0">
                  <a:pos x="28" y="98"/>
                </a:cxn>
                <a:cxn ang="0">
                  <a:pos x="8" y="121"/>
                </a:cxn>
                <a:cxn ang="0">
                  <a:pos x="0" y="145"/>
                </a:cxn>
                <a:cxn ang="0">
                  <a:pos x="9" y="167"/>
                </a:cxn>
                <a:cxn ang="0">
                  <a:pos x="46" y="188"/>
                </a:cxn>
                <a:cxn ang="0">
                  <a:pos x="86" y="196"/>
                </a:cxn>
                <a:cxn ang="0">
                  <a:pos x="109" y="221"/>
                </a:cxn>
                <a:cxn ang="0">
                  <a:pos x="129" y="261"/>
                </a:cxn>
                <a:cxn ang="0">
                  <a:pos x="151" y="292"/>
                </a:cxn>
                <a:cxn ang="0">
                  <a:pos x="211" y="332"/>
                </a:cxn>
                <a:cxn ang="0">
                  <a:pos x="240" y="361"/>
                </a:cxn>
                <a:cxn ang="0">
                  <a:pos x="282" y="390"/>
                </a:cxn>
                <a:cxn ang="0">
                  <a:pos x="305" y="428"/>
                </a:cxn>
                <a:cxn ang="0">
                  <a:pos x="320" y="448"/>
                </a:cxn>
                <a:cxn ang="0">
                  <a:pos x="376" y="473"/>
                </a:cxn>
                <a:cxn ang="0">
                  <a:pos x="391" y="493"/>
                </a:cxn>
                <a:cxn ang="0">
                  <a:pos x="396" y="510"/>
                </a:cxn>
                <a:cxn ang="0">
                  <a:pos x="407" y="530"/>
                </a:cxn>
                <a:cxn ang="0">
                  <a:pos x="409" y="553"/>
                </a:cxn>
                <a:cxn ang="0">
                  <a:pos x="421" y="573"/>
                </a:cxn>
                <a:cxn ang="0">
                  <a:pos x="443" y="580"/>
                </a:cxn>
                <a:cxn ang="0">
                  <a:pos x="465" y="611"/>
                </a:cxn>
                <a:cxn ang="0">
                  <a:pos x="478" y="651"/>
                </a:cxn>
                <a:cxn ang="0">
                  <a:pos x="489" y="669"/>
                </a:cxn>
                <a:cxn ang="0">
                  <a:pos x="525" y="671"/>
                </a:cxn>
                <a:cxn ang="0">
                  <a:pos x="527" y="620"/>
                </a:cxn>
                <a:cxn ang="0">
                  <a:pos x="534" y="599"/>
                </a:cxn>
                <a:cxn ang="0">
                  <a:pos x="539" y="599"/>
                </a:cxn>
                <a:cxn ang="0">
                  <a:pos x="557" y="619"/>
                </a:cxn>
                <a:cxn ang="0">
                  <a:pos x="574" y="622"/>
                </a:cxn>
                <a:cxn ang="0">
                  <a:pos x="587" y="611"/>
                </a:cxn>
                <a:cxn ang="0">
                  <a:pos x="587" y="586"/>
                </a:cxn>
                <a:cxn ang="0">
                  <a:pos x="574" y="560"/>
                </a:cxn>
                <a:cxn ang="0">
                  <a:pos x="594" y="557"/>
                </a:cxn>
                <a:cxn ang="0">
                  <a:pos x="610" y="559"/>
                </a:cxn>
                <a:cxn ang="0">
                  <a:pos x="626" y="544"/>
                </a:cxn>
                <a:cxn ang="0">
                  <a:pos x="643" y="528"/>
                </a:cxn>
                <a:cxn ang="0">
                  <a:pos x="668" y="517"/>
                </a:cxn>
                <a:cxn ang="0">
                  <a:pos x="674" y="506"/>
                </a:cxn>
                <a:cxn ang="0">
                  <a:pos x="674" y="493"/>
                </a:cxn>
                <a:cxn ang="0">
                  <a:pos x="666" y="477"/>
                </a:cxn>
                <a:cxn ang="0">
                  <a:pos x="677" y="472"/>
                </a:cxn>
                <a:cxn ang="0">
                  <a:pos x="695" y="477"/>
                </a:cxn>
                <a:cxn ang="0">
                  <a:pos x="712" y="457"/>
                </a:cxn>
                <a:cxn ang="0">
                  <a:pos x="741" y="430"/>
                </a:cxn>
                <a:cxn ang="0">
                  <a:pos x="746" y="413"/>
                </a:cxn>
                <a:cxn ang="0">
                  <a:pos x="752" y="403"/>
                </a:cxn>
                <a:cxn ang="0">
                  <a:pos x="775" y="388"/>
                </a:cxn>
                <a:cxn ang="0">
                  <a:pos x="783" y="368"/>
                </a:cxn>
                <a:cxn ang="0">
                  <a:pos x="784" y="337"/>
                </a:cxn>
                <a:cxn ang="0">
                  <a:pos x="797" y="286"/>
                </a:cxn>
                <a:cxn ang="0">
                  <a:pos x="828" y="236"/>
                </a:cxn>
                <a:cxn ang="0">
                  <a:pos x="862" y="208"/>
                </a:cxn>
                <a:cxn ang="0">
                  <a:pos x="447" y="36"/>
                </a:cxn>
                <a:cxn ang="0">
                  <a:pos x="396" y="12"/>
                </a:cxn>
                <a:cxn ang="0">
                  <a:pos x="387" y="2"/>
                </a:cxn>
                <a:cxn ang="0">
                  <a:pos x="554" y="597"/>
                </a:cxn>
              </a:cxnLst>
              <a:rect l="0" t="0" r="r" b="b"/>
              <a:pathLst>
                <a:path w="875" h="680">
                  <a:moveTo>
                    <a:pt x="378" y="0"/>
                  </a:moveTo>
                  <a:lnTo>
                    <a:pt x="334" y="3"/>
                  </a:lnTo>
                  <a:lnTo>
                    <a:pt x="267" y="9"/>
                  </a:lnTo>
                  <a:lnTo>
                    <a:pt x="155" y="22"/>
                  </a:lnTo>
                  <a:lnTo>
                    <a:pt x="149" y="22"/>
                  </a:lnTo>
                  <a:lnTo>
                    <a:pt x="144" y="23"/>
                  </a:lnTo>
                  <a:lnTo>
                    <a:pt x="131" y="31"/>
                  </a:lnTo>
                  <a:lnTo>
                    <a:pt x="115" y="38"/>
                  </a:lnTo>
                  <a:lnTo>
                    <a:pt x="98" y="49"/>
                  </a:lnTo>
                  <a:lnTo>
                    <a:pt x="82" y="60"/>
                  </a:lnTo>
                  <a:lnTo>
                    <a:pt x="64" y="69"/>
                  </a:lnTo>
                  <a:lnTo>
                    <a:pt x="46" y="78"/>
                  </a:lnTo>
                  <a:lnTo>
                    <a:pt x="29" y="85"/>
                  </a:lnTo>
                  <a:lnTo>
                    <a:pt x="29" y="89"/>
                  </a:lnTo>
                  <a:lnTo>
                    <a:pt x="29" y="94"/>
                  </a:lnTo>
                  <a:lnTo>
                    <a:pt x="28" y="98"/>
                  </a:lnTo>
                  <a:lnTo>
                    <a:pt x="24" y="101"/>
                  </a:lnTo>
                  <a:lnTo>
                    <a:pt x="20" y="105"/>
                  </a:lnTo>
                  <a:lnTo>
                    <a:pt x="11" y="116"/>
                  </a:lnTo>
                  <a:lnTo>
                    <a:pt x="8" y="121"/>
                  </a:lnTo>
                  <a:lnTo>
                    <a:pt x="4" y="127"/>
                  </a:lnTo>
                  <a:lnTo>
                    <a:pt x="2" y="132"/>
                  </a:lnTo>
                  <a:lnTo>
                    <a:pt x="0" y="136"/>
                  </a:lnTo>
                  <a:lnTo>
                    <a:pt x="0" y="145"/>
                  </a:lnTo>
                  <a:lnTo>
                    <a:pt x="0" y="150"/>
                  </a:lnTo>
                  <a:lnTo>
                    <a:pt x="2" y="158"/>
                  </a:lnTo>
                  <a:lnTo>
                    <a:pt x="6" y="163"/>
                  </a:lnTo>
                  <a:lnTo>
                    <a:pt x="9" y="167"/>
                  </a:lnTo>
                  <a:lnTo>
                    <a:pt x="20" y="176"/>
                  </a:lnTo>
                  <a:lnTo>
                    <a:pt x="26" y="179"/>
                  </a:lnTo>
                  <a:lnTo>
                    <a:pt x="33" y="183"/>
                  </a:lnTo>
                  <a:lnTo>
                    <a:pt x="46" y="188"/>
                  </a:lnTo>
                  <a:lnTo>
                    <a:pt x="60" y="192"/>
                  </a:lnTo>
                  <a:lnTo>
                    <a:pt x="71" y="194"/>
                  </a:lnTo>
                  <a:lnTo>
                    <a:pt x="82" y="196"/>
                  </a:lnTo>
                  <a:lnTo>
                    <a:pt x="86" y="196"/>
                  </a:lnTo>
                  <a:lnTo>
                    <a:pt x="93" y="201"/>
                  </a:lnTo>
                  <a:lnTo>
                    <a:pt x="100" y="208"/>
                  </a:lnTo>
                  <a:lnTo>
                    <a:pt x="106" y="214"/>
                  </a:lnTo>
                  <a:lnTo>
                    <a:pt x="109" y="221"/>
                  </a:lnTo>
                  <a:lnTo>
                    <a:pt x="115" y="228"/>
                  </a:lnTo>
                  <a:lnTo>
                    <a:pt x="118" y="234"/>
                  </a:lnTo>
                  <a:lnTo>
                    <a:pt x="124" y="248"/>
                  </a:lnTo>
                  <a:lnTo>
                    <a:pt x="129" y="261"/>
                  </a:lnTo>
                  <a:lnTo>
                    <a:pt x="136" y="274"/>
                  </a:lnTo>
                  <a:lnTo>
                    <a:pt x="140" y="279"/>
                  </a:lnTo>
                  <a:lnTo>
                    <a:pt x="146" y="286"/>
                  </a:lnTo>
                  <a:lnTo>
                    <a:pt x="151" y="292"/>
                  </a:lnTo>
                  <a:lnTo>
                    <a:pt x="158" y="297"/>
                  </a:lnTo>
                  <a:lnTo>
                    <a:pt x="187" y="316"/>
                  </a:lnTo>
                  <a:lnTo>
                    <a:pt x="205" y="326"/>
                  </a:lnTo>
                  <a:lnTo>
                    <a:pt x="211" y="332"/>
                  </a:lnTo>
                  <a:lnTo>
                    <a:pt x="215" y="335"/>
                  </a:lnTo>
                  <a:lnTo>
                    <a:pt x="227" y="350"/>
                  </a:lnTo>
                  <a:lnTo>
                    <a:pt x="234" y="355"/>
                  </a:lnTo>
                  <a:lnTo>
                    <a:pt x="240" y="361"/>
                  </a:lnTo>
                  <a:lnTo>
                    <a:pt x="254" y="372"/>
                  </a:lnTo>
                  <a:lnTo>
                    <a:pt x="273" y="383"/>
                  </a:lnTo>
                  <a:lnTo>
                    <a:pt x="278" y="386"/>
                  </a:lnTo>
                  <a:lnTo>
                    <a:pt x="282" y="390"/>
                  </a:lnTo>
                  <a:lnTo>
                    <a:pt x="289" y="397"/>
                  </a:lnTo>
                  <a:lnTo>
                    <a:pt x="294" y="404"/>
                  </a:lnTo>
                  <a:lnTo>
                    <a:pt x="298" y="412"/>
                  </a:lnTo>
                  <a:lnTo>
                    <a:pt x="305" y="428"/>
                  </a:lnTo>
                  <a:lnTo>
                    <a:pt x="309" y="435"/>
                  </a:lnTo>
                  <a:lnTo>
                    <a:pt x="316" y="444"/>
                  </a:lnTo>
                  <a:lnTo>
                    <a:pt x="318" y="446"/>
                  </a:lnTo>
                  <a:lnTo>
                    <a:pt x="320" y="448"/>
                  </a:lnTo>
                  <a:lnTo>
                    <a:pt x="327" y="452"/>
                  </a:lnTo>
                  <a:lnTo>
                    <a:pt x="347" y="461"/>
                  </a:lnTo>
                  <a:lnTo>
                    <a:pt x="367" y="470"/>
                  </a:lnTo>
                  <a:lnTo>
                    <a:pt x="376" y="473"/>
                  </a:lnTo>
                  <a:lnTo>
                    <a:pt x="383" y="477"/>
                  </a:lnTo>
                  <a:lnTo>
                    <a:pt x="385" y="481"/>
                  </a:lnTo>
                  <a:lnTo>
                    <a:pt x="389" y="484"/>
                  </a:lnTo>
                  <a:lnTo>
                    <a:pt x="391" y="493"/>
                  </a:lnTo>
                  <a:lnTo>
                    <a:pt x="391" y="497"/>
                  </a:lnTo>
                  <a:lnTo>
                    <a:pt x="392" y="502"/>
                  </a:lnTo>
                  <a:lnTo>
                    <a:pt x="394" y="506"/>
                  </a:lnTo>
                  <a:lnTo>
                    <a:pt x="396" y="510"/>
                  </a:lnTo>
                  <a:lnTo>
                    <a:pt x="403" y="517"/>
                  </a:lnTo>
                  <a:lnTo>
                    <a:pt x="405" y="521"/>
                  </a:lnTo>
                  <a:lnTo>
                    <a:pt x="407" y="522"/>
                  </a:lnTo>
                  <a:lnTo>
                    <a:pt x="407" y="530"/>
                  </a:lnTo>
                  <a:lnTo>
                    <a:pt x="407" y="535"/>
                  </a:lnTo>
                  <a:lnTo>
                    <a:pt x="407" y="542"/>
                  </a:lnTo>
                  <a:lnTo>
                    <a:pt x="409" y="548"/>
                  </a:lnTo>
                  <a:lnTo>
                    <a:pt x="409" y="553"/>
                  </a:lnTo>
                  <a:lnTo>
                    <a:pt x="411" y="559"/>
                  </a:lnTo>
                  <a:lnTo>
                    <a:pt x="414" y="566"/>
                  </a:lnTo>
                  <a:lnTo>
                    <a:pt x="418" y="570"/>
                  </a:lnTo>
                  <a:lnTo>
                    <a:pt x="421" y="573"/>
                  </a:lnTo>
                  <a:lnTo>
                    <a:pt x="430" y="575"/>
                  </a:lnTo>
                  <a:lnTo>
                    <a:pt x="434" y="577"/>
                  </a:lnTo>
                  <a:lnTo>
                    <a:pt x="440" y="579"/>
                  </a:lnTo>
                  <a:lnTo>
                    <a:pt x="443" y="580"/>
                  </a:lnTo>
                  <a:lnTo>
                    <a:pt x="449" y="584"/>
                  </a:lnTo>
                  <a:lnTo>
                    <a:pt x="452" y="590"/>
                  </a:lnTo>
                  <a:lnTo>
                    <a:pt x="456" y="597"/>
                  </a:lnTo>
                  <a:lnTo>
                    <a:pt x="465" y="611"/>
                  </a:lnTo>
                  <a:lnTo>
                    <a:pt x="467" y="617"/>
                  </a:lnTo>
                  <a:lnTo>
                    <a:pt x="469" y="624"/>
                  </a:lnTo>
                  <a:lnTo>
                    <a:pt x="474" y="639"/>
                  </a:lnTo>
                  <a:lnTo>
                    <a:pt x="478" y="651"/>
                  </a:lnTo>
                  <a:lnTo>
                    <a:pt x="479" y="657"/>
                  </a:lnTo>
                  <a:lnTo>
                    <a:pt x="481" y="660"/>
                  </a:lnTo>
                  <a:lnTo>
                    <a:pt x="485" y="666"/>
                  </a:lnTo>
                  <a:lnTo>
                    <a:pt x="489" y="669"/>
                  </a:lnTo>
                  <a:lnTo>
                    <a:pt x="499" y="675"/>
                  </a:lnTo>
                  <a:lnTo>
                    <a:pt x="510" y="678"/>
                  </a:lnTo>
                  <a:lnTo>
                    <a:pt x="521" y="680"/>
                  </a:lnTo>
                  <a:lnTo>
                    <a:pt x="525" y="671"/>
                  </a:lnTo>
                  <a:lnTo>
                    <a:pt x="527" y="666"/>
                  </a:lnTo>
                  <a:lnTo>
                    <a:pt x="528" y="658"/>
                  </a:lnTo>
                  <a:lnTo>
                    <a:pt x="528" y="653"/>
                  </a:lnTo>
                  <a:lnTo>
                    <a:pt x="527" y="620"/>
                  </a:lnTo>
                  <a:lnTo>
                    <a:pt x="528" y="609"/>
                  </a:lnTo>
                  <a:lnTo>
                    <a:pt x="528" y="606"/>
                  </a:lnTo>
                  <a:lnTo>
                    <a:pt x="530" y="600"/>
                  </a:lnTo>
                  <a:lnTo>
                    <a:pt x="534" y="599"/>
                  </a:lnTo>
                  <a:lnTo>
                    <a:pt x="534" y="597"/>
                  </a:lnTo>
                  <a:lnTo>
                    <a:pt x="536" y="597"/>
                  </a:lnTo>
                  <a:lnTo>
                    <a:pt x="538" y="597"/>
                  </a:lnTo>
                  <a:lnTo>
                    <a:pt x="539" y="599"/>
                  </a:lnTo>
                  <a:lnTo>
                    <a:pt x="541" y="602"/>
                  </a:lnTo>
                  <a:lnTo>
                    <a:pt x="545" y="606"/>
                  </a:lnTo>
                  <a:lnTo>
                    <a:pt x="550" y="613"/>
                  </a:lnTo>
                  <a:lnTo>
                    <a:pt x="557" y="619"/>
                  </a:lnTo>
                  <a:lnTo>
                    <a:pt x="561" y="620"/>
                  </a:lnTo>
                  <a:lnTo>
                    <a:pt x="567" y="622"/>
                  </a:lnTo>
                  <a:lnTo>
                    <a:pt x="568" y="622"/>
                  </a:lnTo>
                  <a:lnTo>
                    <a:pt x="574" y="622"/>
                  </a:lnTo>
                  <a:lnTo>
                    <a:pt x="577" y="620"/>
                  </a:lnTo>
                  <a:lnTo>
                    <a:pt x="581" y="619"/>
                  </a:lnTo>
                  <a:lnTo>
                    <a:pt x="583" y="615"/>
                  </a:lnTo>
                  <a:lnTo>
                    <a:pt x="587" y="611"/>
                  </a:lnTo>
                  <a:lnTo>
                    <a:pt x="587" y="606"/>
                  </a:lnTo>
                  <a:lnTo>
                    <a:pt x="588" y="602"/>
                  </a:lnTo>
                  <a:lnTo>
                    <a:pt x="588" y="597"/>
                  </a:lnTo>
                  <a:lnTo>
                    <a:pt x="587" y="586"/>
                  </a:lnTo>
                  <a:lnTo>
                    <a:pt x="583" y="577"/>
                  </a:lnTo>
                  <a:lnTo>
                    <a:pt x="576" y="566"/>
                  </a:lnTo>
                  <a:lnTo>
                    <a:pt x="574" y="562"/>
                  </a:lnTo>
                  <a:lnTo>
                    <a:pt x="574" y="560"/>
                  </a:lnTo>
                  <a:lnTo>
                    <a:pt x="574" y="559"/>
                  </a:lnTo>
                  <a:lnTo>
                    <a:pt x="577" y="557"/>
                  </a:lnTo>
                  <a:lnTo>
                    <a:pt x="590" y="555"/>
                  </a:lnTo>
                  <a:lnTo>
                    <a:pt x="594" y="557"/>
                  </a:lnTo>
                  <a:lnTo>
                    <a:pt x="597" y="557"/>
                  </a:lnTo>
                  <a:lnTo>
                    <a:pt x="601" y="557"/>
                  </a:lnTo>
                  <a:lnTo>
                    <a:pt x="606" y="559"/>
                  </a:lnTo>
                  <a:lnTo>
                    <a:pt x="610" y="559"/>
                  </a:lnTo>
                  <a:lnTo>
                    <a:pt x="614" y="557"/>
                  </a:lnTo>
                  <a:lnTo>
                    <a:pt x="617" y="553"/>
                  </a:lnTo>
                  <a:lnTo>
                    <a:pt x="621" y="551"/>
                  </a:lnTo>
                  <a:lnTo>
                    <a:pt x="626" y="544"/>
                  </a:lnTo>
                  <a:lnTo>
                    <a:pt x="630" y="537"/>
                  </a:lnTo>
                  <a:lnTo>
                    <a:pt x="634" y="533"/>
                  </a:lnTo>
                  <a:lnTo>
                    <a:pt x="636" y="530"/>
                  </a:lnTo>
                  <a:lnTo>
                    <a:pt x="643" y="528"/>
                  </a:lnTo>
                  <a:lnTo>
                    <a:pt x="648" y="526"/>
                  </a:lnTo>
                  <a:lnTo>
                    <a:pt x="661" y="521"/>
                  </a:lnTo>
                  <a:lnTo>
                    <a:pt x="666" y="519"/>
                  </a:lnTo>
                  <a:lnTo>
                    <a:pt x="668" y="517"/>
                  </a:lnTo>
                  <a:lnTo>
                    <a:pt x="670" y="515"/>
                  </a:lnTo>
                  <a:lnTo>
                    <a:pt x="672" y="513"/>
                  </a:lnTo>
                  <a:lnTo>
                    <a:pt x="674" y="510"/>
                  </a:lnTo>
                  <a:lnTo>
                    <a:pt x="674" y="506"/>
                  </a:lnTo>
                  <a:lnTo>
                    <a:pt x="675" y="501"/>
                  </a:lnTo>
                  <a:lnTo>
                    <a:pt x="675" y="499"/>
                  </a:lnTo>
                  <a:lnTo>
                    <a:pt x="674" y="497"/>
                  </a:lnTo>
                  <a:lnTo>
                    <a:pt x="674" y="493"/>
                  </a:lnTo>
                  <a:lnTo>
                    <a:pt x="670" y="490"/>
                  </a:lnTo>
                  <a:lnTo>
                    <a:pt x="666" y="484"/>
                  </a:lnTo>
                  <a:lnTo>
                    <a:pt x="665" y="479"/>
                  </a:lnTo>
                  <a:lnTo>
                    <a:pt x="666" y="477"/>
                  </a:lnTo>
                  <a:lnTo>
                    <a:pt x="668" y="473"/>
                  </a:lnTo>
                  <a:lnTo>
                    <a:pt x="670" y="472"/>
                  </a:lnTo>
                  <a:lnTo>
                    <a:pt x="674" y="472"/>
                  </a:lnTo>
                  <a:lnTo>
                    <a:pt x="677" y="472"/>
                  </a:lnTo>
                  <a:lnTo>
                    <a:pt x="681" y="475"/>
                  </a:lnTo>
                  <a:lnTo>
                    <a:pt x="685" y="477"/>
                  </a:lnTo>
                  <a:lnTo>
                    <a:pt x="688" y="479"/>
                  </a:lnTo>
                  <a:lnTo>
                    <a:pt x="695" y="477"/>
                  </a:lnTo>
                  <a:lnTo>
                    <a:pt x="701" y="475"/>
                  </a:lnTo>
                  <a:lnTo>
                    <a:pt x="704" y="472"/>
                  </a:lnTo>
                  <a:lnTo>
                    <a:pt x="706" y="468"/>
                  </a:lnTo>
                  <a:lnTo>
                    <a:pt x="712" y="457"/>
                  </a:lnTo>
                  <a:lnTo>
                    <a:pt x="717" y="448"/>
                  </a:lnTo>
                  <a:lnTo>
                    <a:pt x="726" y="441"/>
                  </a:lnTo>
                  <a:lnTo>
                    <a:pt x="735" y="433"/>
                  </a:lnTo>
                  <a:lnTo>
                    <a:pt x="741" y="430"/>
                  </a:lnTo>
                  <a:lnTo>
                    <a:pt x="744" y="426"/>
                  </a:lnTo>
                  <a:lnTo>
                    <a:pt x="746" y="421"/>
                  </a:lnTo>
                  <a:lnTo>
                    <a:pt x="746" y="415"/>
                  </a:lnTo>
                  <a:lnTo>
                    <a:pt x="746" y="413"/>
                  </a:lnTo>
                  <a:lnTo>
                    <a:pt x="746" y="412"/>
                  </a:lnTo>
                  <a:lnTo>
                    <a:pt x="748" y="408"/>
                  </a:lnTo>
                  <a:lnTo>
                    <a:pt x="750" y="404"/>
                  </a:lnTo>
                  <a:lnTo>
                    <a:pt x="752" y="403"/>
                  </a:lnTo>
                  <a:lnTo>
                    <a:pt x="755" y="401"/>
                  </a:lnTo>
                  <a:lnTo>
                    <a:pt x="764" y="397"/>
                  </a:lnTo>
                  <a:lnTo>
                    <a:pt x="770" y="394"/>
                  </a:lnTo>
                  <a:lnTo>
                    <a:pt x="775" y="388"/>
                  </a:lnTo>
                  <a:lnTo>
                    <a:pt x="779" y="383"/>
                  </a:lnTo>
                  <a:lnTo>
                    <a:pt x="781" y="375"/>
                  </a:lnTo>
                  <a:lnTo>
                    <a:pt x="783" y="372"/>
                  </a:lnTo>
                  <a:lnTo>
                    <a:pt x="783" y="368"/>
                  </a:lnTo>
                  <a:lnTo>
                    <a:pt x="784" y="361"/>
                  </a:lnTo>
                  <a:lnTo>
                    <a:pt x="784" y="352"/>
                  </a:lnTo>
                  <a:lnTo>
                    <a:pt x="784" y="339"/>
                  </a:lnTo>
                  <a:lnTo>
                    <a:pt x="784" y="337"/>
                  </a:lnTo>
                  <a:lnTo>
                    <a:pt x="784" y="325"/>
                  </a:lnTo>
                  <a:lnTo>
                    <a:pt x="788" y="312"/>
                  </a:lnTo>
                  <a:lnTo>
                    <a:pt x="792" y="299"/>
                  </a:lnTo>
                  <a:lnTo>
                    <a:pt x="797" y="286"/>
                  </a:lnTo>
                  <a:lnTo>
                    <a:pt x="804" y="274"/>
                  </a:lnTo>
                  <a:lnTo>
                    <a:pt x="812" y="263"/>
                  </a:lnTo>
                  <a:lnTo>
                    <a:pt x="826" y="241"/>
                  </a:lnTo>
                  <a:lnTo>
                    <a:pt x="828" y="236"/>
                  </a:lnTo>
                  <a:lnTo>
                    <a:pt x="832" y="232"/>
                  </a:lnTo>
                  <a:lnTo>
                    <a:pt x="841" y="223"/>
                  </a:lnTo>
                  <a:lnTo>
                    <a:pt x="851" y="216"/>
                  </a:lnTo>
                  <a:lnTo>
                    <a:pt x="862" y="208"/>
                  </a:lnTo>
                  <a:lnTo>
                    <a:pt x="875" y="201"/>
                  </a:lnTo>
                  <a:lnTo>
                    <a:pt x="646" y="34"/>
                  </a:lnTo>
                  <a:lnTo>
                    <a:pt x="447" y="65"/>
                  </a:lnTo>
                  <a:lnTo>
                    <a:pt x="447" y="36"/>
                  </a:lnTo>
                  <a:lnTo>
                    <a:pt x="412" y="7"/>
                  </a:lnTo>
                  <a:lnTo>
                    <a:pt x="394" y="22"/>
                  </a:lnTo>
                  <a:lnTo>
                    <a:pt x="394" y="20"/>
                  </a:lnTo>
                  <a:lnTo>
                    <a:pt x="396" y="12"/>
                  </a:lnTo>
                  <a:lnTo>
                    <a:pt x="394" y="11"/>
                  </a:lnTo>
                  <a:lnTo>
                    <a:pt x="394" y="9"/>
                  </a:lnTo>
                  <a:lnTo>
                    <a:pt x="392" y="3"/>
                  </a:lnTo>
                  <a:lnTo>
                    <a:pt x="387" y="2"/>
                  </a:lnTo>
                  <a:lnTo>
                    <a:pt x="381" y="0"/>
                  </a:lnTo>
                  <a:lnTo>
                    <a:pt x="378" y="0"/>
                  </a:lnTo>
                  <a:close/>
                  <a:moveTo>
                    <a:pt x="554" y="595"/>
                  </a:moveTo>
                  <a:lnTo>
                    <a:pt x="554" y="597"/>
                  </a:lnTo>
                  <a:lnTo>
                    <a:pt x="554" y="595"/>
                  </a:lnTo>
                  <a:close/>
                </a:path>
              </a:pathLst>
            </a:custGeom>
            <a:solidFill>
              <a:srgbClr val="2E2E38"/>
            </a:solidFill>
            <a:ln w="3175" cap="flat" cmpd="sng" algn="ctr">
              <a:solidFill>
                <a:srgbClr val="747480"/>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646464"/>
                </a:solidFill>
                <a:effectLst/>
                <a:uLnTx/>
                <a:uFillTx/>
                <a:cs typeface="Times New Roman" panose="02020603050405020304" pitchFamily="18" charset="0"/>
              </a:endParaRPr>
            </a:p>
          </p:txBody>
        </p:sp>
        <p:sp>
          <p:nvSpPr>
            <p:cNvPr id="52" name="Freeform 106">
              <a:extLst>
                <a:ext uri="{FF2B5EF4-FFF2-40B4-BE49-F238E27FC236}">
                  <a16:creationId xmlns:a16="http://schemas.microsoft.com/office/drawing/2014/main" id="{8E038525-B477-293D-27B9-A5E70A74A2AF}"/>
                </a:ext>
              </a:extLst>
            </p:cNvPr>
            <p:cNvSpPr>
              <a:spLocks/>
            </p:cNvSpPr>
            <p:nvPr/>
          </p:nvSpPr>
          <p:spPr bwMode="auto">
            <a:xfrm>
              <a:off x="6599241" y="4298766"/>
              <a:ext cx="135536" cy="131966"/>
            </a:xfrm>
            <a:custGeom>
              <a:avLst/>
              <a:gdLst/>
              <a:ahLst/>
              <a:cxnLst>
                <a:cxn ang="0">
                  <a:pos x="269" y="0"/>
                </a:cxn>
                <a:cxn ang="0">
                  <a:pos x="251" y="2"/>
                </a:cxn>
                <a:cxn ang="0">
                  <a:pos x="0" y="58"/>
                </a:cxn>
                <a:cxn ang="0">
                  <a:pos x="2" y="74"/>
                </a:cxn>
                <a:cxn ang="0">
                  <a:pos x="4" y="90"/>
                </a:cxn>
                <a:cxn ang="0">
                  <a:pos x="13" y="121"/>
                </a:cxn>
                <a:cxn ang="0">
                  <a:pos x="15" y="138"/>
                </a:cxn>
                <a:cxn ang="0">
                  <a:pos x="17" y="156"/>
                </a:cxn>
                <a:cxn ang="0">
                  <a:pos x="20" y="192"/>
                </a:cxn>
                <a:cxn ang="0">
                  <a:pos x="22" y="207"/>
                </a:cxn>
                <a:cxn ang="0">
                  <a:pos x="22" y="214"/>
                </a:cxn>
                <a:cxn ang="0">
                  <a:pos x="24" y="219"/>
                </a:cxn>
                <a:cxn ang="0">
                  <a:pos x="26" y="225"/>
                </a:cxn>
                <a:cxn ang="0">
                  <a:pos x="29" y="230"/>
                </a:cxn>
                <a:cxn ang="0">
                  <a:pos x="33" y="236"/>
                </a:cxn>
                <a:cxn ang="0">
                  <a:pos x="35" y="241"/>
                </a:cxn>
                <a:cxn ang="0">
                  <a:pos x="35" y="243"/>
                </a:cxn>
                <a:cxn ang="0">
                  <a:pos x="33" y="248"/>
                </a:cxn>
                <a:cxn ang="0">
                  <a:pos x="31" y="254"/>
                </a:cxn>
                <a:cxn ang="0">
                  <a:pos x="27" y="257"/>
                </a:cxn>
                <a:cxn ang="0">
                  <a:pos x="22" y="263"/>
                </a:cxn>
                <a:cxn ang="0">
                  <a:pos x="13" y="270"/>
                </a:cxn>
                <a:cxn ang="0">
                  <a:pos x="11" y="276"/>
                </a:cxn>
                <a:cxn ang="0">
                  <a:pos x="9" y="277"/>
                </a:cxn>
                <a:cxn ang="0">
                  <a:pos x="9" y="281"/>
                </a:cxn>
                <a:cxn ang="0">
                  <a:pos x="26" y="296"/>
                </a:cxn>
                <a:cxn ang="0">
                  <a:pos x="31" y="290"/>
                </a:cxn>
                <a:cxn ang="0">
                  <a:pos x="36" y="285"/>
                </a:cxn>
                <a:cxn ang="0">
                  <a:pos x="40" y="283"/>
                </a:cxn>
                <a:cxn ang="0">
                  <a:pos x="44" y="281"/>
                </a:cxn>
                <a:cxn ang="0">
                  <a:pos x="49" y="277"/>
                </a:cxn>
                <a:cxn ang="0">
                  <a:pos x="58" y="274"/>
                </a:cxn>
                <a:cxn ang="0">
                  <a:pos x="69" y="270"/>
                </a:cxn>
                <a:cxn ang="0">
                  <a:pos x="76" y="265"/>
                </a:cxn>
                <a:cxn ang="0">
                  <a:pos x="87" y="256"/>
                </a:cxn>
                <a:cxn ang="0">
                  <a:pos x="95" y="247"/>
                </a:cxn>
                <a:cxn ang="0">
                  <a:pos x="102" y="236"/>
                </a:cxn>
                <a:cxn ang="0">
                  <a:pos x="109" y="225"/>
                </a:cxn>
                <a:cxn ang="0">
                  <a:pos x="113" y="219"/>
                </a:cxn>
                <a:cxn ang="0">
                  <a:pos x="116" y="214"/>
                </a:cxn>
                <a:cxn ang="0">
                  <a:pos x="120" y="212"/>
                </a:cxn>
                <a:cxn ang="0">
                  <a:pos x="124" y="210"/>
                </a:cxn>
                <a:cxn ang="0">
                  <a:pos x="133" y="207"/>
                </a:cxn>
                <a:cxn ang="0">
                  <a:pos x="149" y="203"/>
                </a:cxn>
                <a:cxn ang="0">
                  <a:pos x="173" y="199"/>
                </a:cxn>
                <a:cxn ang="0">
                  <a:pos x="196" y="196"/>
                </a:cxn>
                <a:cxn ang="0">
                  <a:pos x="209" y="192"/>
                </a:cxn>
                <a:cxn ang="0">
                  <a:pos x="220" y="188"/>
                </a:cxn>
                <a:cxn ang="0">
                  <a:pos x="231" y="185"/>
                </a:cxn>
                <a:cxn ang="0">
                  <a:pos x="242" y="179"/>
                </a:cxn>
                <a:cxn ang="0">
                  <a:pos x="265" y="161"/>
                </a:cxn>
                <a:cxn ang="0">
                  <a:pos x="278" y="156"/>
                </a:cxn>
                <a:cxn ang="0">
                  <a:pos x="285" y="154"/>
                </a:cxn>
                <a:cxn ang="0">
                  <a:pos x="292" y="152"/>
                </a:cxn>
                <a:cxn ang="0">
                  <a:pos x="296" y="152"/>
                </a:cxn>
                <a:cxn ang="0">
                  <a:pos x="296" y="145"/>
                </a:cxn>
                <a:cxn ang="0">
                  <a:pos x="294" y="125"/>
                </a:cxn>
                <a:cxn ang="0">
                  <a:pos x="292" y="107"/>
                </a:cxn>
                <a:cxn ang="0">
                  <a:pos x="283" y="70"/>
                </a:cxn>
                <a:cxn ang="0">
                  <a:pos x="280" y="52"/>
                </a:cxn>
                <a:cxn ang="0">
                  <a:pos x="276" y="36"/>
                </a:cxn>
                <a:cxn ang="0">
                  <a:pos x="272" y="18"/>
                </a:cxn>
                <a:cxn ang="0">
                  <a:pos x="269" y="0"/>
                </a:cxn>
              </a:cxnLst>
              <a:rect l="0" t="0" r="r" b="b"/>
              <a:pathLst>
                <a:path w="296" h="296">
                  <a:moveTo>
                    <a:pt x="269" y="0"/>
                  </a:moveTo>
                  <a:lnTo>
                    <a:pt x="251" y="2"/>
                  </a:lnTo>
                  <a:lnTo>
                    <a:pt x="0" y="58"/>
                  </a:lnTo>
                  <a:lnTo>
                    <a:pt x="2" y="74"/>
                  </a:lnTo>
                  <a:lnTo>
                    <a:pt x="4" y="90"/>
                  </a:lnTo>
                  <a:lnTo>
                    <a:pt x="13" y="121"/>
                  </a:lnTo>
                  <a:lnTo>
                    <a:pt x="15" y="138"/>
                  </a:lnTo>
                  <a:lnTo>
                    <a:pt x="17" y="156"/>
                  </a:lnTo>
                  <a:lnTo>
                    <a:pt x="20" y="192"/>
                  </a:lnTo>
                  <a:lnTo>
                    <a:pt x="22" y="207"/>
                  </a:lnTo>
                  <a:lnTo>
                    <a:pt x="22" y="214"/>
                  </a:lnTo>
                  <a:lnTo>
                    <a:pt x="24" y="219"/>
                  </a:lnTo>
                  <a:lnTo>
                    <a:pt x="26" y="225"/>
                  </a:lnTo>
                  <a:lnTo>
                    <a:pt x="29" y="230"/>
                  </a:lnTo>
                  <a:lnTo>
                    <a:pt x="33" y="236"/>
                  </a:lnTo>
                  <a:lnTo>
                    <a:pt x="35" y="241"/>
                  </a:lnTo>
                  <a:lnTo>
                    <a:pt x="35" y="243"/>
                  </a:lnTo>
                  <a:lnTo>
                    <a:pt x="33" y="248"/>
                  </a:lnTo>
                  <a:lnTo>
                    <a:pt x="31" y="254"/>
                  </a:lnTo>
                  <a:lnTo>
                    <a:pt x="27" y="257"/>
                  </a:lnTo>
                  <a:lnTo>
                    <a:pt x="22" y="263"/>
                  </a:lnTo>
                  <a:lnTo>
                    <a:pt x="13" y="270"/>
                  </a:lnTo>
                  <a:lnTo>
                    <a:pt x="11" y="276"/>
                  </a:lnTo>
                  <a:lnTo>
                    <a:pt x="9" y="277"/>
                  </a:lnTo>
                  <a:lnTo>
                    <a:pt x="9" y="281"/>
                  </a:lnTo>
                  <a:lnTo>
                    <a:pt x="26" y="296"/>
                  </a:lnTo>
                  <a:lnTo>
                    <a:pt x="31" y="290"/>
                  </a:lnTo>
                  <a:lnTo>
                    <a:pt x="36" y="285"/>
                  </a:lnTo>
                  <a:lnTo>
                    <a:pt x="40" y="283"/>
                  </a:lnTo>
                  <a:lnTo>
                    <a:pt x="44" y="281"/>
                  </a:lnTo>
                  <a:lnTo>
                    <a:pt x="49" y="277"/>
                  </a:lnTo>
                  <a:lnTo>
                    <a:pt x="58" y="274"/>
                  </a:lnTo>
                  <a:lnTo>
                    <a:pt x="69" y="270"/>
                  </a:lnTo>
                  <a:lnTo>
                    <a:pt x="76" y="265"/>
                  </a:lnTo>
                  <a:lnTo>
                    <a:pt x="87" y="256"/>
                  </a:lnTo>
                  <a:lnTo>
                    <a:pt x="95" y="247"/>
                  </a:lnTo>
                  <a:lnTo>
                    <a:pt x="102" y="236"/>
                  </a:lnTo>
                  <a:lnTo>
                    <a:pt x="109" y="225"/>
                  </a:lnTo>
                  <a:lnTo>
                    <a:pt x="113" y="219"/>
                  </a:lnTo>
                  <a:lnTo>
                    <a:pt x="116" y="214"/>
                  </a:lnTo>
                  <a:lnTo>
                    <a:pt x="120" y="212"/>
                  </a:lnTo>
                  <a:lnTo>
                    <a:pt x="124" y="210"/>
                  </a:lnTo>
                  <a:lnTo>
                    <a:pt x="133" y="207"/>
                  </a:lnTo>
                  <a:lnTo>
                    <a:pt x="149" y="203"/>
                  </a:lnTo>
                  <a:lnTo>
                    <a:pt x="173" y="199"/>
                  </a:lnTo>
                  <a:lnTo>
                    <a:pt x="196" y="196"/>
                  </a:lnTo>
                  <a:lnTo>
                    <a:pt x="209" y="192"/>
                  </a:lnTo>
                  <a:lnTo>
                    <a:pt x="220" y="188"/>
                  </a:lnTo>
                  <a:lnTo>
                    <a:pt x="231" y="185"/>
                  </a:lnTo>
                  <a:lnTo>
                    <a:pt x="242" y="179"/>
                  </a:lnTo>
                  <a:lnTo>
                    <a:pt x="265" y="161"/>
                  </a:lnTo>
                  <a:lnTo>
                    <a:pt x="278" y="156"/>
                  </a:lnTo>
                  <a:lnTo>
                    <a:pt x="285" y="154"/>
                  </a:lnTo>
                  <a:lnTo>
                    <a:pt x="292" y="152"/>
                  </a:lnTo>
                  <a:lnTo>
                    <a:pt x="296" y="152"/>
                  </a:lnTo>
                  <a:lnTo>
                    <a:pt x="296" y="145"/>
                  </a:lnTo>
                  <a:lnTo>
                    <a:pt x="294" y="125"/>
                  </a:lnTo>
                  <a:lnTo>
                    <a:pt x="292" y="107"/>
                  </a:lnTo>
                  <a:lnTo>
                    <a:pt x="283" y="70"/>
                  </a:lnTo>
                  <a:lnTo>
                    <a:pt x="280" y="52"/>
                  </a:lnTo>
                  <a:lnTo>
                    <a:pt x="276" y="36"/>
                  </a:lnTo>
                  <a:lnTo>
                    <a:pt x="272" y="18"/>
                  </a:lnTo>
                  <a:lnTo>
                    <a:pt x="269" y="0"/>
                  </a:lnTo>
                  <a:close/>
                </a:path>
              </a:pathLst>
            </a:custGeom>
            <a:solidFill>
              <a:srgbClr val="2E2E38"/>
            </a:solidFill>
            <a:ln w="3175" cap="flat" cmpd="sng" algn="ctr">
              <a:solidFill>
                <a:srgbClr val="747480"/>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646464"/>
                </a:solidFill>
                <a:effectLst/>
                <a:uLnTx/>
                <a:uFillTx/>
                <a:cs typeface="Times New Roman" panose="02020603050405020304" pitchFamily="18" charset="0"/>
              </a:endParaRPr>
            </a:p>
          </p:txBody>
        </p:sp>
        <p:sp>
          <p:nvSpPr>
            <p:cNvPr id="53" name="Freeform 108">
              <a:extLst>
                <a:ext uri="{FF2B5EF4-FFF2-40B4-BE49-F238E27FC236}">
                  <a16:creationId xmlns:a16="http://schemas.microsoft.com/office/drawing/2014/main" id="{50D769CD-C81C-FEB4-BF47-5DA98CB26767}"/>
                </a:ext>
              </a:extLst>
            </p:cNvPr>
            <p:cNvSpPr>
              <a:spLocks/>
            </p:cNvSpPr>
            <p:nvPr/>
          </p:nvSpPr>
          <p:spPr bwMode="auto">
            <a:xfrm>
              <a:off x="6721955" y="4291634"/>
              <a:ext cx="64105" cy="74901"/>
            </a:xfrm>
            <a:custGeom>
              <a:avLst/>
              <a:gdLst/>
              <a:ahLst/>
              <a:cxnLst>
                <a:cxn ang="0">
                  <a:pos x="0" y="17"/>
                </a:cxn>
                <a:cxn ang="0">
                  <a:pos x="5" y="51"/>
                </a:cxn>
                <a:cxn ang="0">
                  <a:pos x="23" y="120"/>
                </a:cxn>
                <a:cxn ang="0">
                  <a:pos x="27" y="156"/>
                </a:cxn>
                <a:cxn ang="0">
                  <a:pos x="27" y="169"/>
                </a:cxn>
                <a:cxn ang="0">
                  <a:pos x="45" y="167"/>
                </a:cxn>
                <a:cxn ang="0">
                  <a:pos x="56" y="160"/>
                </a:cxn>
                <a:cxn ang="0">
                  <a:pos x="72" y="146"/>
                </a:cxn>
                <a:cxn ang="0">
                  <a:pos x="85" y="129"/>
                </a:cxn>
                <a:cxn ang="0">
                  <a:pos x="90" y="117"/>
                </a:cxn>
                <a:cxn ang="0">
                  <a:pos x="90" y="106"/>
                </a:cxn>
                <a:cxn ang="0">
                  <a:pos x="83" y="95"/>
                </a:cxn>
                <a:cxn ang="0">
                  <a:pos x="74" y="86"/>
                </a:cxn>
                <a:cxn ang="0">
                  <a:pos x="72" y="78"/>
                </a:cxn>
                <a:cxn ang="0">
                  <a:pos x="76" y="62"/>
                </a:cxn>
                <a:cxn ang="0">
                  <a:pos x="80" y="58"/>
                </a:cxn>
                <a:cxn ang="0">
                  <a:pos x="85" y="57"/>
                </a:cxn>
                <a:cxn ang="0">
                  <a:pos x="94" y="60"/>
                </a:cxn>
                <a:cxn ang="0">
                  <a:pos x="100" y="68"/>
                </a:cxn>
                <a:cxn ang="0">
                  <a:pos x="109" y="80"/>
                </a:cxn>
                <a:cxn ang="0">
                  <a:pos x="114" y="98"/>
                </a:cxn>
                <a:cxn ang="0">
                  <a:pos x="116" y="104"/>
                </a:cxn>
                <a:cxn ang="0">
                  <a:pos x="121" y="107"/>
                </a:cxn>
                <a:cxn ang="0">
                  <a:pos x="127" y="107"/>
                </a:cxn>
                <a:cxn ang="0">
                  <a:pos x="134" y="104"/>
                </a:cxn>
                <a:cxn ang="0">
                  <a:pos x="139" y="98"/>
                </a:cxn>
                <a:cxn ang="0">
                  <a:pos x="125" y="75"/>
                </a:cxn>
                <a:cxn ang="0">
                  <a:pos x="118" y="64"/>
                </a:cxn>
                <a:cxn ang="0">
                  <a:pos x="107" y="55"/>
                </a:cxn>
                <a:cxn ang="0">
                  <a:pos x="96" y="49"/>
                </a:cxn>
                <a:cxn ang="0">
                  <a:pos x="85" y="44"/>
                </a:cxn>
                <a:cxn ang="0">
                  <a:pos x="87" y="42"/>
                </a:cxn>
                <a:cxn ang="0">
                  <a:pos x="81" y="35"/>
                </a:cxn>
                <a:cxn ang="0">
                  <a:pos x="76" y="28"/>
                </a:cxn>
                <a:cxn ang="0">
                  <a:pos x="72" y="22"/>
                </a:cxn>
                <a:cxn ang="0">
                  <a:pos x="69" y="0"/>
                </a:cxn>
              </a:cxnLst>
              <a:rect l="0" t="0" r="r" b="b"/>
              <a:pathLst>
                <a:path w="139" h="169">
                  <a:moveTo>
                    <a:pt x="69" y="0"/>
                  </a:moveTo>
                  <a:lnTo>
                    <a:pt x="0" y="17"/>
                  </a:lnTo>
                  <a:lnTo>
                    <a:pt x="3" y="33"/>
                  </a:lnTo>
                  <a:lnTo>
                    <a:pt x="5" y="51"/>
                  </a:lnTo>
                  <a:lnTo>
                    <a:pt x="14" y="86"/>
                  </a:lnTo>
                  <a:lnTo>
                    <a:pt x="23" y="120"/>
                  </a:lnTo>
                  <a:lnTo>
                    <a:pt x="25" y="138"/>
                  </a:lnTo>
                  <a:lnTo>
                    <a:pt x="27" y="156"/>
                  </a:lnTo>
                  <a:lnTo>
                    <a:pt x="27" y="162"/>
                  </a:lnTo>
                  <a:lnTo>
                    <a:pt x="27" y="169"/>
                  </a:lnTo>
                  <a:lnTo>
                    <a:pt x="40" y="169"/>
                  </a:lnTo>
                  <a:lnTo>
                    <a:pt x="45" y="167"/>
                  </a:lnTo>
                  <a:lnTo>
                    <a:pt x="51" y="166"/>
                  </a:lnTo>
                  <a:lnTo>
                    <a:pt x="56" y="160"/>
                  </a:lnTo>
                  <a:lnTo>
                    <a:pt x="63" y="155"/>
                  </a:lnTo>
                  <a:lnTo>
                    <a:pt x="72" y="146"/>
                  </a:lnTo>
                  <a:lnTo>
                    <a:pt x="81" y="135"/>
                  </a:lnTo>
                  <a:lnTo>
                    <a:pt x="85" y="129"/>
                  </a:lnTo>
                  <a:lnTo>
                    <a:pt x="89" y="122"/>
                  </a:lnTo>
                  <a:lnTo>
                    <a:pt x="90" y="117"/>
                  </a:lnTo>
                  <a:lnTo>
                    <a:pt x="92" y="111"/>
                  </a:lnTo>
                  <a:lnTo>
                    <a:pt x="90" y="106"/>
                  </a:lnTo>
                  <a:lnTo>
                    <a:pt x="89" y="100"/>
                  </a:lnTo>
                  <a:lnTo>
                    <a:pt x="83" y="95"/>
                  </a:lnTo>
                  <a:lnTo>
                    <a:pt x="78" y="91"/>
                  </a:lnTo>
                  <a:lnTo>
                    <a:pt x="74" y="86"/>
                  </a:lnTo>
                  <a:lnTo>
                    <a:pt x="72" y="82"/>
                  </a:lnTo>
                  <a:lnTo>
                    <a:pt x="72" y="78"/>
                  </a:lnTo>
                  <a:lnTo>
                    <a:pt x="74" y="68"/>
                  </a:lnTo>
                  <a:lnTo>
                    <a:pt x="76" y="62"/>
                  </a:lnTo>
                  <a:lnTo>
                    <a:pt x="78" y="58"/>
                  </a:lnTo>
                  <a:lnTo>
                    <a:pt x="80" y="58"/>
                  </a:lnTo>
                  <a:lnTo>
                    <a:pt x="81" y="57"/>
                  </a:lnTo>
                  <a:lnTo>
                    <a:pt x="85" y="57"/>
                  </a:lnTo>
                  <a:lnTo>
                    <a:pt x="89" y="57"/>
                  </a:lnTo>
                  <a:lnTo>
                    <a:pt x="94" y="60"/>
                  </a:lnTo>
                  <a:lnTo>
                    <a:pt x="98" y="62"/>
                  </a:lnTo>
                  <a:lnTo>
                    <a:pt x="100" y="68"/>
                  </a:lnTo>
                  <a:lnTo>
                    <a:pt x="105" y="73"/>
                  </a:lnTo>
                  <a:lnTo>
                    <a:pt x="109" y="80"/>
                  </a:lnTo>
                  <a:lnTo>
                    <a:pt x="112" y="91"/>
                  </a:lnTo>
                  <a:lnTo>
                    <a:pt x="114" y="98"/>
                  </a:lnTo>
                  <a:lnTo>
                    <a:pt x="116" y="102"/>
                  </a:lnTo>
                  <a:lnTo>
                    <a:pt x="116" y="104"/>
                  </a:lnTo>
                  <a:lnTo>
                    <a:pt x="118" y="106"/>
                  </a:lnTo>
                  <a:lnTo>
                    <a:pt x="121" y="107"/>
                  </a:lnTo>
                  <a:lnTo>
                    <a:pt x="125" y="107"/>
                  </a:lnTo>
                  <a:lnTo>
                    <a:pt x="127" y="107"/>
                  </a:lnTo>
                  <a:lnTo>
                    <a:pt x="130" y="106"/>
                  </a:lnTo>
                  <a:lnTo>
                    <a:pt x="134" y="104"/>
                  </a:lnTo>
                  <a:lnTo>
                    <a:pt x="136" y="102"/>
                  </a:lnTo>
                  <a:lnTo>
                    <a:pt x="139" y="98"/>
                  </a:lnTo>
                  <a:lnTo>
                    <a:pt x="132" y="87"/>
                  </a:lnTo>
                  <a:lnTo>
                    <a:pt x="125" y="75"/>
                  </a:lnTo>
                  <a:lnTo>
                    <a:pt x="121" y="69"/>
                  </a:lnTo>
                  <a:lnTo>
                    <a:pt x="118" y="64"/>
                  </a:lnTo>
                  <a:lnTo>
                    <a:pt x="112" y="58"/>
                  </a:lnTo>
                  <a:lnTo>
                    <a:pt x="107" y="55"/>
                  </a:lnTo>
                  <a:lnTo>
                    <a:pt x="101" y="53"/>
                  </a:lnTo>
                  <a:lnTo>
                    <a:pt x="96" y="49"/>
                  </a:lnTo>
                  <a:lnTo>
                    <a:pt x="81" y="46"/>
                  </a:lnTo>
                  <a:lnTo>
                    <a:pt x="85" y="44"/>
                  </a:lnTo>
                  <a:lnTo>
                    <a:pt x="87" y="44"/>
                  </a:lnTo>
                  <a:lnTo>
                    <a:pt x="87" y="42"/>
                  </a:lnTo>
                  <a:lnTo>
                    <a:pt x="85" y="38"/>
                  </a:lnTo>
                  <a:lnTo>
                    <a:pt x="81" y="35"/>
                  </a:lnTo>
                  <a:lnTo>
                    <a:pt x="78" y="31"/>
                  </a:lnTo>
                  <a:lnTo>
                    <a:pt x="76" y="28"/>
                  </a:lnTo>
                  <a:lnTo>
                    <a:pt x="74" y="24"/>
                  </a:lnTo>
                  <a:lnTo>
                    <a:pt x="72" y="22"/>
                  </a:lnTo>
                  <a:lnTo>
                    <a:pt x="71" y="15"/>
                  </a:lnTo>
                  <a:lnTo>
                    <a:pt x="69" y="0"/>
                  </a:lnTo>
                  <a:close/>
                </a:path>
              </a:pathLst>
            </a:custGeom>
            <a:solidFill>
              <a:srgbClr val="2E2E38"/>
            </a:solidFill>
            <a:ln w="3175" cap="flat" cmpd="sng" algn="ctr">
              <a:solidFill>
                <a:srgbClr val="747480"/>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646464"/>
                </a:solidFill>
                <a:effectLst/>
                <a:uLnTx/>
                <a:uFillTx/>
                <a:cs typeface="Times New Roman" panose="02020603050405020304" pitchFamily="18" charset="0"/>
              </a:endParaRPr>
            </a:p>
          </p:txBody>
        </p:sp>
        <p:sp>
          <p:nvSpPr>
            <p:cNvPr id="54" name="Freeform 110">
              <a:extLst>
                <a:ext uri="{FF2B5EF4-FFF2-40B4-BE49-F238E27FC236}">
                  <a16:creationId xmlns:a16="http://schemas.microsoft.com/office/drawing/2014/main" id="{6D658E5F-C9CA-FCDD-E998-33D0D0E72CD9}"/>
                </a:ext>
              </a:extLst>
            </p:cNvPr>
            <p:cNvSpPr>
              <a:spLocks/>
            </p:cNvSpPr>
            <p:nvPr/>
          </p:nvSpPr>
          <p:spPr bwMode="auto">
            <a:xfrm>
              <a:off x="6595578" y="4200683"/>
              <a:ext cx="269240" cy="135534"/>
            </a:xfrm>
            <a:custGeom>
              <a:avLst/>
              <a:gdLst/>
              <a:ahLst/>
              <a:cxnLst>
                <a:cxn ang="0">
                  <a:pos x="356" y="7"/>
                </a:cxn>
                <a:cxn ang="0">
                  <a:pos x="341" y="16"/>
                </a:cxn>
                <a:cxn ang="0">
                  <a:pos x="334" y="26"/>
                </a:cxn>
                <a:cxn ang="0">
                  <a:pos x="327" y="27"/>
                </a:cxn>
                <a:cxn ang="0">
                  <a:pos x="327" y="45"/>
                </a:cxn>
                <a:cxn ang="0">
                  <a:pos x="314" y="51"/>
                </a:cxn>
                <a:cxn ang="0">
                  <a:pos x="0" y="274"/>
                </a:cxn>
                <a:cxn ang="0">
                  <a:pos x="345" y="203"/>
                </a:cxn>
                <a:cxn ang="0">
                  <a:pos x="350" y="227"/>
                </a:cxn>
                <a:cxn ang="0">
                  <a:pos x="361" y="241"/>
                </a:cxn>
                <a:cxn ang="0">
                  <a:pos x="370" y="252"/>
                </a:cxn>
                <a:cxn ang="0">
                  <a:pos x="397" y="269"/>
                </a:cxn>
                <a:cxn ang="0">
                  <a:pos x="415" y="301"/>
                </a:cxn>
                <a:cxn ang="0">
                  <a:pos x="434" y="301"/>
                </a:cxn>
                <a:cxn ang="0">
                  <a:pos x="443" y="267"/>
                </a:cxn>
                <a:cxn ang="0">
                  <a:pos x="457" y="245"/>
                </a:cxn>
                <a:cxn ang="0">
                  <a:pos x="474" y="240"/>
                </a:cxn>
                <a:cxn ang="0">
                  <a:pos x="479" y="252"/>
                </a:cxn>
                <a:cxn ang="0">
                  <a:pos x="481" y="267"/>
                </a:cxn>
                <a:cxn ang="0">
                  <a:pos x="504" y="267"/>
                </a:cxn>
                <a:cxn ang="0">
                  <a:pos x="513" y="252"/>
                </a:cxn>
                <a:cxn ang="0">
                  <a:pos x="561" y="234"/>
                </a:cxn>
                <a:cxn ang="0">
                  <a:pos x="584" y="220"/>
                </a:cxn>
                <a:cxn ang="0">
                  <a:pos x="584" y="187"/>
                </a:cxn>
                <a:cxn ang="0">
                  <a:pos x="572" y="158"/>
                </a:cxn>
                <a:cxn ang="0">
                  <a:pos x="559" y="145"/>
                </a:cxn>
                <a:cxn ang="0">
                  <a:pos x="537" y="140"/>
                </a:cxn>
                <a:cxn ang="0">
                  <a:pos x="537" y="147"/>
                </a:cxn>
                <a:cxn ang="0">
                  <a:pos x="552" y="162"/>
                </a:cxn>
                <a:cxn ang="0">
                  <a:pos x="561" y="183"/>
                </a:cxn>
                <a:cxn ang="0">
                  <a:pos x="553" y="202"/>
                </a:cxn>
                <a:cxn ang="0">
                  <a:pos x="537" y="214"/>
                </a:cxn>
                <a:cxn ang="0">
                  <a:pos x="515" y="216"/>
                </a:cxn>
                <a:cxn ang="0">
                  <a:pos x="492" y="207"/>
                </a:cxn>
                <a:cxn ang="0">
                  <a:pos x="470" y="185"/>
                </a:cxn>
                <a:cxn ang="0">
                  <a:pos x="459" y="178"/>
                </a:cxn>
                <a:cxn ang="0">
                  <a:pos x="455" y="169"/>
                </a:cxn>
                <a:cxn ang="0">
                  <a:pos x="439" y="149"/>
                </a:cxn>
                <a:cxn ang="0">
                  <a:pos x="414" y="140"/>
                </a:cxn>
                <a:cxn ang="0">
                  <a:pos x="388" y="134"/>
                </a:cxn>
                <a:cxn ang="0">
                  <a:pos x="383" y="122"/>
                </a:cxn>
                <a:cxn ang="0">
                  <a:pos x="385" y="98"/>
                </a:cxn>
                <a:cxn ang="0">
                  <a:pos x="394" y="82"/>
                </a:cxn>
                <a:cxn ang="0">
                  <a:pos x="397" y="71"/>
                </a:cxn>
                <a:cxn ang="0">
                  <a:pos x="405" y="60"/>
                </a:cxn>
                <a:cxn ang="0">
                  <a:pos x="415" y="49"/>
                </a:cxn>
                <a:cxn ang="0">
                  <a:pos x="410" y="35"/>
                </a:cxn>
                <a:cxn ang="0">
                  <a:pos x="390" y="20"/>
                </a:cxn>
              </a:cxnLst>
              <a:rect l="0" t="0" r="r" b="b"/>
              <a:pathLst>
                <a:path w="588" h="303">
                  <a:moveTo>
                    <a:pt x="381" y="0"/>
                  </a:moveTo>
                  <a:lnTo>
                    <a:pt x="372" y="2"/>
                  </a:lnTo>
                  <a:lnTo>
                    <a:pt x="359" y="4"/>
                  </a:lnTo>
                  <a:lnTo>
                    <a:pt x="356" y="7"/>
                  </a:lnTo>
                  <a:lnTo>
                    <a:pt x="350" y="15"/>
                  </a:lnTo>
                  <a:lnTo>
                    <a:pt x="347" y="13"/>
                  </a:lnTo>
                  <a:lnTo>
                    <a:pt x="345" y="13"/>
                  </a:lnTo>
                  <a:lnTo>
                    <a:pt x="341" y="16"/>
                  </a:lnTo>
                  <a:lnTo>
                    <a:pt x="341" y="18"/>
                  </a:lnTo>
                  <a:lnTo>
                    <a:pt x="341" y="22"/>
                  </a:lnTo>
                  <a:lnTo>
                    <a:pt x="341" y="24"/>
                  </a:lnTo>
                  <a:lnTo>
                    <a:pt x="334" y="26"/>
                  </a:lnTo>
                  <a:lnTo>
                    <a:pt x="332" y="26"/>
                  </a:lnTo>
                  <a:lnTo>
                    <a:pt x="330" y="26"/>
                  </a:lnTo>
                  <a:lnTo>
                    <a:pt x="328" y="27"/>
                  </a:lnTo>
                  <a:lnTo>
                    <a:pt x="327" y="27"/>
                  </a:lnTo>
                  <a:lnTo>
                    <a:pt x="327" y="29"/>
                  </a:lnTo>
                  <a:lnTo>
                    <a:pt x="325" y="33"/>
                  </a:lnTo>
                  <a:lnTo>
                    <a:pt x="327" y="36"/>
                  </a:lnTo>
                  <a:lnTo>
                    <a:pt x="327" y="45"/>
                  </a:lnTo>
                  <a:lnTo>
                    <a:pt x="321" y="44"/>
                  </a:lnTo>
                  <a:lnTo>
                    <a:pt x="317" y="45"/>
                  </a:lnTo>
                  <a:lnTo>
                    <a:pt x="316" y="47"/>
                  </a:lnTo>
                  <a:lnTo>
                    <a:pt x="314" y="51"/>
                  </a:lnTo>
                  <a:lnTo>
                    <a:pt x="314" y="56"/>
                  </a:lnTo>
                  <a:lnTo>
                    <a:pt x="129" y="96"/>
                  </a:lnTo>
                  <a:lnTo>
                    <a:pt x="7" y="124"/>
                  </a:lnTo>
                  <a:lnTo>
                    <a:pt x="0" y="274"/>
                  </a:lnTo>
                  <a:lnTo>
                    <a:pt x="7" y="278"/>
                  </a:lnTo>
                  <a:lnTo>
                    <a:pt x="258" y="222"/>
                  </a:lnTo>
                  <a:lnTo>
                    <a:pt x="276" y="220"/>
                  </a:lnTo>
                  <a:lnTo>
                    <a:pt x="345" y="203"/>
                  </a:lnTo>
                  <a:lnTo>
                    <a:pt x="347" y="211"/>
                  </a:lnTo>
                  <a:lnTo>
                    <a:pt x="347" y="218"/>
                  </a:lnTo>
                  <a:lnTo>
                    <a:pt x="348" y="225"/>
                  </a:lnTo>
                  <a:lnTo>
                    <a:pt x="350" y="227"/>
                  </a:lnTo>
                  <a:lnTo>
                    <a:pt x="352" y="231"/>
                  </a:lnTo>
                  <a:lnTo>
                    <a:pt x="354" y="234"/>
                  </a:lnTo>
                  <a:lnTo>
                    <a:pt x="357" y="238"/>
                  </a:lnTo>
                  <a:lnTo>
                    <a:pt x="361" y="241"/>
                  </a:lnTo>
                  <a:lnTo>
                    <a:pt x="363" y="245"/>
                  </a:lnTo>
                  <a:lnTo>
                    <a:pt x="361" y="247"/>
                  </a:lnTo>
                  <a:lnTo>
                    <a:pt x="357" y="249"/>
                  </a:lnTo>
                  <a:lnTo>
                    <a:pt x="370" y="252"/>
                  </a:lnTo>
                  <a:lnTo>
                    <a:pt x="374" y="254"/>
                  </a:lnTo>
                  <a:lnTo>
                    <a:pt x="383" y="258"/>
                  </a:lnTo>
                  <a:lnTo>
                    <a:pt x="390" y="263"/>
                  </a:lnTo>
                  <a:lnTo>
                    <a:pt x="397" y="269"/>
                  </a:lnTo>
                  <a:lnTo>
                    <a:pt x="401" y="278"/>
                  </a:lnTo>
                  <a:lnTo>
                    <a:pt x="408" y="289"/>
                  </a:lnTo>
                  <a:lnTo>
                    <a:pt x="408" y="290"/>
                  </a:lnTo>
                  <a:lnTo>
                    <a:pt x="415" y="301"/>
                  </a:lnTo>
                  <a:lnTo>
                    <a:pt x="419" y="296"/>
                  </a:lnTo>
                  <a:lnTo>
                    <a:pt x="425" y="301"/>
                  </a:lnTo>
                  <a:lnTo>
                    <a:pt x="430" y="303"/>
                  </a:lnTo>
                  <a:lnTo>
                    <a:pt x="434" y="301"/>
                  </a:lnTo>
                  <a:lnTo>
                    <a:pt x="435" y="298"/>
                  </a:lnTo>
                  <a:lnTo>
                    <a:pt x="439" y="287"/>
                  </a:lnTo>
                  <a:lnTo>
                    <a:pt x="441" y="276"/>
                  </a:lnTo>
                  <a:lnTo>
                    <a:pt x="443" y="267"/>
                  </a:lnTo>
                  <a:lnTo>
                    <a:pt x="445" y="263"/>
                  </a:lnTo>
                  <a:lnTo>
                    <a:pt x="446" y="260"/>
                  </a:lnTo>
                  <a:lnTo>
                    <a:pt x="454" y="251"/>
                  </a:lnTo>
                  <a:lnTo>
                    <a:pt x="457" y="245"/>
                  </a:lnTo>
                  <a:lnTo>
                    <a:pt x="463" y="241"/>
                  </a:lnTo>
                  <a:lnTo>
                    <a:pt x="466" y="240"/>
                  </a:lnTo>
                  <a:lnTo>
                    <a:pt x="472" y="238"/>
                  </a:lnTo>
                  <a:lnTo>
                    <a:pt x="474" y="240"/>
                  </a:lnTo>
                  <a:lnTo>
                    <a:pt x="475" y="240"/>
                  </a:lnTo>
                  <a:lnTo>
                    <a:pt x="479" y="245"/>
                  </a:lnTo>
                  <a:lnTo>
                    <a:pt x="479" y="249"/>
                  </a:lnTo>
                  <a:lnTo>
                    <a:pt x="479" y="252"/>
                  </a:lnTo>
                  <a:lnTo>
                    <a:pt x="479" y="256"/>
                  </a:lnTo>
                  <a:lnTo>
                    <a:pt x="477" y="261"/>
                  </a:lnTo>
                  <a:lnTo>
                    <a:pt x="477" y="263"/>
                  </a:lnTo>
                  <a:lnTo>
                    <a:pt x="481" y="267"/>
                  </a:lnTo>
                  <a:lnTo>
                    <a:pt x="484" y="269"/>
                  </a:lnTo>
                  <a:lnTo>
                    <a:pt x="490" y="269"/>
                  </a:lnTo>
                  <a:lnTo>
                    <a:pt x="497" y="269"/>
                  </a:lnTo>
                  <a:lnTo>
                    <a:pt x="504" y="267"/>
                  </a:lnTo>
                  <a:lnTo>
                    <a:pt x="506" y="263"/>
                  </a:lnTo>
                  <a:lnTo>
                    <a:pt x="510" y="260"/>
                  </a:lnTo>
                  <a:lnTo>
                    <a:pt x="512" y="256"/>
                  </a:lnTo>
                  <a:lnTo>
                    <a:pt x="513" y="252"/>
                  </a:lnTo>
                  <a:lnTo>
                    <a:pt x="523" y="251"/>
                  </a:lnTo>
                  <a:lnTo>
                    <a:pt x="532" y="249"/>
                  </a:lnTo>
                  <a:lnTo>
                    <a:pt x="552" y="238"/>
                  </a:lnTo>
                  <a:lnTo>
                    <a:pt x="561" y="234"/>
                  </a:lnTo>
                  <a:lnTo>
                    <a:pt x="572" y="229"/>
                  </a:lnTo>
                  <a:lnTo>
                    <a:pt x="579" y="225"/>
                  </a:lnTo>
                  <a:lnTo>
                    <a:pt x="582" y="222"/>
                  </a:lnTo>
                  <a:lnTo>
                    <a:pt x="584" y="220"/>
                  </a:lnTo>
                  <a:lnTo>
                    <a:pt x="588" y="212"/>
                  </a:lnTo>
                  <a:lnTo>
                    <a:pt x="588" y="205"/>
                  </a:lnTo>
                  <a:lnTo>
                    <a:pt x="588" y="196"/>
                  </a:lnTo>
                  <a:lnTo>
                    <a:pt x="584" y="187"/>
                  </a:lnTo>
                  <a:lnTo>
                    <a:pt x="582" y="180"/>
                  </a:lnTo>
                  <a:lnTo>
                    <a:pt x="581" y="173"/>
                  </a:lnTo>
                  <a:lnTo>
                    <a:pt x="575" y="165"/>
                  </a:lnTo>
                  <a:lnTo>
                    <a:pt x="572" y="158"/>
                  </a:lnTo>
                  <a:lnTo>
                    <a:pt x="568" y="154"/>
                  </a:lnTo>
                  <a:lnTo>
                    <a:pt x="564" y="151"/>
                  </a:lnTo>
                  <a:lnTo>
                    <a:pt x="562" y="147"/>
                  </a:lnTo>
                  <a:lnTo>
                    <a:pt x="559" y="145"/>
                  </a:lnTo>
                  <a:lnTo>
                    <a:pt x="555" y="143"/>
                  </a:lnTo>
                  <a:lnTo>
                    <a:pt x="552" y="142"/>
                  </a:lnTo>
                  <a:lnTo>
                    <a:pt x="543" y="140"/>
                  </a:lnTo>
                  <a:lnTo>
                    <a:pt x="537" y="140"/>
                  </a:lnTo>
                  <a:lnTo>
                    <a:pt x="535" y="142"/>
                  </a:lnTo>
                  <a:lnTo>
                    <a:pt x="535" y="143"/>
                  </a:lnTo>
                  <a:lnTo>
                    <a:pt x="535" y="145"/>
                  </a:lnTo>
                  <a:lnTo>
                    <a:pt x="537" y="147"/>
                  </a:lnTo>
                  <a:lnTo>
                    <a:pt x="541" y="151"/>
                  </a:lnTo>
                  <a:lnTo>
                    <a:pt x="543" y="153"/>
                  </a:lnTo>
                  <a:lnTo>
                    <a:pt x="550" y="158"/>
                  </a:lnTo>
                  <a:lnTo>
                    <a:pt x="552" y="162"/>
                  </a:lnTo>
                  <a:lnTo>
                    <a:pt x="555" y="165"/>
                  </a:lnTo>
                  <a:lnTo>
                    <a:pt x="557" y="169"/>
                  </a:lnTo>
                  <a:lnTo>
                    <a:pt x="559" y="174"/>
                  </a:lnTo>
                  <a:lnTo>
                    <a:pt x="561" y="183"/>
                  </a:lnTo>
                  <a:lnTo>
                    <a:pt x="561" y="189"/>
                  </a:lnTo>
                  <a:lnTo>
                    <a:pt x="559" y="194"/>
                  </a:lnTo>
                  <a:lnTo>
                    <a:pt x="557" y="198"/>
                  </a:lnTo>
                  <a:lnTo>
                    <a:pt x="553" y="202"/>
                  </a:lnTo>
                  <a:lnTo>
                    <a:pt x="550" y="205"/>
                  </a:lnTo>
                  <a:lnTo>
                    <a:pt x="546" y="209"/>
                  </a:lnTo>
                  <a:lnTo>
                    <a:pt x="543" y="211"/>
                  </a:lnTo>
                  <a:lnTo>
                    <a:pt x="537" y="214"/>
                  </a:lnTo>
                  <a:lnTo>
                    <a:pt x="533" y="214"/>
                  </a:lnTo>
                  <a:lnTo>
                    <a:pt x="530" y="216"/>
                  </a:lnTo>
                  <a:lnTo>
                    <a:pt x="521" y="218"/>
                  </a:lnTo>
                  <a:lnTo>
                    <a:pt x="515" y="216"/>
                  </a:lnTo>
                  <a:lnTo>
                    <a:pt x="508" y="216"/>
                  </a:lnTo>
                  <a:lnTo>
                    <a:pt x="503" y="214"/>
                  </a:lnTo>
                  <a:lnTo>
                    <a:pt x="495" y="211"/>
                  </a:lnTo>
                  <a:lnTo>
                    <a:pt x="492" y="207"/>
                  </a:lnTo>
                  <a:lnTo>
                    <a:pt x="488" y="205"/>
                  </a:lnTo>
                  <a:lnTo>
                    <a:pt x="481" y="198"/>
                  </a:lnTo>
                  <a:lnTo>
                    <a:pt x="474" y="189"/>
                  </a:lnTo>
                  <a:lnTo>
                    <a:pt x="470" y="185"/>
                  </a:lnTo>
                  <a:lnTo>
                    <a:pt x="466" y="182"/>
                  </a:lnTo>
                  <a:lnTo>
                    <a:pt x="463" y="180"/>
                  </a:lnTo>
                  <a:lnTo>
                    <a:pt x="461" y="180"/>
                  </a:lnTo>
                  <a:lnTo>
                    <a:pt x="459" y="178"/>
                  </a:lnTo>
                  <a:lnTo>
                    <a:pt x="455" y="176"/>
                  </a:lnTo>
                  <a:lnTo>
                    <a:pt x="455" y="174"/>
                  </a:lnTo>
                  <a:lnTo>
                    <a:pt x="455" y="173"/>
                  </a:lnTo>
                  <a:lnTo>
                    <a:pt x="455" y="169"/>
                  </a:lnTo>
                  <a:lnTo>
                    <a:pt x="455" y="167"/>
                  </a:lnTo>
                  <a:lnTo>
                    <a:pt x="450" y="160"/>
                  </a:lnTo>
                  <a:lnTo>
                    <a:pt x="445" y="154"/>
                  </a:lnTo>
                  <a:lnTo>
                    <a:pt x="439" y="149"/>
                  </a:lnTo>
                  <a:lnTo>
                    <a:pt x="434" y="145"/>
                  </a:lnTo>
                  <a:lnTo>
                    <a:pt x="428" y="143"/>
                  </a:lnTo>
                  <a:lnTo>
                    <a:pt x="425" y="142"/>
                  </a:lnTo>
                  <a:lnTo>
                    <a:pt x="414" y="140"/>
                  </a:lnTo>
                  <a:lnTo>
                    <a:pt x="401" y="138"/>
                  </a:lnTo>
                  <a:lnTo>
                    <a:pt x="394" y="138"/>
                  </a:lnTo>
                  <a:lnTo>
                    <a:pt x="390" y="136"/>
                  </a:lnTo>
                  <a:lnTo>
                    <a:pt x="388" y="134"/>
                  </a:lnTo>
                  <a:lnTo>
                    <a:pt x="386" y="133"/>
                  </a:lnTo>
                  <a:lnTo>
                    <a:pt x="385" y="129"/>
                  </a:lnTo>
                  <a:lnTo>
                    <a:pt x="383" y="125"/>
                  </a:lnTo>
                  <a:lnTo>
                    <a:pt x="383" y="122"/>
                  </a:lnTo>
                  <a:lnTo>
                    <a:pt x="383" y="116"/>
                  </a:lnTo>
                  <a:lnTo>
                    <a:pt x="385" y="111"/>
                  </a:lnTo>
                  <a:lnTo>
                    <a:pt x="385" y="107"/>
                  </a:lnTo>
                  <a:lnTo>
                    <a:pt x="385" y="98"/>
                  </a:lnTo>
                  <a:lnTo>
                    <a:pt x="386" y="93"/>
                  </a:lnTo>
                  <a:lnTo>
                    <a:pt x="388" y="87"/>
                  </a:lnTo>
                  <a:lnTo>
                    <a:pt x="390" y="84"/>
                  </a:lnTo>
                  <a:lnTo>
                    <a:pt x="394" y="82"/>
                  </a:lnTo>
                  <a:lnTo>
                    <a:pt x="397" y="78"/>
                  </a:lnTo>
                  <a:lnTo>
                    <a:pt x="399" y="76"/>
                  </a:lnTo>
                  <a:lnTo>
                    <a:pt x="399" y="75"/>
                  </a:lnTo>
                  <a:lnTo>
                    <a:pt x="397" y="71"/>
                  </a:lnTo>
                  <a:lnTo>
                    <a:pt x="396" y="69"/>
                  </a:lnTo>
                  <a:lnTo>
                    <a:pt x="394" y="67"/>
                  </a:lnTo>
                  <a:lnTo>
                    <a:pt x="399" y="65"/>
                  </a:lnTo>
                  <a:lnTo>
                    <a:pt x="405" y="60"/>
                  </a:lnTo>
                  <a:lnTo>
                    <a:pt x="406" y="58"/>
                  </a:lnTo>
                  <a:lnTo>
                    <a:pt x="410" y="55"/>
                  </a:lnTo>
                  <a:lnTo>
                    <a:pt x="414" y="49"/>
                  </a:lnTo>
                  <a:lnTo>
                    <a:pt x="415" y="49"/>
                  </a:lnTo>
                  <a:lnTo>
                    <a:pt x="417" y="42"/>
                  </a:lnTo>
                  <a:lnTo>
                    <a:pt x="419" y="36"/>
                  </a:lnTo>
                  <a:lnTo>
                    <a:pt x="417" y="36"/>
                  </a:lnTo>
                  <a:lnTo>
                    <a:pt x="410" y="35"/>
                  </a:lnTo>
                  <a:lnTo>
                    <a:pt x="403" y="33"/>
                  </a:lnTo>
                  <a:lnTo>
                    <a:pt x="397" y="29"/>
                  </a:lnTo>
                  <a:lnTo>
                    <a:pt x="394" y="26"/>
                  </a:lnTo>
                  <a:lnTo>
                    <a:pt x="390" y="20"/>
                  </a:lnTo>
                  <a:lnTo>
                    <a:pt x="386" y="13"/>
                  </a:lnTo>
                  <a:lnTo>
                    <a:pt x="381" y="0"/>
                  </a:lnTo>
                  <a:close/>
                </a:path>
              </a:pathLst>
            </a:custGeom>
            <a:solidFill>
              <a:srgbClr val="2E2E38"/>
            </a:solidFill>
            <a:ln w="3175" cap="flat" cmpd="sng" algn="ctr">
              <a:solidFill>
                <a:srgbClr val="747480"/>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646464"/>
                </a:solidFill>
                <a:effectLst/>
                <a:uLnTx/>
                <a:uFillTx/>
                <a:cs typeface="Times New Roman" panose="02020603050405020304" pitchFamily="18" charset="0"/>
              </a:endParaRPr>
            </a:p>
          </p:txBody>
        </p:sp>
        <p:sp>
          <p:nvSpPr>
            <p:cNvPr id="55" name="Freeform 112">
              <a:extLst>
                <a:ext uri="{FF2B5EF4-FFF2-40B4-BE49-F238E27FC236}">
                  <a16:creationId xmlns:a16="http://schemas.microsoft.com/office/drawing/2014/main" id="{8FDF4294-6A01-EEE0-03D9-CF83819F89CF}"/>
                </a:ext>
              </a:extLst>
            </p:cNvPr>
            <p:cNvSpPr>
              <a:spLocks/>
            </p:cNvSpPr>
            <p:nvPr/>
          </p:nvSpPr>
          <p:spPr bwMode="auto">
            <a:xfrm>
              <a:off x="6499420" y="4413791"/>
              <a:ext cx="105316" cy="244314"/>
            </a:xfrm>
            <a:custGeom>
              <a:avLst/>
              <a:gdLst/>
              <a:ahLst/>
              <a:cxnLst>
                <a:cxn ang="0">
                  <a:pos x="51" y="2"/>
                </a:cxn>
                <a:cxn ang="0">
                  <a:pos x="37" y="20"/>
                </a:cxn>
                <a:cxn ang="0">
                  <a:pos x="33" y="48"/>
                </a:cxn>
                <a:cxn ang="0">
                  <a:pos x="13" y="89"/>
                </a:cxn>
                <a:cxn ang="0">
                  <a:pos x="15" y="113"/>
                </a:cxn>
                <a:cxn ang="0">
                  <a:pos x="10" y="162"/>
                </a:cxn>
                <a:cxn ang="0">
                  <a:pos x="17" y="191"/>
                </a:cxn>
                <a:cxn ang="0">
                  <a:pos x="29" y="193"/>
                </a:cxn>
                <a:cxn ang="0">
                  <a:pos x="39" y="213"/>
                </a:cxn>
                <a:cxn ang="0">
                  <a:pos x="53" y="220"/>
                </a:cxn>
                <a:cxn ang="0">
                  <a:pos x="62" y="235"/>
                </a:cxn>
                <a:cxn ang="0">
                  <a:pos x="95" y="249"/>
                </a:cxn>
                <a:cxn ang="0">
                  <a:pos x="104" y="267"/>
                </a:cxn>
                <a:cxn ang="0">
                  <a:pos x="89" y="282"/>
                </a:cxn>
                <a:cxn ang="0">
                  <a:pos x="82" y="296"/>
                </a:cxn>
                <a:cxn ang="0">
                  <a:pos x="66" y="303"/>
                </a:cxn>
                <a:cxn ang="0">
                  <a:pos x="62" y="323"/>
                </a:cxn>
                <a:cxn ang="0">
                  <a:pos x="37" y="343"/>
                </a:cxn>
                <a:cxn ang="0">
                  <a:pos x="22" y="358"/>
                </a:cxn>
                <a:cxn ang="0">
                  <a:pos x="6" y="389"/>
                </a:cxn>
                <a:cxn ang="0">
                  <a:pos x="4" y="409"/>
                </a:cxn>
                <a:cxn ang="0">
                  <a:pos x="11" y="427"/>
                </a:cxn>
                <a:cxn ang="0">
                  <a:pos x="13" y="441"/>
                </a:cxn>
                <a:cxn ang="0">
                  <a:pos x="49" y="463"/>
                </a:cxn>
                <a:cxn ang="0">
                  <a:pos x="71" y="472"/>
                </a:cxn>
                <a:cxn ang="0">
                  <a:pos x="89" y="485"/>
                </a:cxn>
                <a:cxn ang="0">
                  <a:pos x="117" y="487"/>
                </a:cxn>
                <a:cxn ang="0">
                  <a:pos x="129" y="494"/>
                </a:cxn>
                <a:cxn ang="0">
                  <a:pos x="131" y="509"/>
                </a:cxn>
                <a:cxn ang="0">
                  <a:pos x="126" y="528"/>
                </a:cxn>
                <a:cxn ang="0">
                  <a:pos x="126" y="548"/>
                </a:cxn>
                <a:cxn ang="0">
                  <a:pos x="146" y="538"/>
                </a:cxn>
                <a:cxn ang="0">
                  <a:pos x="160" y="507"/>
                </a:cxn>
                <a:cxn ang="0">
                  <a:pos x="167" y="461"/>
                </a:cxn>
                <a:cxn ang="0">
                  <a:pos x="193" y="429"/>
                </a:cxn>
                <a:cxn ang="0">
                  <a:pos x="196" y="414"/>
                </a:cxn>
                <a:cxn ang="0">
                  <a:pos x="195" y="398"/>
                </a:cxn>
                <a:cxn ang="0">
                  <a:pos x="213" y="376"/>
                </a:cxn>
                <a:cxn ang="0">
                  <a:pos x="220" y="349"/>
                </a:cxn>
                <a:cxn ang="0">
                  <a:pos x="225" y="271"/>
                </a:cxn>
                <a:cxn ang="0">
                  <a:pos x="231" y="233"/>
                </a:cxn>
                <a:cxn ang="0">
                  <a:pos x="225" y="187"/>
                </a:cxn>
                <a:cxn ang="0">
                  <a:pos x="211" y="178"/>
                </a:cxn>
                <a:cxn ang="0">
                  <a:pos x="184" y="178"/>
                </a:cxn>
                <a:cxn ang="0">
                  <a:pos x="171" y="173"/>
                </a:cxn>
                <a:cxn ang="0">
                  <a:pos x="169" y="149"/>
                </a:cxn>
                <a:cxn ang="0">
                  <a:pos x="191" y="111"/>
                </a:cxn>
                <a:cxn ang="0">
                  <a:pos x="200" y="66"/>
                </a:cxn>
                <a:cxn ang="0">
                  <a:pos x="191" y="49"/>
                </a:cxn>
                <a:cxn ang="0">
                  <a:pos x="120" y="26"/>
                </a:cxn>
                <a:cxn ang="0">
                  <a:pos x="68" y="2"/>
                </a:cxn>
                <a:cxn ang="0">
                  <a:pos x="62" y="0"/>
                </a:cxn>
              </a:cxnLst>
              <a:rect l="0" t="0" r="r" b="b"/>
              <a:pathLst>
                <a:path w="231" h="548">
                  <a:moveTo>
                    <a:pt x="57" y="0"/>
                  </a:moveTo>
                  <a:lnTo>
                    <a:pt x="53" y="0"/>
                  </a:lnTo>
                  <a:lnTo>
                    <a:pt x="53" y="2"/>
                  </a:lnTo>
                  <a:lnTo>
                    <a:pt x="51" y="2"/>
                  </a:lnTo>
                  <a:lnTo>
                    <a:pt x="46" y="6"/>
                  </a:lnTo>
                  <a:lnTo>
                    <a:pt x="42" y="9"/>
                  </a:lnTo>
                  <a:lnTo>
                    <a:pt x="39" y="15"/>
                  </a:lnTo>
                  <a:lnTo>
                    <a:pt x="37" y="20"/>
                  </a:lnTo>
                  <a:lnTo>
                    <a:pt x="39" y="33"/>
                  </a:lnTo>
                  <a:lnTo>
                    <a:pt x="39" y="37"/>
                  </a:lnTo>
                  <a:lnTo>
                    <a:pt x="37" y="42"/>
                  </a:lnTo>
                  <a:lnTo>
                    <a:pt x="33" y="48"/>
                  </a:lnTo>
                  <a:lnTo>
                    <a:pt x="28" y="60"/>
                  </a:lnTo>
                  <a:lnTo>
                    <a:pt x="17" y="78"/>
                  </a:lnTo>
                  <a:lnTo>
                    <a:pt x="13" y="86"/>
                  </a:lnTo>
                  <a:lnTo>
                    <a:pt x="13" y="89"/>
                  </a:lnTo>
                  <a:lnTo>
                    <a:pt x="13" y="95"/>
                  </a:lnTo>
                  <a:lnTo>
                    <a:pt x="13" y="102"/>
                  </a:lnTo>
                  <a:lnTo>
                    <a:pt x="13" y="107"/>
                  </a:lnTo>
                  <a:lnTo>
                    <a:pt x="15" y="113"/>
                  </a:lnTo>
                  <a:lnTo>
                    <a:pt x="13" y="126"/>
                  </a:lnTo>
                  <a:lnTo>
                    <a:pt x="11" y="138"/>
                  </a:lnTo>
                  <a:lnTo>
                    <a:pt x="10" y="149"/>
                  </a:lnTo>
                  <a:lnTo>
                    <a:pt x="10" y="162"/>
                  </a:lnTo>
                  <a:lnTo>
                    <a:pt x="10" y="169"/>
                  </a:lnTo>
                  <a:lnTo>
                    <a:pt x="11" y="178"/>
                  </a:lnTo>
                  <a:lnTo>
                    <a:pt x="13" y="186"/>
                  </a:lnTo>
                  <a:lnTo>
                    <a:pt x="17" y="191"/>
                  </a:lnTo>
                  <a:lnTo>
                    <a:pt x="19" y="195"/>
                  </a:lnTo>
                  <a:lnTo>
                    <a:pt x="24" y="193"/>
                  </a:lnTo>
                  <a:lnTo>
                    <a:pt x="26" y="191"/>
                  </a:lnTo>
                  <a:lnTo>
                    <a:pt x="29" y="193"/>
                  </a:lnTo>
                  <a:lnTo>
                    <a:pt x="31" y="195"/>
                  </a:lnTo>
                  <a:lnTo>
                    <a:pt x="33" y="200"/>
                  </a:lnTo>
                  <a:lnTo>
                    <a:pt x="35" y="207"/>
                  </a:lnTo>
                  <a:lnTo>
                    <a:pt x="39" y="213"/>
                  </a:lnTo>
                  <a:lnTo>
                    <a:pt x="42" y="216"/>
                  </a:lnTo>
                  <a:lnTo>
                    <a:pt x="46" y="218"/>
                  </a:lnTo>
                  <a:lnTo>
                    <a:pt x="51" y="218"/>
                  </a:lnTo>
                  <a:lnTo>
                    <a:pt x="53" y="220"/>
                  </a:lnTo>
                  <a:lnTo>
                    <a:pt x="57" y="224"/>
                  </a:lnTo>
                  <a:lnTo>
                    <a:pt x="59" y="227"/>
                  </a:lnTo>
                  <a:lnTo>
                    <a:pt x="60" y="233"/>
                  </a:lnTo>
                  <a:lnTo>
                    <a:pt x="62" y="235"/>
                  </a:lnTo>
                  <a:lnTo>
                    <a:pt x="68" y="238"/>
                  </a:lnTo>
                  <a:lnTo>
                    <a:pt x="73" y="242"/>
                  </a:lnTo>
                  <a:lnTo>
                    <a:pt x="88" y="247"/>
                  </a:lnTo>
                  <a:lnTo>
                    <a:pt x="95" y="249"/>
                  </a:lnTo>
                  <a:lnTo>
                    <a:pt x="100" y="253"/>
                  </a:lnTo>
                  <a:lnTo>
                    <a:pt x="104" y="256"/>
                  </a:lnTo>
                  <a:lnTo>
                    <a:pt x="104" y="264"/>
                  </a:lnTo>
                  <a:lnTo>
                    <a:pt x="104" y="267"/>
                  </a:lnTo>
                  <a:lnTo>
                    <a:pt x="102" y="273"/>
                  </a:lnTo>
                  <a:lnTo>
                    <a:pt x="100" y="274"/>
                  </a:lnTo>
                  <a:lnTo>
                    <a:pt x="97" y="276"/>
                  </a:lnTo>
                  <a:lnTo>
                    <a:pt x="89" y="282"/>
                  </a:lnTo>
                  <a:lnTo>
                    <a:pt x="88" y="285"/>
                  </a:lnTo>
                  <a:lnTo>
                    <a:pt x="86" y="289"/>
                  </a:lnTo>
                  <a:lnTo>
                    <a:pt x="86" y="293"/>
                  </a:lnTo>
                  <a:lnTo>
                    <a:pt x="82" y="296"/>
                  </a:lnTo>
                  <a:lnTo>
                    <a:pt x="78" y="298"/>
                  </a:lnTo>
                  <a:lnTo>
                    <a:pt x="73" y="300"/>
                  </a:lnTo>
                  <a:lnTo>
                    <a:pt x="69" y="302"/>
                  </a:lnTo>
                  <a:lnTo>
                    <a:pt x="66" y="303"/>
                  </a:lnTo>
                  <a:lnTo>
                    <a:pt x="62" y="307"/>
                  </a:lnTo>
                  <a:lnTo>
                    <a:pt x="62" y="311"/>
                  </a:lnTo>
                  <a:lnTo>
                    <a:pt x="62" y="316"/>
                  </a:lnTo>
                  <a:lnTo>
                    <a:pt x="62" y="323"/>
                  </a:lnTo>
                  <a:lnTo>
                    <a:pt x="57" y="329"/>
                  </a:lnTo>
                  <a:lnTo>
                    <a:pt x="51" y="334"/>
                  </a:lnTo>
                  <a:lnTo>
                    <a:pt x="44" y="340"/>
                  </a:lnTo>
                  <a:lnTo>
                    <a:pt x="37" y="343"/>
                  </a:lnTo>
                  <a:lnTo>
                    <a:pt x="29" y="349"/>
                  </a:lnTo>
                  <a:lnTo>
                    <a:pt x="20" y="352"/>
                  </a:lnTo>
                  <a:lnTo>
                    <a:pt x="22" y="354"/>
                  </a:lnTo>
                  <a:lnTo>
                    <a:pt x="22" y="358"/>
                  </a:lnTo>
                  <a:lnTo>
                    <a:pt x="20" y="362"/>
                  </a:lnTo>
                  <a:lnTo>
                    <a:pt x="17" y="367"/>
                  </a:lnTo>
                  <a:lnTo>
                    <a:pt x="11" y="378"/>
                  </a:lnTo>
                  <a:lnTo>
                    <a:pt x="6" y="389"/>
                  </a:lnTo>
                  <a:lnTo>
                    <a:pt x="2" y="400"/>
                  </a:lnTo>
                  <a:lnTo>
                    <a:pt x="0" y="405"/>
                  </a:lnTo>
                  <a:lnTo>
                    <a:pt x="2" y="407"/>
                  </a:lnTo>
                  <a:lnTo>
                    <a:pt x="4" y="409"/>
                  </a:lnTo>
                  <a:lnTo>
                    <a:pt x="6" y="412"/>
                  </a:lnTo>
                  <a:lnTo>
                    <a:pt x="10" y="414"/>
                  </a:lnTo>
                  <a:lnTo>
                    <a:pt x="10" y="421"/>
                  </a:lnTo>
                  <a:lnTo>
                    <a:pt x="11" y="427"/>
                  </a:lnTo>
                  <a:lnTo>
                    <a:pt x="11" y="429"/>
                  </a:lnTo>
                  <a:lnTo>
                    <a:pt x="11" y="436"/>
                  </a:lnTo>
                  <a:lnTo>
                    <a:pt x="11" y="438"/>
                  </a:lnTo>
                  <a:lnTo>
                    <a:pt x="13" y="441"/>
                  </a:lnTo>
                  <a:lnTo>
                    <a:pt x="19" y="447"/>
                  </a:lnTo>
                  <a:lnTo>
                    <a:pt x="26" y="452"/>
                  </a:lnTo>
                  <a:lnTo>
                    <a:pt x="42" y="460"/>
                  </a:lnTo>
                  <a:lnTo>
                    <a:pt x="49" y="463"/>
                  </a:lnTo>
                  <a:lnTo>
                    <a:pt x="55" y="467"/>
                  </a:lnTo>
                  <a:lnTo>
                    <a:pt x="62" y="469"/>
                  </a:lnTo>
                  <a:lnTo>
                    <a:pt x="68" y="470"/>
                  </a:lnTo>
                  <a:lnTo>
                    <a:pt x="71" y="472"/>
                  </a:lnTo>
                  <a:lnTo>
                    <a:pt x="73" y="474"/>
                  </a:lnTo>
                  <a:lnTo>
                    <a:pt x="78" y="479"/>
                  </a:lnTo>
                  <a:lnTo>
                    <a:pt x="82" y="483"/>
                  </a:lnTo>
                  <a:lnTo>
                    <a:pt x="89" y="485"/>
                  </a:lnTo>
                  <a:lnTo>
                    <a:pt x="98" y="485"/>
                  </a:lnTo>
                  <a:lnTo>
                    <a:pt x="102" y="485"/>
                  </a:lnTo>
                  <a:lnTo>
                    <a:pt x="107" y="485"/>
                  </a:lnTo>
                  <a:lnTo>
                    <a:pt x="117" y="487"/>
                  </a:lnTo>
                  <a:lnTo>
                    <a:pt x="120" y="487"/>
                  </a:lnTo>
                  <a:lnTo>
                    <a:pt x="124" y="489"/>
                  </a:lnTo>
                  <a:lnTo>
                    <a:pt x="127" y="490"/>
                  </a:lnTo>
                  <a:lnTo>
                    <a:pt x="129" y="494"/>
                  </a:lnTo>
                  <a:lnTo>
                    <a:pt x="129" y="496"/>
                  </a:lnTo>
                  <a:lnTo>
                    <a:pt x="131" y="498"/>
                  </a:lnTo>
                  <a:lnTo>
                    <a:pt x="131" y="503"/>
                  </a:lnTo>
                  <a:lnTo>
                    <a:pt x="131" y="509"/>
                  </a:lnTo>
                  <a:lnTo>
                    <a:pt x="129" y="514"/>
                  </a:lnTo>
                  <a:lnTo>
                    <a:pt x="127" y="521"/>
                  </a:lnTo>
                  <a:lnTo>
                    <a:pt x="126" y="527"/>
                  </a:lnTo>
                  <a:lnTo>
                    <a:pt x="126" y="528"/>
                  </a:lnTo>
                  <a:lnTo>
                    <a:pt x="126" y="536"/>
                  </a:lnTo>
                  <a:lnTo>
                    <a:pt x="126" y="539"/>
                  </a:lnTo>
                  <a:lnTo>
                    <a:pt x="126" y="545"/>
                  </a:lnTo>
                  <a:lnTo>
                    <a:pt x="126" y="548"/>
                  </a:lnTo>
                  <a:lnTo>
                    <a:pt x="133" y="548"/>
                  </a:lnTo>
                  <a:lnTo>
                    <a:pt x="138" y="545"/>
                  </a:lnTo>
                  <a:lnTo>
                    <a:pt x="140" y="543"/>
                  </a:lnTo>
                  <a:lnTo>
                    <a:pt x="146" y="538"/>
                  </a:lnTo>
                  <a:lnTo>
                    <a:pt x="149" y="534"/>
                  </a:lnTo>
                  <a:lnTo>
                    <a:pt x="151" y="528"/>
                  </a:lnTo>
                  <a:lnTo>
                    <a:pt x="156" y="518"/>
                  </a:lnTo>
                  <a:lnTo>
                    <a:pt x="160" y="507"/>
                  </a:lnTo>
                  <a:lnTo>
                    <a:pt x="164" y="496"/>
                  </a:lnTo>
                  <a:lnTo>
                    <a:pt x="166" y="483"/>
                  </a:lnTo>
                  <a:lnTo>
                    <a:pt x="167" y="472"/>
                  </a:lnTo>
                  <a:lnTo>
                    <a:pt x="167" y="461"/>
                  </a:lnTo>
                  <a:lnTo>
                    <a:pt x="167" y="449"/>
                  </a:lnTo>
                  <a:lnTo>
                    <a:pt x="176" y="445"/>
                  </a:lnTo>
                  <a:lnTo>
                    <a:pt x="186" y="438"/>
                  </a:lnTo>
                  <a:lnTo>
                    <a:pt x="193" y="429"/>
                  </a:lnTo>
                  <a:lnTo>
                    <a:pt x="196" y="425"/>
                  </a:lnTo>
                  <a:lnTo>
                    <a:pt x="196" y="420"/>
                  </a:lnTo>
                  <a:lnTo>
                    <a:pt x="196" y="418"/>
                  </a:lnTo>
                  <a:lnTo>
                    <a:pt x="196" y="414"/>
                  </a:lnTo>
                  <a:lnTo>
                    <a:pt x="195" y="411"/>
                  </a:lnTo>
                  <a:lnTo>
                    <a:pt x="195" y="405"/>
                  </a:lnTo>
                  <a:lnTo>
                    <a:pt x="193" y="401"/>
                  </a:lnTo>
                  <a:lnTo>
                    <a:pt x="195" y="398"/>
                  </a:lnTo>
                  <a:lnTo>
                    <a:pt x="196" y="392"/>
                  </a:lnTo>
                  <a:lnTo>
                    <a:pt x="202" y="387"/>
                  </a:lnTo>
                  <a:lnTo>
                    <a:pt x="207" y="382"/>
                  </a:lnTo>
                  <a:lnTo>
                    <a:pt x="213" y="376"/>
                  </a:lnTo>
                  <a:lnTo>
                    <a:pt x="216" y="369"/>
                  </a:lnTo>
                  <a:lnTo>
                    <a:pt x="218" y="363"/>
                  </a:lnTo>
                  <a:lnTo>
                    <a:pt x="220" y="356"/>
                  </a:lnTo>
                  <a:lnTo>
                    <a:pt x="220" y="349"/>
                  </a:lnTo>
                  <a:lnTo>
                    <a:pt x="222" y="320"/>
                  </a:lnTo>
                  <a:lnTo>
                    <a:pt x="224" y="302"/>
                  </a:lnTo>
                  <a:lnTo>
                    <a:pt x="224" y="287"/>
                  </a:lnTo>
                  <a:lnTo>
                    <a:pt x="225" y="271"/>
                  </a:lnTo>
                  <a:lnTo>
                    <a:pt x="225" y="264"/>
                  </a:lnTo>
                  <a:lnTo>
                    <a:pt x="227" y="254"/>
                  </a:lnTo>
                  <a:lnTo>
                    <a:pt x="229" y="244"/>
                  </a:lnTo>
                  <a:lnTo>
                    <a:pt x="231" y="233"/>
                  </a:lnTo>
                  <a:lnTo>
                    <a:pt x="229" y="207"/>
                  </a:lnTo>
                  <a:lnTo>
                    <a:pt x="229" y="198"/>
                  </a:lnTo>
                  <a:lnTo>
                    <a:pt x="227" y="193"/>
                  </a:lnTo>
                  <a:lnTo>
                    <a:pt x="225" y="187"/>
                  </a:lnTo>
                  <a:lnTo>
                    <a:pt x="224" y="184"/>
                  </a:lnTo>
                  <a:lnTo>
                    <a:pt x="220" y="180"/>
                  </a:lnTo>
                  <a:lnTo>
                    <a:pt x="216" y="178"/>
                  </a:lnTo>
                  <a:lnTo>
                    <a:pt x="211" y="178"/>
                  </a:lnTo>
                  <a:lnTo>
                    <a:pt x="205" y="178"/>
                  </a:lnTo>
                  <a:lnTo>
                    <a:pt x="198" y="178"/>
                  </a:lnTo>
                  <a:lnTo>
                    <a:pt x="187" y="178"/>
                  </a:lnTo>
                  <a:lnTo>
                    <a:pt x="184" y="178"/>
                  </a:lnTo>
                  <a:lnTo>
                    <a:pt x="180" y="178"/>
                  </a:lnTo>
                  <a:lnTo>
                    <a:pt x="176" y="176"/>
                  </a:lnTo>
                  <a:lnTo>
                    <a:pt x="175" y="175"/>
                  </a:lnTo>
                  <a:lnTo>
                    <a:pt x="171" y="173"/>
                  </a:lnTo>
                  <a:lnTo>
                    <a:pt x="171" y="169"/>
                  </a:lnTo>
                  <a:lnTo>
                    <a:pt x="169" y="164"/>
                  </a:lnTo>
                  <a:lnTo>
                    <a:pt x="169" y="158"/>
                  </a:lnTo>
                  <a:lnTo>
                    <a:pt x="169" y="149"/>
                  </a:lnTo>
                  <a:lnTo>
                    <a:pt x="173" y="140"/>
                  </a:lnTo>
                  <a:lnTo>
                    <a:pt x="176" y="129"/>
                  </a:lnTo>
                  <a:lnTo>
                    <a:pt x="180" y="122"/>
                  </a:lnTo>
                  <a:lnTo>
                    <a:pt x="191" y="111"/>
                  </a:lnTo>
                  <a:lnTo>
                    <a:pt x="202" y="102"/>
                  </a:lnTo>
                  <a:lnTo>
                    <a:pt x="200" y="91"/>
                  </a:lnTo>
                  <a:lnTo>
                    <a:pt x="198" y="80"/>
                  </a:lnTo>
                  <a:lnTo>
                    <a:pt x="200" y="66"/>
                  </a:lnTo>
                  <a:lnTo>
                    <a:pt x="200" y="62"/>
                  </a:lnTo>
                  <a:lnTo>
                    <a:pt x="198" y="60"/>
                  </a:lnTo>
                  <a:lnTo>
                    <a:pt x="196" y="55"/>
                  </a:lnTo>
                  <a:lnTo>
                    <a:pt x="191" y="49"/>
                  </a:lnTo>
                  <a:lnTo>
                    <a:pt x="180" y="44"/>
                  </a:lnTo>
                  <a:lnTo>
                    <a:pt x="166" y="39"/>
                  </a:lnTo>
                  <a:lnTo>
                    <a:pt x="149" y="33"/>
                  </a:lnTo>
                  <a:lnTo>
                    <a:pt x="120" y="26"/>
                  </a:lnTo>
                  <a:lnTo>
                    <a:pt x="107" y="20"/>
                  </a:lnTo>
                  <a:lnTo>
                    <a:pt x="95" y="15"/>
                  </a:lnTo>
                  <a:lnTo>
                    <a:pt x="80" y="8"/>
                  </a:lnTo>
                  <a:lnTo>
                    <a:pt x="68" y="2"/>
                  </a:lnTo>
                  <a:lnTo>
                    <a:pt x="68" y="4"/>
                  </a:lnTo>
                  <a:lnTo>
                    <a:pt x="66" y="4"/>
                  </a:lnTo>
                  <a:lnTo>
                    <a:pt x="68" y="2"/>
                  </a:lnTo>
                  <a:lnTo>
                    <a:pt x="62" y="0"/>
                  </a:lnTo>
                  <a:lnTo>
                    <a:pt x="57" y="0"/>
                  </a:lnTo>
                  <a:close/>
                </a:path>
              </a:pathLst>
            </a:custGeom>
            <a:solidFill>
              <a:srgbClr val="2E2E38"/>
            </a:solidFill>
            <a:ln w="3175" cap="flat" cmpd="sng" algn="ctr">
              <a:solidFill>
                <a:srgbClr val="747480"/>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646464"/>
                </a:solidFill>
                <a:effectLst/>
                <a:uLnTx/>
                <a:uFillTx/>
                <a:cs typeface="Times New Roman" panose="02020603050405020304" pitchFamily="18" charset="0"/>
              </a:endParaRPr>
            </a:p>
          </p:txBody>
        </p:sp>
        <p:sp>
          <p:nvSpPr>
            <p:cNvPr id="56" name="Line 114">
              <a:extLst>
                <a:ext uri="{FF2B5EF4-FFF2-40B4-BE49-F238E27FC236}">
                  <a16:creationId xmlns:a16="http://schemas.microsoft.com/office/drawing/2014/main" id="{496D73CD-6DD4-6E34-860A-444DE746E93A}"/>
                </a:ext>
              </a:extLst>
            </p:cNvPr>
            <p:cNvSpPr>
              <a:spLocks noChangeShapeType="1"/>
            </p:cNvSpPr>
            <p:nvPr/>
          </p:nvSpPr>
          <p:spPr bwMode="auto">
            <a:xfrm>
              <a:off x="6505832" y="4593907"/>
              <a:ext cx="915" cy="894"/>
            </a:xfrm>
            <a:prstGeom prst="line">
              <a:avLst/>
            </a:prstGeom>
            <a:solidFill>
              <a:srgbClr val="C0C0C0"/>
            </a:solidFill>
            <a:ln w="6350">
              <a:solidFill>
                <a:srgbClr val="999999">
                  <a:lumMod val="5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646464"/>
                </a:solidFill>
                <a:effectLst/>
                <a:uLnTx/>
                <a:uFillTx/>
                <a:cs typeface="Times New Roman" panose="02020603050405020304" pitchFamily="18" charset="0"/>
              </a:endParaRPr>
            </a:p>
          </p:txBody>
        </p:sp>
        <p:sp>
          <p:nvSpPr>
            <p:cNvPr id="57" name="Freeform 115">
              <a:extLst>
                <a:ext uri="{FF2B5EF4-FFF2-40B4-BE49-F238E27FC236}">
                  <a16:creationId xmlns:a16="http://schemas.microsoft.com/office/drawing/2014/main" id="{F106AAD9-C33D-DDAB-9F80-8DE646512875}"/>
                </a:ext>
              </a:extLst>
            </p:cNvPr>
            <p:cNvSpPr>
              <a:spLocks/>
            </p:cNvSpPr>
            <p:nvPr/>
          </p:nvSpPr>
          <p:spPr bwMode="auto">
            <a:xfrm>
              <a:off x="3339973" y="4880130"/>
              <a:ext cx="548553" cy="620597"/>
            </a:xfrm>
            <a:custGeom>
              <a:avLst/>
              <a:gdLst/>
              <a:ahLst/>
              <a:cxnLst>
                <a:cxn ang="0">
                  <a:pos x="331" y="39"/>
                </a:cxn>
                <a:cxn ang="0">
                  <a:pos x="296" y="165"/>
                </a:cxn>
                <a:cxn ang="0">
                  <a:pos x="276" y="205"/>
                </a:cxn>
                <a:cxn ang="0">
                  <a:pos x="265" y="214"/>
                </a:cxn>
                <a:cxn ang="0">
                  <a:pos x="254" y="214"/>
                </a:cxn>
                <a:cxn ang="0">
                  <a:pos x="249" y="203"/>
                </a:cxn>
                <a:cxn ang="0">
                  <a:pos x="240" y="183"/>
                </a:cxn>
                <a:cxn ang="0">
                  <a:pos x="216" y="176"/>
                </a:cxn>
                <a:cxn ang="0">
                  <a:pos x="187" y="177"/>
                </a:cxn>
                <a:cxn ang="0">
                  <a:pos x="173" y="186"/>
                </a:cxn>
                <a:cxn ang="0">
                  <a:pos x="165" y="199"/>
                </a:cxn>
                <a:cxn ang="0">
                  <a:pos x="164" y="215"/>
                </a:cxn>
                <a:cxn ang="0">
                  <a:pos x="165" y="268"/>
                </a:cxn>
                <a:cxn ang="0">
                  <a:pos x="160" y="324"/>
                </a:cxn>
                <a:cxn ang="0">
                  <a:pos x="158" y="366"/>
                </a:cxn>
                <a:cxn ang="0">
                  <a:pos x="144" y="415"/>
                </a:cxn>
                <a:cxn ang="0">
                  <a:pos x="142" y="450"/>
                </a:cxn>
                <a:cxn ang="0">
                  <a:pos x="153" y="484"/>
                </a:cxn>
                <a:cxn ang="0">
                  <a:pos x="165" y="524"/>
                </a:cxn>
                <a:cxn ang="0">
                  <a:pos x="175" y="551"/>
                </a:cxn>
                <a:cxn ang="0">
                  <a:pos x="191" y="580"/>
                </a:cxn>
                <a:cxn ang="0">
                  <a:pos x="187" y="602"/>
                </a:cxn>
                <a:cxn ang="0">
                  <a:pos x="175" y="613"/>
                </a:cxn>
                <a:cxn ang="0">
                  <a:pos x="144" y="624"/>
                </a:cxn>
                <a:cxn ang="0">
                  <a:pos x="124" y="638"/>
                </a:cxn>
                <a:cxn ang="0">
                  <a:pos x="115" y="658"/>
                </a:cxn>
                <a:cxn ang="0">
                  <a:pos x="106" y="707"/>
                </a:cxn>
                <a:cxn ang="0">
                  <a:pos x="97" y="738"/>
                </a:cxn>
                <a:cxn ang="0">
                  <a:pos x="78" y="756"/>
                </a:cxn>
                <a:cxn ang="0">
                  <a:pos x="60" y="769"/>
                </a:cxn>
                <a:cxn ang="0">
                  <a:pos x="53" y="791"/>
                </a:cxn>
                <a:cxn ang="0">
                  <a:pos x="51" y="825"/>
                </a:cxn>
                <a:cxn ang="0">
                  <a:pos x="58" y="843"/>
                </a:cxn>
                <a:cxn ang="0">
                  <a:pos x="71" y="856"/>
                </a:cxn>
                <a:cxn ang="0">
                  <a:pos x="78" y="863"/>
                </a:cxn>
                <a:cxn ang="0">
                  <a:pos x="80" y="880"/>
                </a:cxn>
                <a:cxn ang="0">
                  <a:pos x="69" y="901"/>
                </a:cxn>
                <a:cxn ang="0">
                  <a:pos x="51" y="914"/>
                </a:cxn>
                <a:cxn ang="0">
                  <a:pos x="42" y="916"/>
                </a:cxn>
                <a:cxn ang="0">
                  <a:pos x="28" y="912"/>
                </a:cxn>
                <a:cxn ang="0">
                  <a:pos x="13" y="929"/>
                </a:cxn>
                <a:cxn ang="0">
                  <a:pos x="2" y="941"/>
                </a:cxn>
                <a:cxn ang="0">
                  <a:pos x="4" y="954"/>
                </a:cxn>
                <a:cxn ang="0">
                  <a:pos x="29" y="970"/>
                </a:cxn>
                <a:cxn ang="0">
                  <a:pos x="1022" y="1391"/>
                </a:cxn>
                <a:cxn ang="0">
                  <a:pos x="1109" y="764"/>
                </a:cxn>
                <a:cxn ang="0">
                  <a:pos x="1158" y="428"/>
                </a:cxn>
                <a:cxn ang="0">
                  <a:pos x="1191" y="203"/>
                </a:cxn>
                <a:cxn ang="0">
                  <a:pos x="891" y="96"/>
                </a:cxn>
                <a:cxn ang="0">
                  <a:pos x="690" y="65"/>
                </a:cxn>
                <a:cxn ang="0">
                  <a:pos x="376" y="9"/>
                </a:cxn>
              </a:cxnLst>
              <a:rect l="0" t="0" r="r" b="b"/>
              <a:pathLst>
                <a:path w="1198" h="1391">
                  <a:moveTo>
                    <a:pt x="334" y="0"/>
                  </a:moveTo>
                  <a:lnTo>
                    <a:pt x="332" y="19"/>
                  </a:lnTo>
                  <a:lnTo>
                    <a:pt x="331" y="39"/>
                  </a:lnTo>
                  <a:lnTo>
                    <a:pt x="322" y="83"/>
                  </a:lnTo>
                  <a:lnTo>
                    <a:pt x="309" y="127"/>
                  </a:lnTo>
                  <a:lnTo>
                    <a:pt x="296" y="165"/>
                  </a:lnTo>
                  <a:lnTo>
                    <a:pt x="287" y="188"/>
                  </a:lnTo>
                  <a:lnTo>
                    <a:pt x="280" y="199"/>
                  </a:lnTo>
                  <a:lnTo>
                    <a:pt x="276" y="205"/>
                  </a:lnTo>
                  <a:lnTo>
                    <a:pt x="273" y="208"/>
                  </a:lnTo>
                  <a:lnTo>
                    <a:pt x="269" y="212"/>
                  </a:lnTo>
                  <a:lnTo>
                    <a:pt x="265" y="214"/>
                  </a:lnTo>
                  <a:lnTo>
                    <a:pt x="260" y="215"/>
                  </a:lnTo>
                  <a:lnTo>
                    <a:pt x="256" y="215"/>
                  </a:lnTo>
                  <a:lnTo>
                    <a:pt x="254" y="214"/>
                  </a:lnTo>
                  <a:lnTo>
                    <a:pt x="253" y="212"/>
                  </a:lnTo>
                  <a:lnTo>
                    <a:pt x="251" y="208"/>
                  </a:lnTo>
                  <a:lnTo>
                    <a:pt x="249" y="203"/>
                  </a:lnTo>
                  <a:lnTo>
                    <a:pt x="244" y="192"/>
                  </a:lnTo>
                  <a:lnTo>
                    <a:pt x="242" y="186"/>
                  </a:lnTo>
                  <a:lnTo>
                    <a:pt x="240" y="183"/>
                  </a:lnTo>
                  <a:lnTo>
                    <a:pt x="234" y="179"/>
                  </a:lnTo>
                  <a:lnTo>
                    <a:pt x="225" y="176"/>
                  </a:lnTo>
                  <a:lnTo>
                    <a:pt x="216" y="176"/>
                  </a:lnTo>
                  <a:lnTo>
                    <a:pt x="207" y="174"/>
                  </a:lnTo>
                  <a:lnTo>
                    <a:pt x="195" y="176"/>
                  </a:lnTo>
                  <a:lnTo>
                    <a:pt x="187" y="177"/>
                  </a:lnTo>
                  <a:lnTo>
                    <a:pt x="182" y="179"/>
                  </a:lnTo>
                  <a:lnTo>
                    <a:pt x="176" y="183"/>
                  </a:lnTo>
                  <a:lnTo>
                    <a:pt x="173" y="186"/>
                  </a:lnTo>
                  <a:lnTo>
                    <a:pt x="171" y="188"/>
                  </a:lnTo>
                  <a:lnTo>
                    <a:pt x="169" y="194"/>
                  </a:lnTo>
                  <a:lnTo>
                    <a:pt x="165" y="199"/>
                  </a:lnTo>
                  <a:lnTo>
                    <a:pt x="164" y="206"/>
                  </a:lnTo>
                  <a:lnTo>
                    <a:pt x="164" y="212"/>
                  </a:lnTo>
                  <a:lnTo>
                    <a:pt x="164" y="215"/>
                  </a:lnTo>
                  <a:lnTo>
                    <a:pt x="165" y="237"/>
                  </a:lnTo>
                  <a:lnTo>
                    <a:pt x="165" y="255"/>
                  </a:lnTo>
                  <a:lnTo>
                    <a:pt x="165" y="268"/>
                  </a:lnTo>
                  <a:lnTo>
                    <a:pt x="164" y="283"/>
                  </a:lnTo>
                  <a:lnTo>
                    <a:pt x="162" y="304"/>
                  </a:lnTo>
                  <a:lnTo>
                    <a:pt x="160" y="324"/>
                  </a:lnTo>
                  <a:lnTo>
                    <a:pt x="160" y="348"/>
                  </a:lnTo>
                  <a:lnTo>
                    <a:pt x="160" y="357"/>
                  </a:lnTo>
                  <a:lnTo>
                    <a:pt x="158" y="366"/>
                  </a:lnTo>
                  <a:lnTo>
                    <a:pt x="155" y="382"/>
                  </a:lnTo>
                  <a:lnTo>
                    <a:pt x="149" y="397"/>
                  </a:lnTo>
                  <a:lnTo>
                    <a:pt x="144" y="415"/>
                  </a:lnTo>
                  <a:lnTo>
                    <a:pt x="142" y="426"/>
                  </a:lnTo>
                  <a:lnTo>
                    <a:pt x="140" y="441"/>
                  </a:lnTo>
                  <a:lnTo>
                    <a:pt x="142" y="450"/>
                  </a:lnTo>
                  <a:lnTo>
                    <a:pt x="144" y="457"/>
                  </a:lnTo>
                  <a:lnTo>
                    <a:pt x="147" y="471"/>
                  </a:lnTo>
                  <a:lnTo>
                    <a:pt x="153" y="484"/>
                  </a:lnTo>
                  <a:lnTo>
                    <a:pt x="158" y="499"/>
                  </a:lnTo>
                  <a:lnTo>
                    <a:pt x="162" y="513"/>
                  </a:lnTo>
                  <a:lnTo>
                    <a:pt x="165" y="524"/>
                  </a:lnTo>
                  <a:lnTo>
                    <a:pt x="167" y="535"/>
                  </a:lnTo>
                  <a:lnTo>
                    <a:pt x="171" y="546"/>
                  </a:lnTo>
                  <a:lnTo>
                    <a:pt x="175" y="551"/>
                  </a:lnTo>
                  <a:lnTo>
                    <a:pt x="178" y="557"/>
                  </a:lnTo>
                  <a:lnTo>
                    <a:pt x="187" y="573"/>
                  </a:lnTo>
                  <a:lnTo>
                    <a:pt x="191" y="580"/>
                  </a:lnTo>
                  <a:lnTo>
                    <a:pt x="193" y="588"/>
                  </a:lnTo>
                  <a:lnTo>
                    <a:pt x="191" y="595"/>
                  </a:lnTo>
                  <a:lnTo>
                    <a:pt x="187" y="602"/>
                  </a:lnTo>
                  <a:lnTo>
                    <a:pt x="182" y="607"/>
                  </a:lnTo>
                  <a:lnTo>
                    <a:pt x="178" y="611"/>
                  </a:lnTo>
                  <a:lnTo>
                    <a:pt x="175" y="613"/>
                  </a:lnTo>
                  <a:lnTo>
                    <a:pt x="160" y="618"/>
                  </a:lnTo>
                  <a:lnTo>
                    <a:pt x="153" y="620"/>
                  </a:lnTo>
                  <a:lnTo>
                    <a:pt x="144" y="624"/>
                  </a:lnTo>
                  <a:lnTo>
                    <a:pt x="136" y="627"/>
                  </a:lnTo>
                  <a:lnTo>
                    <a:pt x="129" y="633"/>
                  </a:lnTo>
                  <a:lnTo>
                    <a:pt x="124" y="638"/>
                  </a:lnTo>
                  <a:lnTo>
                    <a:pt x="120" y="644"/>
                  </a:lnTo>
                  <a:lnTo>
                    <a:pt x="116" y="651"/>
                  </a:lnTo>
                  <a:lnTo>
                    <a:pt x="115" y="658"/>
                  </a:lnTo>
                  <a:lnTo>
                    <a:pt x="111" y="675"/>
                  </a:lnTo>
                  <a:lnTo>
                    <a:pt x="107" y="689"/>
                  </a:lnTo>
                  <a:lnTo>
                    <a:pt x="106" y="707"/>
                  </a:lnTo>
                  <a:lnTo>
                    <a:pt x="102" y="722"/>
                  </a:lnTo>
                  <a:lnTo>
                    <a:pt x="100" y="731"/>
                  </a:lnTo>
                  <a:lnTo>
                    <a:pt x="97" y="738"/>
                  </a:lnTo>
                  <a:lnTo>
                    <a:pt x="91" y="744"/>
                  </a:lnTo>
                  <a:lnTo>
                    <a:pt x="86" y="751"/>
                  </a:lnTo>
                  <a:lnTo>
                    <a:pt x="78" y="756"/>
                  </a:lnTo>
                  <a:lnTo>
                    <a:pt x="71" y="760"/>
                  </a:lnTo>
                  <a:lnTo>
                    <a:pt x="64" y="765"/>
                  </a:lnTo>
                  <a:lnTo>
                    <a:pt x="60" y="769"/>
                  </a:lnTo>
                  <a:lnTo>
                    <a:pt x="58" y="773"/>
                  </a:lnTo>
                  <a:lnTo>
                    <a:pt x="55" y="782"/>
                  </a:lnTo>
                  <a:lnTo>
                    <a:pt x="53" y="791"/>
                  </a:lnTo>
                  <a:lnTo>
                    <a:pt x="51" y="811"/>
                  </a:lnTo>
                  <a:lnTo>
                    <a:pt x="51" y="816"/>
                  </a:lnTo>
                  <a:lnTo>
                    <a:pt x="51" y="825"/>
                  </a:lnTo>
                  <a:lnTo>
                    <a:pt x="55" y="836"/>
                  </a:lnTo>
                  <a:lnTo>
                    <a:pt x="57" y="840"/>
                  </a:lnTo>
                  <a:lnTo>
                    <a:pt x="58" y="843"/>
                  </a:lnTo>
                  <a:lnTo>
                    <a:pt x="64" y="851"/>
                  </a:lnTo>
                  <a:lnTo>
                    <a:pt x="67" y="854"/>
                  </a:lnTo>
                  <a:lnTo>
                    <a:pt x="71" y="856"/>
                  </a:lnTo>
                  <a:lnTo>
                    <a:pt x="75" y="860"/>
                  </a:lnTo>
                  <a:lnTo>
                    <a:pt x="78" y="862"/>
                  </a:lnTo>
                  <a:lnTo>
                    <a:pt x="78" y="863"/>
                  </a:lnTo>
                  <a:lnTo>
                    <a:pt x="80" y="867"/>
                  </a:lnTo>
                  <a:lnTo>
                    <a:pt x="80" y="871"/>
                  </a:lnTo>
                  <a:lnTo>
                    <a:pt x="80" y="880"/>
                  </a:lnTo>
                  <a:lnTo>
                    <a:pt x="77" y="887"/>
                  </a:lnTo>
                  <a:lnTo>
                    <a:pt x="73" y="894"/>
                  </a:lnTo>
                  <a:lnTo>
                    <a:pt x="69" y="901"/>
                  </a:lnTo>
                  <a:lnTo>
                    <a:pt x="64" y="907"/>
                  </a:lnTo>
                  <a:lnTo>
                    <a:pt x="57" y="912"/>
                  </a:lnTo>
                  <a:lnTo>
                    <a:pt x="51" y="914"/>
                  </a:lnTo>
                  <a:lnTo>
                    <a:pt x="48" y="916"/>
                  </a:lnTo>
                  <a:lnTo>
                    <a:pt x="44" y="916"/>
                  </a:lnTo>
                  <a:lnTo>
                    <a:pt x="42" y="916"/>
                  </a:lnTo>
                  <a:lnTo>
                    <a:pt x="35" y="914"/>
                  </a:lnTo>
                  <a:lnTo>
                    <a:pt x="31" y="914"/>
                  </a:lnTo>
                  <a:lnTo>
                    <a:pt x="28" y="912"/>
                  </a:lnTo>
                  <a:lnTo>
                    <a:pt x="24" y="920"/>
                  </a:lnTo>
                  <a:lnTo>
                    <a:pt x="18" y="925"/>
                  </a:lnTo>
                  <a:lnTo>
                    <a:pt x="13" y="929"/>
                  </a:lnTo>
                  <a:lnTo>
                    <a:pt x="9" y="932"/>
                  </a:lnTo>
                  <a:lnTo>
                    <a:pt x="4" y="936"/>
                  </a:lnTo>
                  <a:lnTo>
                    <a:pt x="2" y="941"/>
                  </a:lnTo>
                  <a:lnTo>
                    <a:pt x="0" y="947"/>
                  </a:lnTo>
                  <a:lnTo>
                    <a:pt x="2" y="950"/>
                  </a:lnTo>
                  <a:lnTo>
                    <a:pt x="4" y="954"/>
                  </a:lnTo>
                  <a:lnTo>
                    <a:pt x="9" y="960"/>
                  </a:lnTo>
                  <a:lnTo>
                    <a:pt x="18" y="965"/>
                  </a:lnTo>
                  <a:lnTo>
                    <a:pt x="29" y="970"/>
                  </a:lnTo>
                  <a:lnTo>
                    <a:pt x="643" y="1339"/>
                  </a:lnTo>
                  <a:lnTo>
                    <a:pt x="1020" y="1391"/>
                  </a:lnTo>
                  <a:lnTo>
                    <a:pt x="1022" y="1391"/>
                  </a:lnTo>
                  <a:lnTo>
                    <a:pt x="1066" y="1090"/>
                  </a:lnTo>
                  <a:lnTo>
                    <a:pt x="1089" y="914"/>
                  </a:lnTo>
                  <a:lnTo>
                    <a:pt x="1109" y="764"/>
                  </a:lnTo>
                  <a:lnTo>
                    <a:pt x="1118" y="686"/>
                  </a:lnTo>
                  <a:lnTo>
                    <a:pt x="1131" y="602"/>
                  </a:lnTo>
                  <a:lnTo>
                    <a:pt x="1158" y="428"/>
                  </a:lnTo>
                  <a:lnTo>
                    <a:pt x="1182" y="268"/>
                  </a:lnTo>
                  <a:lnTo>
                    <a:pt x="1187" y="234"/>
                  </a:lnTo>
                  <a:lnTo>
                    <a:pt x="1191" y="203"/>
                  </a:lnTo>
                  <a:lnTo>
                    <a:pt x="1198" y="148"/>
                  </a:lnTo>
                  <a:lnTo>
                    <a:pt x="1035" y="121"/>
                  </a:lnTo>
                  <a:lnTo>
                    <a:pt x="891" y="96"/>
                  </a:lnTo>
                  <a:lnTo>
                    <a:pt x="819" y="85"/>
                  </a:lnTo>
                  <a:lnTo>
                    <a:pt x="755" y="74"/>
                  </a:lnTo>
                  <a:lnTo>
                    <a:pt x="690" y="65"/>
                  </a:lnTo>
                  <a:lnTo>
                    <a:pt x="621" y="54"/>
                  </a:lnTo>
                  <a:lnTo>
                    <a:pt x="485" y="29"/>
                  </a:lnTo>
                  <a:lnTo>
                    <a:pt x="376" y="9"/>
                  </a:lnTo>
                  <a:lnTo>
                    <a:pt x="334" y="0"/>
                  </a:lnTo>
                  <a:close/>
                </a:path>
              </a:pathLst>
            </a:custGeom>
            <a:solidFill>
              <a:srgbClr val="FFE600"/>
            </a:solidFill>
            <a:ln w="9525" cap="flat" cmpd="sng" algn="ctr">
              <a:solidFill>
                <a:srgbClr val="2E2E38"/>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646464"/>
                </a:solidFill>
                <a:effectLst/>
                <a:uLnTx/>
                <a:uFillTx/>
                <a:cs typeface="Times New Roman" panose="02020603050405020304" pitchFamily="18" charset="0"/>
              </a:endParaRPr>
            </a:p>
          </p:txBody>
        </p:sp>
        <p:sp>
          <p:nvSpPr>
            <p:cNvPr id="58" name="Freeform 117">
              <a:extLst>
                <a:ext uri="{FF2B5EF4-FFF2-40B4-BE49-F238E27FC236}">
                  <a16:creationId xmlns:a16="http://schemas.microsoft.com/office/drawing/2014/main" id="{9C0AEE71-CB6C-C41F-27F1-F61305568EB0}"/>
                </a:ext>
              </a:extLst>
            </p:cNvPr>
            <p:cNvSpPr>
              <a:spLocks/>
            </p:cNvSpPr>
            <p:nvPr/>
          </p:nvSpPr>
          <p:spPr bwMode="auto">
            <a:xfrm>
              <a:off x="4369312" y="3809241"/>
              <a:ext cx="522912" cy="321891"/>
            </a:xfrm>
            <a:custGeom>
              <a:avLst/>
              <a:gdLst/>
              <a:ahLst/>
              <a:cxnLst>
                <a:cxn ang="0">
                  <a:pos x="51" y="0"/>
                </a:cxn>
                <a:cxn ang="0">
                  <a:pos x="21" y="375"/>
                </a:cxn>
                <a:cxn ang="0">
                  <a:pos x="7" y="562"/>
                </a:cxn>
                <a:cxn ang="0">
                  <a:pos x="0" y="662"/>
                </a:cxn>
                <a:cxn ang="0">
                  <a:pos x="12" y="664"/>
                </a:cxn>
                <a:cxn ang="0">
                  <a:pos x="121" y="673"/>
                </a:cxn>
                <a:cxn ang="0">
                  <a:pos x="257" y="682"/>
                </a:cxn>
                <a:cxn ang="0">
                  <a:pos x="412" y="693"/>
                </a:cxn>
                <a:cxn ang="0">
                  <a:pos x="575" y="702"/>
                </a:cxn>
                <a:cxn ang="0">
                  <a:pos x="740" y="709"/>
                </a:cxn>
                <a:cxn ang="0">
                  <a:pos x="894" y="717"/>
                </a:cxn>
                <a:cxn ang="0">
                  <a:pos x="1030" y="720"/>
                </a:cxn>
                <a:cxn ang="0">
                  <a:pos x="1137" y="722"/>
                </a:cxn>
                <a:cxn ang="0">
                  <a:pos x="1141" y="711"/>
                </a:cxn>
                <a:cxn ang="0">
                  <a:pos x="1141" y="698"/>
                </a:cxn>
                <a:cxn ang="0">
                  <a:pos x="1141" y="688"/>
                </a:cxn>
                <a:cxn ang="0">
                  <a:pos x="1139" y="678"/>
                </a:cxn>
                <a:cxn ang="0">
                  <a:pos x="1137" y="668"/>
                </a:cxn>
                <a:cxn ang="0">
                  <a:pos x="1134" y="657"/>
                </a:cxn>
                <a:cxn ang="0">
                  <a:pos x="1125" y="637"/>
                </a:cxn>
                <a:cxn ang="0">
                  <a:pos x="1118" y="619"/>
                </a:cxn>
                <a:cxn ang="0">
                  <a:pos x="1112" y="597"/>
                </a:cxn>
                <a:cxn ang="0">
                  <a:pos x="1107" y="575"/>
                </a:cxn>
                <a:cxn ang="0">
                  <a:pos x="1103" y="553"/>
                </a:cxn>
                <a:cxn ang="0">
                  <a:pos x="1101" y="530"/>
                </a:cxn>
                <a:cxn ang="0">
                  <a:pos x="1098" y="482"/>
                </a:cxn>
                <a:cxn ang="0">
                  <a:pos x="1098" y="439"/>
                </a:cxn>
                <a:cxn ang="0">
                  <a:pos x="1099" y="410"/>
                </a:cxn>
                <a:cxn ang="0">
                  <a:pos x="1099" y="379"/>
                </a:cxn>
                <a:cxn ang="0">
                  <a:pos x="1099" y="368"/>
                </a:cxn>
                <a:cxn ang="0">
                  <a:pos x="1099" y="357"/>
                </a:cxn>
                <a:cxn ang="0">
                  <a:pos x="1096" y="346"/>
                </a:cxn>
                <a:cxn ang="0">
                  <a:pos x="1092" y="335"/>
                </a:cxn>
                <a:cxn ang="0">
                  <a:pos x="1088" y="328"/>
                </a:cxn>
                <a:cxn ang="0">
                  <a:pos x="1085" y="319"/>
                </a:cxn>
                <a:cxn ang="0">
                  <a:pos x="1076" y="303"/>
                </a:cxn>
                <a:cxn ang="0">
                  <a:pos x="1069" y="286"/>
                </a:cxn>
                <a:cxn ang="0">
                  <a:pos x="1067" y="277"/>
                </a:cxn>
                <a:cxn ang="0">
                  <a:pos x="1063" y="268"/>
                </a:cxn>
                <a:cxn ang="0">
                  <a:pos x="1059" y="247"/>
                </a:cxn>
                <a:cxn ang="0">
                  <a:pos x="1056" y="223"/>
                </a:cxn>
                <a:cxn ang="0">
                  <a:pos x="1054" y="199"/>
                </a:cxn>
                <a:cxn ang="0">
                  <a:pos x="1054" y="176"/>
                </a:cxn>
                <a:cxn ang="0">
                  <a:pos x="1054" y="154"/>
                </a:cxn>
                <a:cxn ang="0">
                  <a:pos x="1056" y="141"/>
                </a:cxn>
                <a:cxn ang="0">
                  <a:pos x="1058" y="130"/>
                </a:cxn>
                <a:cxn ang="0">
                  <a:pos x="1059" y="121"/>
                </a:cxn>
                <a:cxn ang="0">
                  <a:pos x="1059" y="114"/>
                </a:cxn>
                <a:cxn ang="0">
                  <a:pos x="1058" y="103"/>
                </a:cxn>
                <a:cxn ang="0">
                  <a:pos x="1056" y="96"/>
                </a:cxn>
                <a:cxn ang="0">
                  <a:pos x="1049" y="74"/>
                </a:cxn>
                <a:cxn ang="0">
                  <a:pos x="1043" y="63"/>
                </a:cxn>
                <a:cxn ang="0">
                  <a:pos x="1038" y="49"/>
                </a:cxn>
                <a:cxn ang="0">
                  <a:pos x="934" y="47"/>
                </a:cxn>
                <a:cxn ang="0">
                  <a:pos x="822" y="43"/>
                </a:cxn>
                <a:cxn ang="0">
                  <a:pos x="700" y="38"/>
                </a:cxn>
                <a:cxn ang="0">
                  <a:pos x="575" y="32"/>
                </a:cxn>
                <a:cxn ang="0">
                  <a:pos x="312" y="16"/>
                </a:cxn>
                <a:cxn ang="0">
                  <a:pos x="181" y="9"/>
                </a:cxn>
                <a:cxn ang="0">
                  <a:pos x="51" y="0"/>
                </a:cxn>
              </a:cxnLst>
              <a:rect l="0" t="0" r="r" b="b"/>
              <a:pathLst>
                <a:path w="1141" h="722">
                  <a:moveTo>
                    <a:pt x="51" y="0"/>
                  </a:moveTo>
                  <a:lnTo>
                    <a:pt x="21" y="375"/>
                  </a:lnTo>
                  <a:lnTo>
                    <a:pt x="7" y="562"/>
                  </a:lnTo>
                  <a:lnTo>
                    <a:pt x="0" y="662"/>
                  </a:lnTo>
                  <a:lnTo>
                    <a:pt x="12" y="664"/>
                  </a:lnTo>
                  <a:lnTo>
                    <a:pt x="121" y="673"/>
                  </a:lnTo>
                  <a:lnTo>
                    <a:pt x="257" y="682"/>
                  </a:lnTo>
                  <a:lnTo>
                    <a:pt x="412" y="693"/>
                  </a:lnTo>
                  <a:lnTo>
                    <a:pt x="575" y="702"/>
                  </a:lnTo>
                  <a:lnTo>
                    <a:pt x="740" y="709"/>
                  </a:lnTo>
                  <a:lnTo>
                    <a:pt x="894" y="717"/>
                  </a:lnTo>
                  <a:lnTo>
                    <a:pt x="1030" y="720"/>
                  </a:lnTo>
                  <a:lnTo>
                    <a:pt x="1137" y="722"/>
                  </a:lnTo>
                  <a:lnTo>
                    <a:pt x="1141" y="711"/>
                  </a:lnTo>
                  <a:lnTo>
                    <a:pt x="1141" y="698"/>
                  </a:lnTo>
                  <a:lnTo>
                    <a:pt x="1141" y="688"/>
                  </a:lnTo>
                  <a:lnTo>
                    <a:pt x="1139" y="678"/>
                  </a:lnTo>
                  <a:lnTo>
                    <a:pt x="1137" y="668"/>
                  </a:lnTo>
                  <a:lnTo>
                    <a:pt x="1134" y="657"/>
                  </a:lnTo>
                  <a:lnTo>
                    <a:pt x="1125" y="637"/>
                  </a:lnTo>
                  <a:lnTo>
                    <a:pt x="1118" y="619"/>
                  </a:lnTo>
                  <a:lnTo>
                    <a:pt x="1112" y="597"/>
                  </a:lnTo>
                  <a:lnTo>
                    <a:pt x="1107" y="575"/>
                  </a:lnTo>
                  <a:lnTo>
                    <a:pt x="1103" y="553"/>
                  </a:lnTo>
                  <a:lnTo>
                    <a:pt x="1101" y="530"/>
                  </a:lnTo>
                  <a:lnTo>
                    <a:pt x="1098" y="482"/>
                  </a:lnTo>
                  <a:lnTo>
                    <a:pt x="1098" y="439"/>
                  </a:lnTo>
                  <a:lnTo>
                    <a:pt x="1099" y="410"/>
                  </a:lnTo>
                  <a:lnTo>
                    <a:pt x="1099" y="379"/>
                  </a:lnTo>
                  <a:lnTo>
                    <a:pt x="1099" y="368"/>
                  </a:lnTo>
                  <a:lnTo>
                    <a:pt x="1099" y="357"/>
                  </a:lnTo>
                  <a:lnTo>
                    <a:pt x="1096" y="346"/>
                  </a:lnTo>
                  <a:lnTo>
                    <a:pt x="1092" y="335"/>
                  </a:lnTo>
                  <a:lnTo>
                    <a:pt x="1088" y="328"/>
                  </a:lnTo>
                  <a:lnTo>
                    <a:pt x="1085" y="319"/>
                  </a:lnTo>
                  <a:lnTo>
                    <a:pt x="1076" y="303"/>
                  </a:lnTo>
                  <a:lnTo>
                    <a:pt x="1069" y="286"/>
                  </a:lnTo>
                  <a:lnTo>
                    <a:pt x="1067" y="277"/>
                  </a:lnTo>
                  <a:lnTo>
                    <a:pt x="1063" y="268"/>
                  </a:lnTo>
                  <a:lnTo>
                    <a:pt x="1059" y="247"/>
                  </a:lnTo>
                  <a:lnTo>
                    <a:pt x="1056" y="223"/>
                  </a:lnTo>
                  <a:lnTo>
                    <a:pt x="1054" y="199"/>
                  </a:lnTo>
                  <a:lnTo>
                    <a:pt x="1054" y="176"/>
                  </a:lnTo>
                  <a:lnTo>
                    <a:pt x="1054" y="154"/>
                  </a:lnTo>
                  <a:lnTo>
                    <a:pt x="1056" y="141"/>
                  </a:lnTo>
                  <a:lnTo>
                    <a:pt x="1058" y="130"/>
                  </a:lnTo>
                  <a:lnTo>
                    <a:pt x="1059" y="121"/>
                  </a:lnTo>
                  <a:lnTo>
                    <a:pt x="1059" y="114"/>
                  </a:lnTo>
                  <a:lnTo>
                    <a:pt x="1058" y="103"/>
                  </a:lnTo>
                  <a:lnTo>
                    <a:pt x="1056" y="96"/>
                  </a:lnTo>
                  <a:lnTo>
                    <a:pt x="1049" y="74"/>
                  </a:lnTo>
                  <a:lnTo>
                    <a:pt x="1043" y="63"/>
                  </a:lnTo>
                  <a:lnTo>
                    <a:pt x="1038" y="49"/>
                  </a:lnTo>
                  <a:lnTo>
                    <a:pt x="934" y="47"/>
                  </a:lnTo>
                  <a:lnTo>
                    <a:pt x="822" y="43"/>
                  </a:lnTo>
                  <a:lnTo>
                    <a:pt x="700" y="38"/>
                  </a:lnTo>
                  <a:lnTo>
                    <a:pt x="575" y="32"/>
                  </a:lnTo>
                  <a:lnTo>
                    <a:pt x="312" y="16"/>
                  </a:lnTo>
                  <a:lnTo>
                    <a:pt x="181" y="9"/>
                  </a:lnTo>
                  <a:lnTo>
                    <a:pt x="51" y="0"/>
                  </a:lnTo>
                  <a:close/>
                </a:path>
              </a:pathLst>
            </a:custGeom>
            <a:solidFill>
              <a:srgbClr val="747480"/>
            </a:solidFill>
            <a:ln w="6350" cap="flat" cmpd="sng" algn="ctr">
              <a:solidFill>
                <a:srgbClr val="2E2E38"/>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646464"/>
                </a:solidFill>
                <a:effectLst/>
                <a:uLnTx/>
                <a:uFillTx/>
                <a:cs typeface="Times New Roman" panose="02020603050405020304" pitchFamily="18" charset="0"/>
              </a:endParaRPr>
            </a:p>
          </p:txBody>
        </p:sp>
        <p:sp>
          <p:nvSpPr>
            <p:cNvPr id="59" name="Freeform 119">
              <a:extLst>
                <a:ext uri="{FF2B5EF4-FFF2-40B4-BE49-F238E27FC236}">
                  <a16:creationId xmlns:a16="http://schemas.microsoft.com/office/drawing/2014/main" id="{B8BDAAFB-EE2C-CA51-91D4-99C6EB65C080}"/>
                </a:ext>
              </a:extLst>
            </p:cNvPr>
            <p:cNvSpPr>
              <a:spLocks/>
            </p:cNvSpPr>
            <p:nvPr/>
          </p:nvSpPr>
          <p:spPr bwMode="auto">
            <a:xfrm>
              <a:off x="5571733" y="5175272"/>
              <a:ext cx="306787" cy="484173"/>
            </a:xfrm>
            <a:custGeom>
              <a:avLst/>
              <a:gdLst/>
              <a:ahLst/>
              <a:cxnLst>
                <a:cxn ang="0">
                  <a:pos x="436" y="4"/>
                </a:cxn>
                <a:cxn ang="0">
                  <a:pos x="284" y="16"/>
                </a:cxn>
                <a:cxn ang="0">
                  <a:pos x="0" y="38"/>
                </a:cxn>
                <a:cxn ang="0">
                  <a:pos x="2" y="44"/>
                </a:cxn>
                <a:cxn ang="0">
                  <a:pos x="8" y="51"/>
                </a:cxn>
                <a:cxn ang="0">
                  <a:pos x="19" y="60"/>
                </a:cxn>
                <a:cxn ang="0">
                  <a:pos x="24" y="65"/>
                </a:cxn>
                <a:cxn ang="0">
                  <a:pos x="0" y="728"/>
                </a:cxn>
                <a:cxn ang="0">
                  <a:pos x="42" y="1045"/>
                </a:cxn>
                <a:cxn ang="0">
                  <a:pos x="51" y="1054"/>
                </a:cxn>
                <a:cxn ang="0">
                  <a:pos x="59" y="1054"/>
                </a:cxn>
                <a:cxn ang="0">
                  <a:pos x="60" y="1056"/>
                </a:cxn>
                <a:cxn ang="0">
                  <a:pos x="68" y="1065"/>
                </a:cxn>
                <a:cxn ang="0">
                  <a:pos x="80" y="1074"/>
                </a:cxn>
                <a:cxn ang="0">
                  <a:pos x="84" y="1074"/>
                </a:cxn>
                <a:cxn ang="0">
                  <a:pos x="89" y="1073"/>
                </a:cxn>
                <a:cxn ang="0">
                  <a:pos x="93" y="1065"/>
                </a:cxn>
                <a:cxn ang="0">
                  <a:pos x="97" y="1036"/>
                </a:cxn>
                <a:cxn ang="0">
                  <a:pos x="98" y="1007"/>
                </a:cxn>
                <a:cxn ang="0">
                  <a:pos x="100" y="984"/>
                </a:cxn>
                <a:cxn ang="0">
                  <a:pos x="104" y="969"/>
                </a:cxn>
                <a:cxn ang="0">
                  <a:pos x="109" y="958"/>
                </a:cxn>
                <a:cxn ang="0">
                  <a:pos x="117" y="951"/>
                </a:cxn>
                <a:cxn ang="0">
                  <a:pos x="128" y="969"/>
                </a:cxn>
                <a:cxn ang="0">
                  <a:pos x="133" y="1025"/>
                </a:cxn>
                <a:cxn ang="0">
                  <a:pos x="137" y="1040"/>
                </a:cxn>
                <a:cxn ang="0">
                  <a:pos x="146" y="1053"/>
                </a:cxn>
                <a:cxn ang="0">
                  <a:pos x="157" y="1073"/>
                </a:cxn>
                <a:cxn ang="0">
                  <a:pos x="157" y="1080"/>
                </a:cxn>
                <a:cxn ang="0">
                  <a:pos x="155" y="1085"/>
                </a:cxn>
                <a:cxn ang="0">
                  <a:pos x="158" y="1087"/>
                </a:cxn>
                <a:cxn ang="0">
                  <a:pos x="169" y="1085"/>
                </a:cxn>
                <a:cxn ang="0">
                  <a:pos x="180" y="1082"/>
                </a:cxn>
                <a:cxn ang="0">
                  <a:pos x="195" y="1071"/>
                </a:cxn>
                <a:cxn ang="0">
                  <a:pos x="207" y="1060"/>
                </a:cxn>
                <a:cxn ang="0">
                  <a:pos x="215" y="1053"/>
                </a:cxn>
                <a:cxn ang="0">
                  <a:pos x="218" y="1053"/>
                </a:cxn>
                <a:cxn ang="0">
                  <a:pos x="216" y="1060"/>
                </a:cxn>
                <a:cxn ang="0">
                  <a:pos x="220" y="1064"/>
                </a:cxn>
                <a:cxn ang="0">
                  <a:pos x="231" y="1060"/>
                </a:cxn>
                <a:cxn ang="0">
                  <a:pos x="225" y="1027"/>
                </a:cxn>
                <a:cxn ang="0">
                  <a:pos x="224" y="984"/>
                </a:cxn>
                <a:cxn ang="0">
                  <a:pos x="187" y="958"/>
                </a:cxn>
                <a:cxn ang="0">
                  <a:pos x="186" y="915"/>
                </a:cxn>
                <a:cxn ang="0">
                  <a:pos x="657" y="864"/>
                </a:cxn>
                <a:cxn ang="0">
                  <a:pos x="663" y="840"/>
                </a:cxn>
                <a:cxn ang="0">
                  <a:pos x="643" y="777"/>
                </a:cxn>
                <a:cxn ang="0">
                  <a:pos x="634" y="710"/>
                </a:cxn>
                <a:cxn ang="0">
                  <a:pos x="634" y="643"/>
                </a:cxn>
                <a:cxn ang="0">
                  <a:pos x="648" y="594"/>
                </a:cxn>
                <a:cxn ang="0">
                  <a:pos x="637" y="566"/>
                </a:cxn>
                <a:cxn ang="0">
                  <a:pos x="619" y="512"/>
                </a:cxn>
                <a:cxn ang="0">
                  <a:pos x="599" y="474"/>
                </a:cxn>
              </a:cxnLst>
              <a:rect l="0" t="0" r="r" b="b"/>
              <a:pathLst>
                <a:path w="672" h="1087">
                  <a:moveTo>
                    <a:pt x="463" y="0"/>
                  </a:moveTo>
                  <a:lnTo>
                    <a:pt x="436" y="4"/>
                  </a:lnTo>
                  <a:lnTo>
                    <a:pt x="394" y="7"/>
                  </a:lnTo>
                  <a:lnTo>
                    <a:pt x="284" y="16"/>
                  </a:lnTo>
                  <a:lnTo>
                    <a:pt x="147" y="26"/>
                  </a:lnTo>
                  <a:lnTo>
                    <a:pt x="0" y="38"/>
                  </a:lnTo>
                  <a:lnTo>
                    <a:pt x="2" y="42"/>
                  </a:lnTo>
                  <a:lnTo>
                    <a:pt x="2" y="44"/>
                  </a:lnTo>
                  <a:lnTo>
                    <a:pt x="6" y="51"/>
                  </a:lnTo>
                  <a:lnTo>
                    <a:pt x="8" y="51"/>
                  </a:lnTo>
                  <a:lnTo>
                    <a:pt x="13" y="56"/>
                  </a:lnTo>
                  <a:lnTo>
                    <a:pt x="19" y="60"/>
                  </a:lnTo>
                  <a:lnTo>
                    <a:pt x="24" y="64"/>
                  </a:lnTo>
                  <a:lnTo>
                    <a:pt x="24" y="65"/>
                  </a:lnTo>
                  <a:lnTo>
                    <a:pt x="24" y="71"/>
                  </a:lnTo>
                  <a:lnTo>
                    <a:pt x="0" y="728"/>
                  </a:lnTo>
                  <a:lnTo>
                    <a:pt x="42" y="1044"/>
                  </a:lnTo>
                  <a:lnTo>
                    <a:pt x="42" y="1045"/>
                  </a:lnTo>
                  <a:lnTo>
                    <a:pt x="44" y="1060"/>
                  </a:lnTo>
                  <a:lnTo>
                    <a:pt x="51" y="1054"/>
                  </a:lnTo>
                  <a:lnTo>
                    <a:pt x="57" y="1053"/>
                  </a:lnTo>
                  <a:lnTo>
                    <a:pt x="59" y="1054"/>
                  </a:lnTo>
                  <a:lnTo>
                    <a:pt x="60" y="1054"/>
                  </a:lnTo>
                  <a:lnTo>
                    <a:pt x="60" y="1056"/>
                  </a:lnTo>
                  <a:lnTo>
                    <a:pt x="64" y="1060"/>
                  </a:lnTo>
                  <a:lnTo>
                    <a:pt x="68" y="1065"/>
                  </a:lnTo>
                  <a:lnTo>
                    <a:pt x="75" y="1071"/>
                  </a:lnTo>
                  <a:lnTo>
                    <a:pt x="80" y="1074"/>
                  </a:lnTo>
                  <a:lnTo>
                    <a:pt x="82" y="1074"/>
                  </a:lnTo>
                  <a:lnTo>
                    <a:pt x="84" y="1074"/>
                  </a:lnTo>
                  <a:lnTo>
                    <a:pt x="88" y="1074"/>
                  </a:lnTo>
                  <a:lnTo>
                    <a:pt x="89" y="1073"/>
                  </a:lnTo>
                  <a:lnTo>
                    <a:pt x="91" y="1069"/>
                  </a:lnTo>
                  <a:lnTo>
                    <a:pt x="93" y="1065"/>
                  </a:lnTo>
                  <a:lnTo>
                    <a:pt x="95" y="1045"/>
                  </a:lnTo>
                  <a:lnTo>
                    <a:pt x="97" y="1036"/>
                  </a:lnTo>
                  <a:lnTo>
                    <a:pt x="97" y="1022"/>
                  </a:lnTo>
                  <a:lnTo>
                    <a:pt x="98" y="1007"/>
                  </a:lnTo>
                  <a:lnTo>
                    <a:pt x="100" y="991"/>
                  </a:lnTo>
                  <a:lnTo>
                    <a:pt x="100" y="984"/>
                  </a:lnTo>
                  <a:lnTo>
                    <a:pt x="102" y="975"/>
                  </a:lnTo>
                  <a:lnTo>
                    <a:pt x="104" y="969"/>
                  </a:lnTo>
                  <a:lnTo>
                    <a:pt x="106" y="962"/>
                  </a:lnTo>
                  <a:lnTo>
                    <a:pt x="109" y="958"/>
                  </a:lnTo>
                  <a:lnTo>
                    <a:pt x="113" y="953"/>
                  </a:lnTo>
                  <a:lnTo>
                    <a:pt x="117" y="951"/>
                  </a:lnTo>
                  <a:lnTo>
                    <a:pt x="122" y="951"/>
                  </a:lnTo>
                  <a:lnTo>
                    <a:pt x="128" y="969"/>
                  </a:lnTo>
                  <a:lnTo>
                    <a:pt x="129" y="989"/>
                  </a:lnTo>
                  <a:lnTo>
                    <a:pt x="133" y="1025"/>
                  </a:lnTo>
                  <a:lnTo>
                    <a:pt x="135" y="1033"/>
                  </a:lnTo>
                  <a:lnTo>
                    <a:pt x="137" y="1040"/>
                  </a:lnTo>
                  <a:lnTo>
                    <a:pt x="142" y="1047"/>
                  </a:lnTo>
                  <a:lnTo>
                    <a:pt x="146" y="1053"/>
                  </a:lnTo>
                  <a:lnTo>
                    <a:pt x="155" y="1065"/>
                  </a:lnTo>
                  <a:lnTo>
                    <a:pt x="157" y="1073"/>
                  </a:lnTo>
                  <a:lnTo>
                    <a:pt x="158" y="1078"/>
                  </a:lnTo>
                  <a:lnTo>
                    <a:pt x="157" y="1080"/>
                  </a:lnTo>
                  <a:lnTo>
                    <a:pt x="157" y="1082"/>
                  </a:lnTo>
                  <a:lnTo>
                    <a:pt x="155" y="1085"/>
                  </a:lnTo>
                  <a:lnTo>
                    <a:pt x="157" y="1085"/>
                  </a:lnTo>
                  <a:lnTo>
                    <a:pt x="158" y="1087"/>
                  </a:lnTo>
                  <a:lnTo>
                    <a:pt x="164" y="1085"/>
                  </a:lnTo>
                  <a:lnTo>
                    <a:pt x="169" y="1085"/>
                  </a:lnTo>
                  <a:lnTo>
                    <a:pt x="171" y="1085"/>
                  </a:lnTo>
                  <a:lnTo>
                    <a:pt x="180" y="1082"/>
                  </a:lnTo>
                  <a:lnTo>
                    <a:pt x="189" y="1074"/>
                  </a:lnTo>
                  <a:lnTo>
                    <a:pt x="195" y="1071"/>
                  </a:lnTo>
                  <a:lnTo>
                    <a:pt x="200" y="1065"/>
                  </a:lnTo>
                  <a:lnTo>
                    <a:pt x="207" y="1060"/>
                  </a:lnTo>
                  <a:lnTo>
                    <a:pt x="213" y="1054"/>
                  </a:lnTo>
                  <a:lnTo>
                    <a:pt x="215" y="1053"/>
                  </a:lnTo>
                  <a:lnTo>
                    <a:pt x="216" y="1051"/>
                  </a:lnTo>
                  <a:lnTo>
                    <a:pt x="218" y="1053"/>
                  </a:lnTo>
                  <a:lnTo>
                    <a:pt x="216" y="1056"/>
                  </a:lnTo>
                  <a:lnTo>
                    <a:pt x="216" y="1060"/>
                  </a:lnTo>
                  <a:lnTo>
                    <a:pt x="218" y="1064"/>
                  </a:lnTo>
                  <a:lnTo>
                    <a:pt x="220" y="1064"/>
                  </a:lnTo>
                  <a:lnTo>
                    <a:pt x="225" y="1062"/>
                  </a:lnTo>
                  <a:lnTo>
                    <a:pt x="231" y="1060"/>
                  </a:lnTo>
                  <a:lnTo>
                    <a:pt x="238" y="1053"/>
                  </a:lnTo>
                  <a:lnTo>
                    <a:pt x="225" y="1027"/>
                  </a:lnTo>
                  <a:lnTo>
                    <a:pt x="216" y="1002"/>
                  </a:lnTo>
                  <a:lnTo>
                    <a:pt x="224" y="984"/>
                  </a:lnTo>
                  <a:lnTo>
                    <a:pt x="206" y="973"/>
                  </a:lnTo>
                  <a:lnTo>
                    <a:pt x="187" y="958"/>
                  </a:lnTo>
                  <a:lnTo>
                    <a:pt x="178" y="935"/>
                  </a:lnTo>
                  <a:lnTo>
                    <a:pt x="186" y="915"/>
                  </a:lnTo>
                  <a:lnTo>
                    <a:pt x="657" y="866"/>
                  </a:lnTo>
                  <a:lnTo>
                    <a:pt x="657" y="864"/>
                  </a:lnTo>
                  <a:lnTo>
                    <a:pt x="672" y="864"/>
                  </a:lnTo>
                  <a:lnTo>
                    <a:pt x="663" y="840"/>
                  </a:lnTo>
                  <a:lnTo>
                    <a:pt x="643" y="806"/>
                  </a:lnTo>
                  <a:lnTo>
                    <a:pt x="643" y="777"/>
                  </a:lnTo>
                  <a:lnTo>
                    <a:pt x="646" y="733"/>
                  </a:lnTo>
                  <a:lnTo>
                    <a:pt x="634" y="710"/>
                  </a:lnTo>
                  <a:lnTo>
                    <a:pt x="619" y="666"/>
                  </a:lnTo>
                  <a:lnTo>
                    <a:pt x="634" y="643"/>
                  </a:lnTo>
                  <a:lnTo>
                    <a:pt x="641" y="603"/>
                  </a:lnTo>
                  <a:lnTo>
                    <a:pt x="648" y="594"/>
                  </a:lnTo>
                  <a:lnTo>
                    <a:pt x="657" y="584"/>
                  </a:lnTo>
                  <a:lnTo>
                    <a:pt x="637" y="566"/>
                  </a:lnTo>
                  <a:lnTo>
                    <a:pt x="641" y="537"/>
                  </a:lnTo>
                  <a:lnTo>
                    <a:pt x="619" y="512"/>
                  </a:lnTo>
                  <a:lnTo>
                    <a:pt x="612" y="494"/>
                  </a:lnTo>
                  <a:lnTo>
                    <a:pt x="599" y="474"/>
                  </a:lnTo>
                  <a:lnTo>
                    <a:pt x="463" y="0"/>
                  </a:lnTo>
                  <a:close/>
                </a:path>
              </a:pathLst>
            </a:custGeom>
            <a:solidFill>
              <a:srgbClr val="747480"/>
            </a:solidFill>
            <a:ln w="6350" cap="flat" cmpd="sng" algn="ctr">
              <a:solidFill>
                <a:srgbClr val="2E2E38"/>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646464"/>
                </a:solidFill>
                <a:effectLst/>
                <a:uLnTx/>
                <a:uFillTx/>
                <a:cs typeface="Times New Roman" panose="02020603050405020304" pitchFamily="18" charset="0"/>
              </a:endParaRPr>
            </a:p>
          </p:txBody>
        </p:sp>
        <p:sp>
          <p:nvSpPr>
            <p:cNvPr id="60" name="Freeform 122">
              <a:extLst>
                <a:ext uri="{FF2B5EF4-FFF2-40B4-BE49-F238E27FC236}">
                  <a16:creationId xmlns:a16="http://schemas.microsoft.com/office/drawing/2014/main" id="{939C95BF-5EE3-A3D7-7A43-A76DE8C36DE2}"/>
                </a:ext>
              </a:extLst>
            </p:cNvPr>
            <p:cNvSpPr>
              <a:spLocks/>
            </p:cNvSpPr>
            <p:nvPr/>
          </p:nvSpPr>
          <p:spPr bwMode="auto">
            <a:xfrm>
              <a:off x="3807022" y="4947004"/>
              <a:ext cx="562290" cy="563531"/>
            </a:xfrm>
            <a:custGeom>
              <a:avLst/>
              <a:gdLst/>
              <a:ahLst/>
              <a:cxnLst>
                <a:cxn ang="0">
                  <a:pos x="176" y="0"/>
                </a:cxn>
                <a:cxn ang="0">
                  <a:pos x="169" y="55"/>
                </a:cxn>
                <a:cxn ang="0">
                  <a:pos x="160" y="120"/>
                </a:cxn>
                <a:cxn ang="0">
                  <a:pos x="149" y="196"/>
                </a:cxn>
                <a:cxn ang="0">
                  <a:pos x="136" y="280"/>
                </a:cxn>
                <a:cxn ang="0">
                  <a:pos x="109" y="454"/>
                </a:cxn>
                <a:cxn ang="0">
                  <a:pos x="96" y="538"/>
                </a:cxn>
                <a:cxn ang="0">
                  <a:pos x="87" y="616"/>
                </a:cxn>
                <a:cxn ang="0">
                  <a:pos x="78" y="686"/>
                </a:cxn>
                <a:cxn ang="0">
                  <a:pos x="67" y="766"/>
                </a:cxn>
                <a:cxn ang="0">
                  <a:pos x="44" y="942"/>
                </a:cxn>
                <a:cxn ang="0">
                  <a:pos x="20" y="1111"/>
                </a:cxn>
                <a:cxn ang="0">
                  <a:pos x="0" y="1243"/>
                </a:cxn>
                <a:cxn ang="0">
                  <a:pos x="13" y="1245"/>
                </a:cxn>
                <a:cxn ang="0">
                  <a:pos x="156" y="1265"/>
                </a:cxn>
                <a:cxn ang="0">
                  <a:pos x="171" y="1167"/>
                </a:cxn>
                <a:cxn ang="0">
                  <a:pos x="287" y="1182"/>
                </a:cxn>
                <a:cxn ang="0">
                  <a:pos x="455" y="1200"/>
                </a:cxn>
                <a:cxn ang="0">
                  <a:pos x="455" y="1198"/>
                </a:cxn>
                <a:cxn ang="0">
                  <a:pos x="457" y="1196"/>
                </a:cxn>
                <a:cxn ang="0">
                  <a:pos x="459" y="1202"/>
                </a:cxn>
                <a:cxn ang="0">
                  <a:pos x="468" y="1202"/>
                </a:cxn>
                <a:cxn ang="0">
                  <a:pos x="470" y="1196"/>
                </a:cxn>
                <a:cxn ang="0">
                  <a:pos x="470" y="1193"/>
                </a:cxn>
                <a:cxn ang="0">
                  <a:pos x="466" y="1185"/>
                </a:cxn>
                <a:cxn ang="0">
                  <a:pos x="466" y="1182"/>
                </a:cxn>
                <a:cxn ang="0">
                  <a:pos x="466" y="1178"/>
                </a:cxn>
                <a:cxn ang="0">
                  <a:pos x="466" y="1176"/>
                </a:cxn>
                <a:cxn ang="0">
                  <a:pos x="468" y="1173"/>
                </a:cxn>
                <a:cxn ang="0">
                  <a:pos x="468" y="1171"/>
                </a:cxn>
                <a:cxn ang="0">
                  <a:pos x="468" y="1169"/>
                </a:cxn>
                <a:cxn ang="0">
                  <a:pos x="468" y="1167"/>
                </a:cxn>
                <a:cxn ang="0">
                  <a:pos x="468" y="1164"/>
                </a:cxn>
                <a:cxn ang="0">
                  <a:pos x="468" y="1160"/>
                </a:cxn>
                <a:cxn ang="0">
                  <a:pos x="470" y="1158"/>
                </a:cxn>
                <a:cxn ang="0">
                  <a:pos x="472" y="1158"/>
                </a:cxn>
                <a:cxn ang="0">
                  <a:pos x="1116" y="1214"/>
                </a:cxn>
                <a:cxn ang="0">
                  <a:pos x="1129" y="1214"/>
                </a:cxn>
                <a:cxn ang="0">
                  <a:pos x="1131" y="1202"/>
                </a:cxn>
                <a:cxn ang="0">
                  <a:pos x="1210" y="220"/>
                </a:cxn>
                <a:cxn ang="0">
                  <a:pos x="1218" y="220"/>
                </a:cxn>
                <a:cxn ang="0">
                  <a:pos x="1227" y="118"/>
                </a:cxn>
                <a:cxn ang="0">
                  <a:pos x="998" y="95"/>
                </a:cxn>
                <a:cxn ang="0">
                  <a:pos x="662" y="62"/>
                </a:cxn>
                <a:cxn ang="0">
                  <a:pos x="526" y="46"/>
                </a:cxn>
                <a:cxn ang="0">
                  <a:pos x="365" y="26"/>
                </a:cxn>
                <a:cxn ang="0">
                  <a:pos x="176" y="0"/>
                </a:cxn>
              </a:cxnLst>
              <a:rect l="0" t="0" r="r" b="b"/>
              <a:pathLst>
                <a:path w="1227" h="1265">
                  <a:moveTo>
                    <a:pt x="176" y="0"/>
                  </a:moveTo>
                  <a:lnTo>
                    <a:pt x="169" y="55"/>
                  </a:lnTo>
                  <a:lnTo>
                    <a:pt x="160" y="120"/>
                  </a:lnTo>
                  <a:lnTo>
                    <a:pt x="149" y="196"/>
                  </a:lnTo>
                  <a:lnTo>
                    <a:pt x="136" y="280"/>
                  </a:lnTo>
                  <a:lnTo>
                    <a:pt x="109" y="454"/>
                  </a:lnTo>
                  <a:lnTo>
                    <a:pt x="96" y="538"/>
                  </a:lnTo>
                  <a:lnTo>
                    <a:pt x="87" y="616"/>
                  </a:lnTo>
                  <a:lnTo>
                    <a:pt x="78" y="686"/>
                  </a:lnTo>
                  <a:lnTo>
                    <a:pt x="67" y="766"/>
                  </a:lnTo>
                  <a:lnTo>
                    <a:pt x="44" y="942"/>
                  </a:lnTo>
                  <a:lnTo>
                    <a:pt x="20" y="1111"/>
                  </a:lnTo>
                  <a:lnTo>
                    <a:pt x="0" y="1243"/>
                  </a:lnTo>
                  <a:lnTo>
                    <a:pt x="13" y="1245"/>
                  </a:lnTo>
                  <a:lnTo>
                    <a:pt x="156" y="1265"/>
                  </a:lnTo>
                  <a:lnTo>
                    <a:pt x="171" y="1167"/>
                  </a:lnTo>
                  <a:lnTo>
                    <a:pt x="287" y="1182"/>
                  </a:lnTo>
                  <a:lnTo>
                    <a:pt x="455" y="1200"/>
                  </a:lnTo>
                  <a:lnTo>
                    <a:pt x="455" y="1198"/>
                  </a:lnTo>
                  <a:lnTo>
                    <a:pt x="457" y="1196"/>
                  </a:lnTo>
                  <a:lnTo>
                    <a:pt x="459" y="1202"/>
                  </a:lnTo>
                  <a:lnTo>
                    <a:pt x="468" y="1202"/>
                  </a:lnTo>
                  <a:lnTo>
                    <a:pt x="470" y="1196"/>
                  </a:lnTo>
                  <a:lnTo>
                    <a:pt x="470" y="1193"/>
                  </a:lnTo>
                  <a:lnTo>
                    <a:pt x="466" y="1185"/>
                  </a:lnTo>
                  <a:lnTo>
                    <a:pt x="466" y="1182"/>
                  </a:lnTo>
                  <a:lnTo>
                    <a:pt x="466" y="1178"/>
                  </a:lnTo>
                  <a:lnTo>
                    <a:pt x="466" y="1176"/>
                  </a:lnTo>
                  <a:lnTo>
                    <a:pt x="468" y="1173"/>
                  </a:lnTo>
                  <a:lnTo>
                    <a:pt x="468" y="1171"/>
                  </a:lnTo>
                  <a:lnTo>
                    <a:pt x="468" y="1169"/>
                  </a:lnTo>
                  <a:lnTo>
                    <a:pt x="468" y="1167"/>
                  </a:lnTo>
                  <a:lnTo>
                    <a:pt x="468" y="1164"/>
                  </a:lnTo>
                  <a:lnTo>
                    <a:pt x="468" y="1160"/>
                  </a:lnTo>
                  <a:lnTo>
                    <a:pt x="470" y="1158"/>
                  </a:lnTo>
                  <a:lnTo>
                    <a:pt x="472" y="1158"/>
                  </a:lnTo>
                  <a:lnTo>
                    <a:pt x="1116" y="1214"/>
                  </a:lnTo>
                  <a:lnTo>
                    <a:pt x="1129" y="1214"/>
                  </a:lnTo>
                  <a:lnTo>
                    <a:pt x="1131" y="1202"/>
                  </a:lnTo>
                  <a:lnTo>
                    <a:pt x="1210" y="220"/>
                  </a:lnTo>
                  <a:lnTo>
                    <a:pt x="1218" y="220"/>
                  </a:lnTo>
                  <a:lnTo>
                    <a:pt x="1227" y="118"/>
                  </a:lnTo>
                  <a:lnTo>
                    <a:pt x="998" y="95"/>
                  </a:lnTo>
                  <a:lnTo>
                    <a:pt x="662" y="62"/>
                  </a:lnTo>
                  <a:lnTo>
                    <a:pt x="526" y="46"/>
                  </a:lnTo>
                  <a:lnTo>
                    <a:pt x="365" y="26"/>
                  </a:lnTo>
                  <a:lnTo>
                    <a:pt x="176" y="0"/>
                  </a:lnTo>
                  <a:close/>
                </a:path>
              </a:pathLst>
            </a:custGeom>
            <a:solidFill>
              <a:srgbClr val="FFE600"/>
            </a:solidFill>
            <a:ln w="6350" cap="flat" cmpd="sng" algn="ctr">
              <a:solidFill>
                <a:srgbClr val="2E2E38"/>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646464"/>
                </a:solidFill>
                <a:effectLst/>
                <a:uLnTx/>
                <a:uFillTx/>
                <a:cs typeface="Times New Roman" panose="02020603050405020304" pitchFamily="18" charset="0"/>
              </a:endParaRPr>
            </a:p>
          </p:txBody>
        </p:sp>
        <p:sp>
          <p:nvSpPr>
            <p:cNvPr id="61" name="Freeform 124">
              <a:extLst>
                <a:ext uri="{FF2B5EF4-FFF2-40B4-BE49-F238E27FC236}">
                  <a16:creationId xmlns:a16="http://schemas.microsoft.com/office/drawing/2014/main" id="{CB2DFC65-3975-C217-8F5D-25B4965EF6B9}"/>
                </a:ext>
              </a:extLst>
            </p:cNvPr>
            <p:cNvSpPr>
              <a:spLocks/>
            </p:cNvSpPr>
            <p:nvPr/>
          </p:nvSpPr>
          <p:spPr bwMode="auto">
            <a:xfrm>
              <a:off x="5783281" y="5149412"/>
              <a:ext cx="430418" cy="443157"/>
            </a:xfrm>
            <a:custGeom>
              <a:avLst/>
              <a:gdLst/>
              <a:ahLst/>
              <a:cxnLst>
                <a:cxn ang="0">
                  <a:pos x="419" y="5"/>
                </a:cxn>
                <a:cxn ang="0">
                  <a:pos x="102" y="44"/>
                </a:cxn>
                <a:cxn ang="0">
                  <a:pos x="136" y="532"/>
                </a:cxn>
                <a:cxn ang="0">
                  <a:pos x="178" y="595"/>
                </a:cxn>
                <a:cxn ang="0">
                  <a:pos x="178" y="661"/>
                </a:cxn>
                <a:cxn ang="0">
                  <a:pos x="171" y="768"/>
                </a:cxn>
                <a:cxn ang="0">
                  <a:pos x="180" y="864"/>
                </a:cxn>
                <a:cxn ang="0">
                  <a:pos x="231" y="960"/>
                </a:cxn>
                <a:cxn ang="0">
                  <a:pos x="750" y="969"/>
                </a:cxn>
                <a:cxn ang="0">
                  <a:pos x="786" y="955"/>
                </a:cxn>
                <a:cxn ang="0">
                  <a:pos x="797" y="884"/>
                </a:cxn>
                <a:cxn ang="0">
                  <a:pos x="871" y="898"/>
                </a:cxn>
                <a:cxn ang="0">
                  <a:pos x="873" y="829"/>
                </a:cxn>
                <a:cxn ang="0">
                  <a:pos x="869" y="808"/>
                </a:cxn>
                <a:cxn ang="0">
                  <a:pos x="873" y="797"/>
                </a:cxn>
                <a:cxn ang="0">
                  <a:pos x="886" y="791"/>
                </a:cxn>
                <a:cxn ang="0">
                  <a:pos x="891" y="780"/>
                </a:cxn>
                <a:cxn ang="0">
                  <a:pos x="889" y="764"/>
                </a:cxn>
                <a:cxn ang="0">
                  <a:pos x="886" y="751"/>
                </a:cxn>
                <a:cxn ang="0">
                  <a:pos x="889" y="739"/>
                </a:cxn>
                <a:cxn ang="0">
                  <a:pos x="902" y="715"/>
                </a:cxn>
                <a:cxn ang="0">
                  <a:pos x="898" y="699"/>
                </a:cxn>
                <a:cxn ang="0">
                  <a:pos x="895" y="681"/>
                </a:cxn>
                <a:cxn ang="0">
                  <a:pos x="906" y="662"/>
                </a:cxn>
                <a:cxn ang="0">
                  <a:pos x="922" y="637"/>
                </a:cxn>
                <a:cxn ang="0">
                  <a:pos x="927" y="615"/>
                </a:cxn>
                <a:cxn ang="0">
                  <a:pos x="940" y="595"/>
                </a:cxn>
                <a:cxn ang="0">
                  <a:pos x="913" y="588"/>
                </a:cxn>
                <a:cxn ang="0">
                  <a:pos x="900" y="575"/>
                </a:cxn>
                <a:cxn ang="0">
                  <a:pos x="893" y="554"/>
                </a:cxn>
                <a:cxn ang="0">
                  <a:pos x="884" y="526"/>
                </a:cxn>
                <a:cxn ang="0">
                  <a:pos x="868" y="499"/>
                </a:cxn>
                <a:cxn ang="0">
                  <a:pos x="849" y="490"/>
                </a:cxn>
                <a:cxn ang="0">
                  <a:pos x="837" y="485"/>
                </a:cxn>
                <a:cxn ang="0">
                  <a:pos x="830" y="474"/>
                </a:cxn>
                <a:cxn ang="0">
                  <a:pos x="826" y="450"/>
                </a:cxn>
                <a:cxn ang="0">
                  <a:pos x="822" y="432"/>
                </a:cxn>
                <a:cxn ang="0">
                  <a:pos x="813" y="421"/>
                </a:cxn>
                <a:cxn ang="0">
                  <a:pos x="808" y="403"/>
                </a:cxn>
                <a:cxn ang="0">
                  <a:pos x="802" y="392"/>
                </a:cxn>
                <a:cxn ang="0">
                  <a:pos x="766" y="376"/>
                </a:cxn>
                <a:cxn ang="0">
                  <a:pos x="735" y="359"/>
                </a:cxn>
                <a:cxn ang="0">
                  <a:pos x="717" y="327"/>
                </a:cxn>
                <a:cxn ang="0">
                  <a:pos x="704" y="309"/>
                </a:cxn>
                <a:cxn ang="0">
                  <a:pos x="692" y="298"/>
                </a:cxn>
                <a:cxn ang="0">
                  <a:pos x="646" y="265"/>
                </a:cxn>
                <a:cxn ang="0">
                  <a:pos x="630" y="247"/>
                </a:cxn>
                <a:cxn ang="0">
                  <a:pos x="577" y="212"/>
                </a:cxn>
                <a:cxn ang="0">
                  <a:pos x="555" y="189"/>
                </a:cxn>
                <a:cxn ang="0">
                  <a:pos x="543" y="163"/>
                </a:cxn>
                <a:cxn ang="0">
                  <a:pos x="525" y="129"/>
                </a:cxn>
                <a:cxn ang="0">
                  <a:pos x="505" y="111"/>
                </a:cxn>
                <a:cxn ang="0">
                  <a:pos x="479" y="107"/>
                </a:cxn>
                <a:cxn ang="0">
                  <a:pos x="439" y="91"/>
                </a:cxn>
                <a:cxn ang="0">
                  <a:pos x="421" y="73"/>
                </a:cxn>
                <a:cxn ang="0">
                  <a:pos x="419" y="51"/>
                </a:cxn>
                <a:cxn ang="0">
                  <a:pos x="430" y="31"/>
                </a:cxn>
                <a:cxn ang="0">
                  <a:pos x="447" y="13"/>
                </a:cxn>
                <a:cxn ang="0">
                  <a:pos x="448" y="0"/>
                </a:cxn>
              </a:cxnLst>
              <a:rect l="0" t="0" r="r" b="b"/>
              <a:pathLst>
                <a:path w="940" h="995">
                  <a:moveTo>
                    <a:pt x="448" y="0"/>
                  </a:moveTo>
                  <a:lnTo>
                    <a:pt x="436" y="2"/>
                  </a:lnTo>
                  <a:lnTo>
                    <a:pt x="419" y="5"/>
                  </a:lnTo>
                  <a:lnTo>
                    <a:pt x="369" y="13"/>
                  </a:lnTo>
                  <a:lnTo>
                    <a:pt x="232" y="27"/>
                  </a:lnTo>
                  <a:lnTo>
                    <a:pt x="102" y="44"/>
                  </a:lnTo>
                  <a:lnTo>
                    <a:pt x="0" y="58"/>
                  </a:lnTo>
                  <a:lnTo>
                    <a:pt x="4" y="71"/>
                  </a:lnTo>
                  <a:lnTo>
                    <a:pt x="136" y="532"/>
                  </a:lnTo>
                  <a:lnTo>
                    <a:pt x="149" y="552"/>
                  </a:lnTo>
                  <a:lnTo>
                    <a:pt x="156" y="570"/>
                  </a:lnTo>
                  <a:lnTo>
                    <a:pt x="178" y="595"/>
                  </a:lnTo>
                  <a:lnTo>
                    <a:pt x="174" y="624"/>
                  </a:lnTo>
                  <a:lnTo>
                    <a:pt x="194" y="642"/>
                  </a:lnTo>
                  <a:lnTo>
                    <a:pt x="178" y="661"/>
                  </a:lnTo>
                  <a:lnTo>
                    <a:pt x="171" y="701"/>
                  </a:lnTo>
                  <a:lnTo>
                    <a:pt x="156" y="724"/>
                  </a:lnTo>
                  <a:lnTo>
                    <a:pt x="171" y="768"/>
                  </a:lnTo>
                  <a:lnTo>
                    <a:pt x="183" y="791"/>
                  </a:lnTo>
                  <a:lnTo>
                    <a:pt x="180" y="835"/>
                  </a:lnTo>
                  <a:lnTo>
                    <a:pt x="180" y="864"/>
                  </a:lnTo>
                  <a:lnTo>
                    <a:pt x="200" y="898"/>
                  </a:lnTo>
                  <a:lnTo>
                    <a:pt x="209" y="922"/>
                  </a:lnTo>
                  <a:lnTo>
                    <a:pt x="231" y="960"/>
                  </a:lnTo>
                  <a:lnTo>
                    <a:pt x="238" y="978"/>
                  </a:lnTo>
                  <a:lnTo>
                    <a:pt x="744" y="951"/>
                  </a:lnTo>
                  <a:lnTo>
                    <a:pt x="750" y="969"/>
                  </a:lnTo>
                  <a:lnTo>
                    <a:pt x="757" y="995"/>
                  </a:lnTo>
                  <a:lnTo>
                    <a:pt x="782" y="991"/>
                  </a:lnTo>
                  <a:lnTo>
                    <a:pt x="786" y="955"/>
                  </a:lnTo>
                  <a:lnTo>
                    <a:pt x="775" y="927"/>
                  </a:lnTo>
                  <a:lnTo>
                    <a:pt x="777" y="897"/>
                  </a:lnTo>
                  <a:lnTo>
                    <a:pt x="797" y="884"/>
                  </a:lnTo>
                  <a:lnTo>
                    <a:pt x="822" y="893"/>
                  </a:lnTo>
                  <a:lnTo>
                    <a:pt x="857" y="897"/>
                  </a:lnTo>
                  <a:lnTo>
                    <a:pt x="871" y="898"/>
                  </a:lnTo>
                  <a:lnTo>
                    <a:pt x="884" y="902"/>
                  </a:lnTo>
                  <a:lnTo>
                    <a:pt x="879" y="866"/>
                  </a:lnTo>
                  <a:lnTo>
                    <a:pt x="873" y="829"/>
                  </a:lnTo>
                  <a:lnTo>
                    <a:pt x="871" y="818"/>
                  </a:lnTo>
                  <a:lnTo>
                    <a:pt x="869" y="813"/>
                  </a:lnTo>
                  <a:lnTo>
                    <a:pt x="869" y="808"/>
                  </a:lnTo>
                  <a:lnTo>
                    <a:pt x="869" y="804"/>
                  </a:lnTo>
                  <a:lnTo>
                    <a:pt x="871" y="800"/>
                  </a:lnTo>
                  <a:lnTo>
                    <a:pt x="873" y="797"/>
                  </a:lnTo>
                  <a:lnTo>
                    <a:pt x="875" y="795"/>
                  </a:lnTo>
                  <a:lnTo>
                    <a:pt x="880" y="793"/>
                  </a:lnTo>
                  <a:lnTo>
                    <a:pt x="886" y="791"/>
                  </a:lnTo>
                  <a:lnTo>
                    <a:pt x="888" y="789"/>
                  </a:lnTo>
                  <a:lnTo>
                    <a:pt x="889" y="784"/>
                  </a:lnTo>
                  <a:lnTo>
                    <a:pt x="891" y="780"/>
                  </a:lnTo>
                  <a:lnTo>
                    <a:pt x="891" y="777"/>
                  </a:lnTo>
                  <a:lnTo>
                    <a:pt x="891" y="769"/>
                  </a:lnTo>
                  <a:lnTo>
                    <a:pt x="889" y="764"/>
                  </a:lnTo>
                  <a:lnTo>
                    <a:pt x="886" y="759"/>
                  </a:lnTo>
                  <a:lnTo>
                    <a:pt x="886" y="753"/>
                  </a:lnTo>
                  <a:lnTo>
                    <a:pt x="886" y="751"/>
                  </a:lnTo>
                  <a:lnTo>
                    <a:pt x="886" y="748"/>
                  </a:lnTo>
                  <a:lnTo>
                    <a:pt x="888" y="744"/>
                  </a:lnTo>
                  <a:lnTo>
                    <a:pt x="889" y="739"/>
                  </a:lnTo>
                  <a:lnTo>
                    <a:pt x="897" y="728"/>
                  </a:lnTo>
                  <a:lnTo>
                    <a:pt x="900" y="719"/>
                  </a:lnTo>
                  <a:lnTo>
                    <a:pt x="902" y="715"/>
                  </a:lnTo>
                  <a:lnTo>
                    <a:pt x="902" y="711"/>
                  </a:lnTo>
                  <a:lnTo>
                    <a:pt x="900" y="706"/>
                  </a:lnTo>
                  <a:lnTo>
                    <a:pt x="898" y="699"/>
                  </a:lnTo>
                  <a:lnTo>
                    <a:pt x="897" y="691"/>
                  </a:lnTo>
                  <a:lnTo>
                    <a:pt x="895" y="684"/>
                  </a:lnTo>
                  <a:lnTo>
                    <a:pt x="895" y="681"/>
                  </a:lnTo>
                  <a:lnTo>
                    <a:pt x="897" y="675"/>
                  </a:lnTo>
                  <a:lnTo>
                    <a:pt x="900" y="668"/>
                  </a:lnTo>
                  <a:lnTo>
                    <a:pt x="906" y="662"/>
                  </a:lnTo>
                  <a:lnTo>
                    <a:pt x="915" y="652"/>
                  </a:lnTo>
                  <a:lnTo>
                    <a:pt x="918" y="644"/>
                  </a:lnTo>
                  <a:lnTo>
                    <a:pt x="922" y="637"/>
                  </a:lnTo>
                  <a:lnTo>
                    <a:pt x="922" y="630"/>
                  </a:lnTo>
                  <a:lnTo>
                    <a:pt x="924" y="622"/>
                  </a:lnTo>
                  <a:lnTo>
                    <a:pt x="927" y="615"/>
                  </a:lnTo>
                  <a:lnTo>
                    <a:pt x="933" y="608"/>
                  </a:lnTo>
                  <a:lnTo>
                    <a:pt x="933" y="606"/>
                  </a:lnTo>
                  <a:lnTo>
                    <a:pt x="940" y="595"/>
                  </a:lnTo>
                  <a:lnTo>
                    <a:pt x="929" y="593"/>
                  </a:lnTo>
                  <a:lnTo>
                    <a:pt x="918" y="590"/>
                  </a:lnTo>
                  <a:lnTo>
                    <a:pt x="913" y="588"/>
                  </a:lnTo>
                  <a:lnTo>
                    <a:pt x="908" y="584"/>
                  </a:lnTo>
                  <a:lnTo>
                    <a:pt x="904" y="581"/>
                  </a:lnTo>
                  <a:lnTo>
                    <a:pt x="900" y="575"/>
                  </a:lnTo>
                  <a:lnTo>
                    <a:pt x="898" y="572"/>
                  </a:lnTo>
                  <a:lnTo>
                    <a:pt x="897" y="566"/>
                  </a:lnTo>
                  <a:lnTo>
                    <a:pt x="893" y="554"/>
                  </a:lnTo>
                  <a:lnTo>
                    <a:pt x="888" y="539"/>
                  </a:lnTo>
                  <a:lnTo>
                    <a:pt x="886" y="532"/>
                  </a:lnTo>
                  <a:lnTo>
                    <a:pt x="884" y="526"/>
                  </a:lnTo>
                  <a:lnTo>
                    <a:pt x="875" y="512"/>
                  </a:lnTo>
                  <a:lnTo>
                    <a:pt x="871" y="505"/>
                  </a:lnTo>
                  <a:lnTo>
                    <a:pt x="868" y="499"/>
                  </a:lnTo>
                  <a:lnTo>
                    <a:pt x="862" y="495"/>
                  </a:lnTo>
                  <a:lnTo>
                    <a:pt x="859" y="494"/>
                  </a:lnTo>
                  <a:lnTo>
                    <a:pt x="849" y="490"/>
                  </a:lnTo>
                  <a:lnTo>
                    <a:pt x="840" y="488"/>
                  </a:lnTo>
                  <a:lnTo>
                    <a:pt x="839" y="486"/>
                  </a:lnTo>
                  <a:lnTo>
                    <a:pt x="837" y="485"/>
                  </a:lnTo>
                  <a:lnTo>
                    <a:pt x="835" y="483"/>
                  </a:lnTo>
                  <a:lnTo>
                    <a:pt x="833" y="481"/>
                  </a:lnTo>
                  <a:lnTo>
                    <a:pt x="830" y="474"/>
                  </a:lnTo>
                  <a:lnTo>
                    <a:pt x="828" y="468"/>
                  </a:lnTo>
                  <a:lnTo>
                    <a:pt x="826" y="457"/>
                  </a:lnTo>
                  <a:lnTo>
                    <a:pt x="826" y="450"/>
                  </a:lnTo>
                  <a:lnTo>
                    <a:pt x="826" y="445"/>
                  </a:lnTo>
                  <a:lnTo>
                    <a:pt x="826" y="437"/>
                  </a:lnTo>
                  <a:lnTo>
                    <a:pt x="822" y="432"/>
                  </a:lnTo>
                  <a:lnTo>
                    <a:pt x="819" y="428"/>
                  </a:lnTo>
                  <a:lnTo>
                    <a:pt x="815" y="425"/>
                  </a:lnTo>
                  <a:lnTo>
                    <a:pt x="813" y="421"/>
                  </a:lnTo>
                  <a:lnTo>
                    <a:pt x="811" y="417"/>
                  </a:lnTo>
                  <a:lnTo>
                    <a:pt x="810" y="408"/>
                  </a:lnTo>
                  <a:lnTo>
                    <a:pt x="808" y="403"/>
                  </a:lnTo>
                  <a:lnTo>
                    <a:pt x="808" y="399"/>
                  </a:lnTo>
                  <a:lnTo>
                    <a:pt x="804" y="396"/>
                  </a:lnTo>
                  <a:lnTo>
                    <a:pt x="802" y="392"/>
                  </a:lnTo>
                  <a:lnTo>
                    <a:pt x="795" y="388"/>
                  </a:lnTo>
                  <a:lnTo>
                    <a:pt x="786" y="385"/>
                  </a:lnTo>
                  <a:lnTo>
                    <a:pt x="766" y="376"/>
                  </a:lnTo>
                  <a:lnTo>
                    <a:pt x="746" y="367"/>
                  </a:lnTo>
                  <a:lnTo>
                    <a:pt x="739" y="363"/>
                  </a:lnTo>
                  <a:lnTo>
                    <a:pt x="735" y="359"/>
                  </a:lnTo>
                  <a:lnTo>
                    <a:pt x="728" y="350"/>
                  </a:lnTo>
                  <a:lnTo>
                    <a:pt x="724" y="343"/>
                  </a:lnTo>
                  <a:lnTo>
                    <a:pt x="717" y="327"/>
                  </a:lnTo>
                  <a:lnTo>
                    <a:pt x="713" y="319"/>
                  </a:lnTo>
                  <a:lnTo>
                    <a:pt x="708" y="312"/>
                  </a:lnTo>
                  <a:lnTo>
                    <a:pt x="704" y="309"/>
                  </a:lnTo>
                  <a:lnTo>
                    <a:pt x="701" y="305"/>
                  </a:lnTo>
                  <a:lnTo>
                    <a:pt x="697" y="301"/>
                  </a:lnTo>
                  <a:lnTo>
                    <a:pt x="692" y="298"/>
                  </a:lnTo>
                  <a:lnTo>
                    <a:pt x="673" y="287"/>
                  </a:lnTo>
                  <a:lnTo>
                    <a:pt x="659" y="276"/>
                  </a:lnTo>
                  <a:lnTo>
                    <a:pt x="646" y="265"/>
                  </a:lnTo>
                  <a:lnTo>
                    <a:pt x="641" y="258"/>
                  </a:lnTo>
                  <a:lnTo>
                    <a:pt x="634" y="250"/>
                  </a:lnTo>
                  <a:lnTo>
                    <a:pt x="630" y="247"/>
                  </a:lnTo>
                  <a:lnTo>
                    <a:pt x="624" y="241"/>
                  </a:lnTo>
                  <a:lnTo>
                    <a:pt x="606" y="231"/>
                  </a:lnTo>
                  <a:lnTo>
                    <a:pt x="577" y="212"/>
                  </a:lnTo>
                  <a:lnTo>
                    <a:pt x="565" y="201"/>
                  </a:lnTo>
                  <a:lnTo>
                    <a:pt x="559" y="194"/>
                  </a:lnTo>
                  <a:lnTo>
                    <a:pt x="555" y="189"/>
                  </a:lnTo>
                  <a:lnTo>
                    <a:pt x="552" y="183"/>
                  </a:lnTo>
                  <a:lnTo>
                    <a:pt x="548" y="176"/>
                  </a:lnTo>
                  <a:lnTo>
                    <a:pt x="543" y="163"/>
                  </a:lnTo>
                  <a:lnTo>
                    <a:pt x="537" y="149"/>
                  </a:lnTo>
                  <a:lnTo>
                    <a:pt x="528" y="136"/>
                  </a:lnTo>
                  <a:lnTo>
                    <a:pt x="525" y="129"/>
                  </a:lnTo>
                  <a:lnTo>
                    <a:pt x="519" y="123"/>
                  </a:lnTo>
                  <a:lnTo>
                    <a:pt x="512" y="116"/>
                  </a:lnTo>
                  <a:lnTo>
                    <a:pt x="505" y="111"/>
                  </a:lnTo>
                  <a:lnTo>
                    <a:pt x="501" y="111"/>
                  </a:lnTo>
                  <a:lnTo>
                    <a:pt x="490" y="109"/>
                  </a:lnTo>
                  <a:lnTo>
                    <a:pt x="479" y="107"/>
                  </a:lnTo>
                  <a:lnTo>
                    <a:pt x="465" y="103"/>
                  </a:lnTo>
                  <a:lnTo>
                    <a:pt x="452" y="98"/>
                  </a:lnTo>
                  <a:lnTo>
                    <a:pt x="439" y="91"/>
                  </a:lnTo>
                  <a:lnTo>
                    <a:pt x="428" y="82"/>
                  </a:lnTo>
                  <a:lnTo>
                    <a:pt x="425" y="78"/>
                  </a:lnTo>
                  <a:lnTo>
                    <a:pt x="421" y="73"/>
                  </a:lnTo>
                  <a:lnTo>
                    <a:pt x="419" y="65"/>
                  </a:lnTo>
                  <a:lnTo>
                    <a:pt x="419" y="60"/>
                  </a:lnTo>
                  <a:lnTo>
                    <a:pt x="419" y="51"/>
                  </a:lnTo>
                  <a:lnTo>
                    <a:pt x="421" y="47"/>
                  </a:lnTo>
                  <a:lnTo>
                    <a:pt x="423" y="42"/>
                  </a:lnTo>
                  <a:lnTo>
                    <a:pt x="430" y="31"/>
                  </a:lnTo>
                  <a:lnTo>
                    <a:pt x="439" y="20"/>
                  </a:lnTo>
                  <a:lnTo>
                    <a:pt x="445" y="15"/>
                  </a:lnTo>
                  <a:lnTo>
                    <a:pt x="447" y="13"/>
                  </a:lnTo>
                  <a:lnTo>
                    <a:pt x="448" y="9"/>
                  </a:lnTo>
                  <a:lnTo>
                    <a:pt x="448" y="4"/>
                  </a:lnTo>
                  <a:lnTo>
                    <a:pt x="448" y="0"/>
                  </a:lnTo>
                  <a:close/>
                </a:path>
              </a:pathLst>
            </a:custGeom>
            <a:solidFill>
              <a:srgbClr val="747480"/>
            </a:solidFill>
            <a:ln w="6350" cap="flat" cmpd="sng" algn="ctr">
              <a:solidFill>
                <a:srgbClr val="2E2E38"/>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646464"/>
                </a:solidFill>
                <a:effectLst/>
                <a:uLnTx/>
                <a:uFillTx/>
                <a:cs typeface="Times New Roman" panose="02020603050405020304" pitchFamily="18" charset="0"/>
              </a:endParaRPr>
            </a:p>
          </p:txBody>
        </p:sp>
        <p:sp>
          <p:nvSpPr>
            <p:cNvPr id="62" name="Freeform 126">
              <a:extLst>
                <a:ext uri="{FF2B5EF4-FFF2-40B4-BE49-F238E27FC236}">
                  <a16:creationId xmlns:a16="http://schemas.microsoft.com/office/drawing/2014/main" id="{B82AD3E9-9D22-E74F-58ED-19CC667D326F}"/>
                </a:ext>
              </a:extLst>
            </p:cNvPr>
            <p:cNvSpPr>
              <a:spLocks/>
            </p:cNvSpPr>
            <p:nvPr/>
          </p:nvSpPr>
          <p:spPr bwMode="auto">
            <a:xfrm>
              <a:off x="5653238" y="5542636"/>
              <a:ext cx="728046" cy="543023"/>
            </a:xfrm>
            <a:custGeom>
              <a:avLst/>
              <a:gdLst/>
              <a:ahLst/>
              <a:cxnLst>
                <a:cxn ang="0">
                  <a:pos x="1029" y="67"/>
                </a:cxn>
                <a:cxn ang="0">
                  <a:pos x="46" y="158"/>
                </a:cxn>
                <a:cxn ang="0">
                  <a:pos x="86" y="205"/>
                </a:cxn>
                <a:cxn ang="0">
                  <a:pos x="118" y="176"/>
                </a:cxn>
                <a:cxn ang="0">
                  <a:pos x="142" y="209"/>
                </a:cxn>
                <a:cxn ang="0">
                  <a:pos x="178" y="201"/>
                </a:cxn>
                <a:cxn ang="0">
                  <a:pos x="214" y="196"/>
                </a:cxn>
                <a:cxn ang="0">
                  <a:pos x="287" y="194"/>
                </a:cxn>
                <a:cxn ang="0">
                  <a:pos x="356" y="236"/>
                </a:cxn>
                <a:cxn ang="0">
                  <a:pos x="381" y="227"/>
                </a:cxn>
                <a:cxn ang="0">
                  <a:pos x="401" y="258"/>
                </a:cxn>
                <a:cxn ang="0">
                  <a:pos x="445" y="288"/>
                </a:cxn>
                <a:cxn ang="0">
                  <a:pos x="472" y="332"/>
                </a:cxn>
                <a:cxn ang="0">
                  <a:pos x="556" y="308"/>
                </a:cxn>
                <a:cxn ang="0">
                  <a:pos x="626" y="268"/>
                </a:cxn>
                <a:cxn ang="0">
                  <a:pos x="634" y="250"/>
                </a:cxn>
                <a:cxn ang="0">
                  <a:pos x="659" y="221"/>
                </a:cxn>
                <a:cxn ang="0">
                  <a:pos x="748" y="234"/>
                </a:cxn>
                <a:cxn ang="0">
                  <a:pos x="821" y="290"/>
                </a:cxn>
                <a:cxn ang="0">
                  <a:pos x="833" y="317"/>
                </a:cxn>
                <a:cxn ang="0">
                  <a:pos x="906" y="377"/>
                </a:cxn>
                <a:cxn ang="0">
                  <a:pos x="982" y="428"/>
                </a:cxn>
                <a:cxn ang="0">
                  <a:pos x="995" y="483"/>
                </a:cxn>
                <a:cxn ang="0">
                  <a:pos x="1011" y="552"/>
                </a:cxn>
                <a:cxn ang="0">
                  <a:pos x="993" y="650"/>
                </a:cxn>
                <a:cxn ang="0">
                  <a:pos x="1027" y="697"/>
                </a:cxn>
                <a:cxn ang="0">
                  <a:pos x="1022" y="642"/>
                </a:cxn>
                <a:cxn ang="0">
                  <a:pos x="1042" y="659"/>
                </a:cxn>
                <a:cxn ang="0">
                  <a:pos x="1069" y="655"/>
                </a:cxn>
                <a:cxn ang="0">
                  <a:pos x="1080" y="682"/>
                </a:cxn>
                <a:cxn ang="0">
                  <a:pos x="1056" y="735"/>
                </a:cxn>
                <a:cxn ang="0">
                  <a:pos x="1038" y="746"/>
                </a:cxn>
                <a:cxn ang="0">
                  <a:pos x="1078" y="809"/>
                </a:cxn>
                <a:cxn ang="0">
                  <a:pos x="1138" y="880"/>
                </a:cxn>
                <a:cxn ang="0">
                  <a:pos x="1142" y="856"/>
                </a:cxn>
                <a:cxn ang="0">
                  <a:pos x="1171" y="851"/>
                </a:cxn>
                <a:cxn ang="0">
                  <a:pos x="1187" y="934"/>
                </a:cxn>
                <a:cxn ang="0">
                  <a:pos x="1203" y="938"/>
                </a:cxn>
                <a:cxn ang="0">
                  <a:pos x="1234" y="974"/>
                </a:cxn>
                <a:cxn ang="0">
                  <a:pos x="1272" y="1052"/>
                </a:cxn>
                <a:cxn ang="0">
                  <a:pos x="1359" y="1103"/>
                </a:cxn>
                <a:cxn ang="0">
                  <a:pos x="1430" y="1167"/>
                </a:cxn>
                <a:cxn ang="0">
                  <a:pos x="1439" y="1188"/>
                </a:cxn>
                <a:cxn ang="0">
                  <a:pos x="1408" y="1172"/>
                </a:cxn>
                <a:cxn ang="0">
                  <a:pos x="1412" y="1201"/>
                </a:cxn>
                <a:cxn ang="0">
                  <a:pos x="1463" y="1210"/>
                </a:cxn>
                <a:cxn ang="0">
                  <a:pos x="1505" y="1199"/>
                </a:cxn>
                <a:cxn ang="0">
                  <a:pos x="1561" y="1141"/>
                </a:cxn>
                <a:cxn ang="0">
                  <a:pos x="1586" y="1023"/>
                </a:cxn>
                <a:cxn ang="0">
                  <a:pos x="1579" y="934"/>
                </a:cxn>
                <a:cxn ang="0">
                  <a:pos x="1572" y="809"/>
                </a:cxn>
                <a:cxn ang="0">
                  <a:pos x="1505" y="704"/>
                </a:cxn>
                <a:cxn ang="0">
                  <a:pos x="1394" y="528"/>
                </a:cxn>
                <a:cxn ang="0">
                  <a:pos x="1350" y="424"/>
                </a:cxn>
                <a:cxn ang="0">
                  <a:pos x="1309" y="330"/>
                </a:cxn>
                <a:cxn ang="0">
                  <a:pos x="1211" y="145"/>
                </a:cxn>
                <a:cxn ang="0">
                  <a:pos x="1142" y="13"/>
                </a:cxn>
              </a:cxnLst>
              <a:rect l="0" t="0" r="r" b="b"/>
              <a:pathLst>
                <a:path w="1592" h="1218">
                  <a:moveTo>
                    <a:pt x="1082" y="0"/>
                  </a:moveTo>
                  <a:lnTo>
                    <a:pt x="1062" y="13"/>
                  </a:lnTo>
                  <a:lnTo>
                    <a:pt x="1060" y="43"/>
                  </a:lnTo>
                  <a:lnTo>
                    <a:pt x="1071" y="71"/>
                  </a:lnTo>
                  <a:lnTo>
                    <a:pt x="1067" y="107"/>
                  </a:lnTo>
                  <a:lnTo>
                    <a:pt x="1042" y="111"/>
                  </a:lnTo>
                  <a:lnTo>
                    <a:pt x="1035" y="85"/>
                  </a:lnTo>
                  <a:lnTo>
                    <a:pt x="1029" y="67"/>
                  </a:lnTo>
                  <a:lnTo>
                    <a:pt x="523" y="94"/>
                  </a:lnTo>
                  <a:lnTo>
                    <a:pt x="516" y="76"/>
                  </a:lnTo>
                  <a:lnTo>
                    <a:pt x="494" y="38"/>
                  </a:lnTo>
                  <a:lnTo>
                    <a:pt x="8" y="89"/>
                  </a:lnTo>
                  <a:lnTo>
                    <a:pt x="0" y="109"/>
                  </a:lnTo>
                  <a:lnTo>
                    <a:pt x="9" y="132"/>
                  </a:lnTo>
                  <a:lnTo>
                    <a:pt x="28" y="147"/>
                  </a:lnTo>
                  <a:lnTo>
                    <a:pt x="46" y="158"/>
                  </a:lnTo>
                  <a:lnTo>
                    <a:pt x="38" y="176"/>
                  </a:lnTo>
                  <a:lnTo>
                    <a:pt x="47" y="201"/>
                  </a:lnTo>
                  <a:lnTo>
                    <a:pt x="55" y="214"/>
                  </a:lnTo>
                  <a:lnTo>
                    <a:pt x="55" y="216"/>
                  </a:lnTo>
                  <a:lnTo>
                    <a:pt x="60" y="227"/>
                  </a:lnTo>
                  <a:lnTo>
                    <a:pt x="71" y="219"/>
                  </a:lnTo>
                  <a:lnTo>
                    <a:pt x="71" y="218"/>
                  </a:lnTo>
                  <a:lnTo>
                    <a:pt x="86" y="205"/>
                  </a:lnTo>
                  <a:lnTo>
                    <a:pt x="93" y="198"/>
                  </a:lnTo>
                  <a:lnTo>
                    <a:pt x="98" y="198"/>
                  </a:lnTo>
                  <a:lnTo>
                    <a:pt x="104" y="194"/>
                  </a:lnTo>
                  <a:lnTo>
                    <a:pt x="107" y="190"/>
                  </a:lnTo>
                  <a:lnTo>
                    <a:pt x="107" y="187"/>
                  </a:lnTo>
                  <a:lnTo>
                    <a:pt x="109" y="183"/>
                  </a:lnTo>
                  <a:lnTo>
                    <a:pt x="113" y="181"/>
                  </a:lnTo>
                  <a:lnTo>
                    <a:pt x="118" y="176"/>
                  </a:lnTo>
                  <a:lnTo>
                    <a:pt x="124" y="174"/>
                  </a:lnTo>
                  <a:lnTo>
                    <a:pt x="127" y="176"/>
                  </a:lnTo>
                  <a:lnTo>
                    <a:pt x="131" y="178"/>
                  </a:lnTo>
                  <a:lnTo>
                    <a:pt x="133" y="181"/>
                  </a:lnTo>
                  <a:lnTo>
                    <a:pt x="136" y="187"/>
                  </a:lnTo>
                  <a:lnTo>
                    <a:pt x="138" y="192"/>
                  </a:lnTo>
                  <a:lnTo>
                    <a:pt x="140" y="201"/>
                  </a:lnTo>
                  <a:lnTo>
                    <a:pt x="142" y="209"/>
                  </a:lnTo>
                  <a:lnTo>
                    <a:pt x="144" y="210"/>
                  </a:lnTo>
                  <a:lnTo>
                    <a:pt x="147" y="212"/>
                  </a:lnTo>
                  <a:lnTo>
                    <a:pt x="149" y="212"/>
                  </a:lnTo>
                  <a:lnTo>
                    <a:pt x="153" y="212"/>
                  </a:lnTo>
                  <a:lnTo>
                    <a:pt x="156" y="212"/>
                  </a:lnTo>
                  <a:lnTo>
                    <a:pt x="164" y="209"/>
                  </a:lnTo>
                  <a:lnTo>
                    <a:pt x="171" y="203"/>
                  </a:lnTo>
                  <a:lnTo>
                    <a:pt x="178" y="201"/>
                  </a:lnTo>
                  <a:lnTo>
                    <a:pt x="180" y="201"/>
                  </a:lnTo>
                  <a:lnTo>
                    <a:pt x="184" y="203"/>
                  </a:lnTo>
                  <a:lnTo>
                    <a:pt x="187" y="203"/>
                  </a:lnTo>
                  <a:lnTo>
                    <a:pt x="191" y="205"/>
                  </a:lnTo>
                  <a:lnTo>
                    <a:pt x="194" y="205"/>
                  </a:lnTo>
                  <a:lnTo>
                    <a:pt x="202" y="205"/>
                  </a:lnTo>
                  <a:lnTo>
                    <a:pt x="207" y="201"/>
                  </a:lnTo>
                  <a:lnTo>
                    <a:pt x="214" y="196"/>
                  </a:lnTo>
                  <a:lnTo>
                    <a:pt x="227" y="189"/>
                  </a:lnTo>
                  <a:lnTo>
                    <a:pt x="233" y="185"/>
                  </a:lnTo>
                  <a:lnTo>
                    <a:pt x="240" y="183"/>
                  </a:lnTo>
                  <a:lnTo>
                    <a:pt x="251" y="181"/>
                  </a:lnTo>
                  <a:lnTo>
                    <a:pt x="262" y="183"/>
                  </a:lnTo>
                  <a:lnTo>
                    <a:pt x="271" y="185"/>
                  </a:lnTo>
                  <a:lnTo>
                    <a:pt x="280" y="189"/>
                  </a:lnTo>
                  <a:lnTo>
                    <a:pt x="287" y="194"/>
                  </a:lnTo>
                  <a:lnTo>
                    <a:pt x="305" y="205"/>
                  </a:lnTo>
                  <a:lnTo>
                    <a:pt x="322" y="218"/>
                  </a:lnTo>
                  <a:lnTo>
                    <a:pt x="332" y="225"/>
                  </a:lnTo>
                  <a:lnTo>
                    <a:pt x="345" y="230"/>
                  </a:lnTo>
                  <a:lnTo>
                    <a:pt x="349" y="234"/>
                  </a:lnTo>
                  <a:lnTo>
                    <a:pt x="352" y="236"/>
                  </a:lnTo>
                  <a:lnTo>
                    <a:pt x="354" y="236"/>
                  </a:lnTo>
                  <a:lnTo>
                    <a:pt x="356" y="236"/>
                  </a:lnTo>
                  <a:lnTo>
                    <a:pt x="358" y="236"/>
                  </a:lnTo>
                  <a:lnTo>
                    <a:pt x="360" y="232"/>
                  </a:lnTo>
                  <a:lnTo>
                    <a:pt x="360" y="230"/>
                  </a:lnTo>
                  <a:lnTo>
                    <a:pt x="363" y="228"/>
                  </a:lnTo>
                  <a:lnTo>
                    <a:pt x="369" y="225"/>
                  </a:lnTo>
                  <a:lnTo>
                    <a:pt x="372" y="223"/>
                  </a:lnTo>
                  <a:lnTo>
                    <a:pt x="376" y="225"/>
                  </a:lnTo>
                  <a:lnTo>
                    <a:pt x="381" y="227"/>
                  </a:lnTo>
                  <a:lnTo>
                    <a:pt x="390" y="234"/>
                  </a:lnTo>
                  <a:lnTo>
                    <a:pt x="400" y="243"/>
                  </a:lnTo>
                  <a:lnTo>
                    <a:pt x="407" y="248"/>
                  </a:lnTo>
                  <a:lnTo>
                    <a:pt x="409" y="250"/>
                  </a:lnTo>
                  <a:lnTo>
                    <a:pt x="409" y="252"/>
                  </a:lnTo>
                  <a:lnTo>
                    <a:pt x="407" y="254"/>
                  </a:lnTo>
                  <a:lnTo>
                    <a:pt x="403" y="256"/>
                  </a:lnTo>
                  <a:lnTo>
                    <a:pt x="401" y="258"/>
                  </a:lnTo>
                  <a:lnTo>
                    <a:pt x="403" y="261"/>
                  </a:lnTo>
                  <a:lnTo>
                    <a:pt x="407" y="261"/>
                  </a:lnTo>
                  <a:lnTo>
                    <a:pt x="410" y="263"/>
                  </a:lnTo>
                  <a:lnTo>
                    <a:pt x="414" y="263"/>
                  </a:lnTo>
                  <a:lnTo>
                    <a:pt x="414" y="265"/>
                  </a:lnTo>
                  <a:lnTo>
                    <a:pt x="421" y="270"/>
                  </a:lnTo>
                  <a:lnTo>
                    <a:pt x="430" y="276"/>
                  </a:lnTo>
                  <a:lnTo>
                    <a:pt x="445" y="288"/>
                  </a:lnTo>
                  <a:lnTo>
                    <a:pt x="454" y="296"/>
                  </a:lnTo>
                  <a:lnTo>
                    <a:pt x="463" y="303"/>
                  </a:lnTo>
                  <a:lnTo>
                    <a:pt x="465" y="307"/>
                  </a:lnTo>
                  <a:lnTo>
                    <a:pt x="468" y="312"/>
                  </a:lnTo>
                  <a:lnTo>
                    <a:pt x="470" y="316"/>
                  </a:lnTo>
                  <a:lnTo>
                    <a:pt x="470" y="321"/>
                  </a:lnTo>
                  <a:lnTo>
                    <a:pt x="472" y="330"/>
                  </a:lnTo>
                  <a:lnTo>
                    <a:pt x="472" y="332"/>
                  </a:lnTo>
                  <a:lnTo>
                    <a:pt x="476" y="332"/>
                  </a:lnTo>
                  <a:lnTo>
                    <a:pt x="481" y="332"/>
                  </a:lnTo>
                  <a:lnTo>
                    <a:pt x="490" y="328"/>
                  </a:lnTo>
                  <a:lnTo>
                    <a:pt x="499" y="326"/>
                  </a:lnTo>
                  <a:lnTo>
                    <a:pt x="519" y="321"/>
                  </a:lnTo>
                  <a:lnTo>
                    <a:pt x="537" y="317"/>
                  </a:lnTo>
                  <a:lnTo>
                    <a:pt x="547" y="314"/>
                  </a:lnTo>
                  <a:lnTo>
                    <a:pt x="556" y="308"/>
                  </a:lnTo>
                  <a:lnTo>
                    <a:pt x="563" y="305"/>
                  </a:lnTo>
                  <a:lnTo>
                    <a:pt x="570" y="299"/>
                  </a:lnTo>
                  <a:lnTo>
                    <a:pt x="585" y="288"/>
                  </a:lnTo>
                  <a:lnTo>
                    <a:pt x="601" y="277"/>
                  </a:lnTo>
                  <a:lnTo>
                    <a:pt x="608" y="274"/>
                  </a:lnTo>
                  <a:lnTo>
                    <a:pt x="615" y="270"/>
                  </a:lnTo>
                  <a:lnTo>
                    <a:pt x="621" y="268"/>
                  </a:lnTo>
                  <a:lnTo>
                    <a:pt x="626" y="268"/>
                  </a:lnTo>
                  <a:lnTo>
                    <a:pt x="632" y="268"/>
                  </a:lnTo>
                  <a:lnTo>
                    <a:pt x="635" y="268"/>
                  </a:lnTo>
                  <a:lnTo>
                    <a:pt x="635" y="267"/>
                  </a:lnTo>
                  <a:lnTo>
                    <a:pt x="639" y="263"/>
                  </a:lnTo>
                  <a:lnTo>
                    <a:pt x="639" y="261"/>
                  </a:lnTo>
                  <a:lnTo>
                    <a:pt x="637" y="258"/>
                  </a:lnTo>
                  <a:lnTo>
                    <a:pt x="635" y="254"/>
                  </a:lnTo>
                  <a:lnTo>
                    <a:pt x="634" y="250"/>
                  </a:lnTo>
                  <a:lnTo>
                    <a:pt x="634" y="247"/>
                  </a:lnTo>
                  <a:lnTo>
                    <a:pt x="634" y="245"/>
                  </a:lnTo>
                  <a:lnTo>
                    <a:pt x="635" y="238"/>
                  </a:lnTo>
                  <a:lnTo>
                    <a:pt x="641" y="232"/>
                  </a:lnTo>
                  <a:lnTo>
                    <a:pt x="643" y="230"/>
                  </a:lnTo>
                  <a:lnTo>
                    <a:pt x="646" y="228"/>
                  </a:lnTo>
                  <a:lnTo>
                    <a:pt x="652" y="225"/>
                  </a:lnTo>
                  <a:lnTo>
                    <a:pt x="659" y="221"/>
                  </a:lnTo>
                  <a:lnTo>
                    <a:pt x="666" y="219"/>
                  </a:lnTo>
                  <a:lnTo>
                    <a:pt x="683" y="219"/>
                  </a:lnTo>
                  <a:lnTo>
                    <a:pt x="694" y="219"/>
                  </a:lnTo>
                  <a:lnTo>
                    <a:pt x="706" y="221"/>
                  </a:lnTo>
                  <a:lnTo>
                    <a:pt x="717" y="223"/>
                  </a:lnTo>
                  <a:lnTo>
                    <a:pt x="724" y="225"/>
                  </a:lnTo>
                  <a:lnTo>
                    <a:pt x="741" y="230"/>
                  </a:lnTo>
                  <a:lnTo>
                    <a:pt x="748" y="234"/>
                  </a:lnTo>
                  <a:lnTo>
                    <a:pt x="755" y="238"/>
                  </a:lnTo>
                  <a:lnTo>
                    <a:pt x="764" y="241"/>
                  </a:lnTo>
                  <a:lnTo>
                    <a:pt x="772" y="247"/>
                  </a:lnTo>
                  <a:lnTo>
                    <a:pt x="777" y="250"/>
                  </a:lnTo>
                  <a:lnTo>
                    <a:pt x="784" y="256"/>
                  </a:lnTo>
                  <a:lnTo>
                    <a:pt x="801" y="276"/>
                  </a:lnTo>
                  <a:lnTo>
                    <a:pt x="810" y="283"/>
                  </a:lnTo>
                  <a:lnTo>
                    <a:pt x="821" y="290"/>
                  </a:lnTo>
                  <a:lnTo>
                    <a:pt x="826" y="294"/>
                  </a:lnTo>
                  <a:lnTo>
                    <a:pt x="830" y="296"/>
                  </a:lnTo>
                  <a:lnTo>
                    <a:pt x="831" y="296"/>
                  </a:lnTo>
                  <a:lnTo>
                    <a:pt x="831" y="299"/>
                  </a:lnTo>
                  <a:lnTo>
                    <a:pt x="831" y="305"/>
                  </a:lnTo>
                  <a:lnTo>
                    <a:pt x="831" y="307"/>
                  </a:lnTo>
                  <a:lnTo>
                    <a:pt x="831" y="312"/>
                  </a:lnTo>
                  <a:lnTo>
                    <a:pt x="833" y="317"/>
                  </a:lnTo>
                  <a:lnTo>
                    <a:pt x="839" y="326"/>
                  </a:lnTo>
                  <a:lnTo>
                    <a:pt x="842" y="330"/>
                  </a:lnTo>
                  <a:lnTo>
                    <a:pt x="846" y="336"/>
                  </a:lnTo>
                  <a:lnTo>
                    <a:pt x="857" y="343"/>
                  </a:lnTo>
                  <a:lnTo>
                    <a:pt x="879" y="357"/>
                  </a:lnTo>
                  <a:lnTo>
                    <a:pt x="889" y="365"/>
                  </a:lnTo>
                  <a:lnTo>
                    <a:pt x="899" y="370"/>
                  </a:lnTo>
                  <a:lnTo>
                    <a:pt x="906" y="377"/>
                  </a:lnTo>
                  <a:lnTo>
                    <a:pt x="913" y="381"/>
                  </a:lnTo>
                  <a:lnTo>
                    <a:pt x="926" y="388"/>
                  </a:lnTo>
                  <a:lnTo>
                    <a:pt x="942" y="395"/>
                  </a:lnTo>
                  <a:lnTo>
                    <a:pt x="957" y="405"/>
                  </a:lnTo>
                  <a:lnTo>
                    <a:pt x="966" y="412"/>
                  </a:lnTo>
                  <a:lnTo>
                    <a:pt x="975" y="419"/>
                  </a:lnTo>
                  <a:lnTo>
                    <a:pt x="978" y="424"/>
                  </a:lnTo>
                  <a:lnTo>
                    <a:pt x="982" y="428"/>
                  </a:lnTo>
                  <a:lnTo>
                    <a:pt x="984" y="434"/>
                  </a:lnTo>
                  <a:lnTo>
                    <a:pt x="986" y="439"/>
                  </a:lnTo>
                  <a:lnTo>
                    <a:pt x="986" y="444"/>
                  </a:lnTo>
                  <a:lnTo>
                    <a:pt x="986" y="452"/>
                  </a:lnTo>
                  <a:lnTo>
                    <a:pt x="986" y="459"/>
                  </a:lnTo>
                  <a:lnTo>
                    <a:pt x="986" y="464"/>
                  </a:lnTo>
                  <a:lnTo>
                    <a:pt x="989" y="473"/>
                  </a:lnTo>
                  <a:lnTo>
                    <a:pt x="995" y="483"/>
                  </a:lnTo>
                  <a:lnTo>
                    <a:pt x="1000" y="492"/>
                  </a:lnTo>
                  <a:lnTo>
                    <a:pt x="1006" y="501"/>
                  </a:lnTo>
                  <a:lnTo>
                    <a:pt x="1009" y="510"/>
                  </a:lnTo>
                  <a:lnTo>
                    <a:pt x="1011" y="519"/>
                  </a:lnTo>
                  <a:lnTo>
                    <a:pt x="1013" y="526"/>
                  </a:lnTo>
                  <a:lnTo>
                    <a:pt x="1013" y="533"/>
                  </a:lnTo>
                  <a:lnTo>
                    <a:pt x="1013" y="542"/>
                  </a:lnTo>
                  <a:lnTo>
                    <a:pt x="1011" y="552"/>
                  </a:lnTo>
                  <a:lnTo>
                    <a:pt x="1006" y="570"/>
                  </a:lnTo>
                  <a:lnTo>
                    <a:pt x="1002" y="588"/>
                  </a:lnTo>
                  <a:lnTo>
                    <a:pt x="1000" y="597"/>
                  </a:lnTo>
                  <a:lnTo>
                    <a:pt x="998" y="608"/>
                  </a:lnTo>
                  <a:lnTo>
                    <a:pt x="998" y="613"/>
                  </a:lnTo>
                  <a:lnTo>
                    <a:pt x="998" y="626"/>
                  </a:lnTo>
                  <a:lnTo>
                    <a:pt x="995" y="639"/>
                  </a:lnTo>
                  <a:lnTo>
                    <a:pt x="993" y="650"/>
                  </a:lnTo>
                  <a:lnTo>
                    <a:pt x="991" y="660"/>
                  </a:lnTo>
                  <a:lnTo>
                    <a:pt x="993" y="669"/>
                  </a:lnTo>
                  <a:lnTo>
                    <a:pt x="995" y="677"/>
                  </a:lnTo>
                  <a:lnTo>
                    <a:pt x="1000" y="684"/>
                  </a:lnTo>
                  <a:lnTo>
                    <a:pt x="1009" y="691"/>
                  </a:lnTo>
                  <a:lnTo>
                    <a:pt x="1018" y="695"/>
                  </a:lnTo>
                  <a:lnTo>
                    <a:pt x="1024" y="697"/>
                  </a:lnTo>
                  <a:lnTo>
                    <a:pt x="1027" y="697"/>
                  </a:lnTo>
                  <a:lnTo>
                    <a:pt x="1033" y="697"/>
                  </a:lnTo>
                  <a:lnTo>
                    <a:pt x="1035" y="695"/>
                  </a:lnTo>
                  <a:lnTo>
                    <a:pt x="1038" y="689"/>
                  </a:lnTo>
                  <a:lnTo>
                    <a:pt x="1038" y="682"/>
                  </a:lnTo>
                  <a:lnTo>
                    <a:pt x="1038" y="679"/>
                  </a:lnTo>
                  <a:lnTo>
                    <a:pt x="1036" y="673"/>
                  </a:lnTo>
                  <a:lnTo>
                    <a:pt x="1033" y="664"/>
                  </a:lnTo>
                  <a:lnTo>
                    <a:pt x="1022" y="642"/>
                  </a:lnTo>
                  <a:lnTo>
                    <a:pt x="1022" y="640"/>
                  </a:lnTo>
                  <a:lnTo>
                    <a:pt x="1022" y="635"/>
                  </a:lnTo>
                  <a:lnTo>
                    <a:pt x="1024" y="631"/>
                  </a:lnTo>
                  <a:lnTo>
                    <a:pt x="1026" y="631"/>
                  </a:lnTo>
                  <a:lnTo>
                    <a:pt x="1029" y="633"/>
                  </a:lnTo>
                  <a:lnTo>
                    <a:pt x="1033" y="637"/>
                  </a:lnTo>
                  <a:lnTo>
                    <a:pt x="1036" y="648"/>
                  </a:lnTo>
                  <a:lnTo>
                    <a:pt x="1042" y="659"/>
                  </a:lnTo>
                  <a:lnTo>
                    <a:pt x="1044" y="664"/>
                  </a:lnTo>
                  <a:lnTo>
                    <a:pt x="1046" y="666"/>
                  </a:lnTo>
                  <a:lnTo>
                    <a:pt x="1049" y="666"/>
                  </a:lnTo>
                  <a:lnTo>
                    <a:pt x="1053" y="666"/>
                  </a:lnTo>
                  <a:lnTo>
                    <a:pt x="1055" y="664"/>
                  </a:lnTo>
                  <a:lnTo>
                    <a:pt x="1060" y="660"/>
                  </a:lnTo>
                  <a:lnTo>
                    <a:pt x="1066" y="657"/>
                  </a:lnTo>
                  <a:lnTo>
                    <a:pt x="1069" y="655"/>
                  </a:lnTo>
                  <a:lnTo>
                    <a:pt x="1071" y="655"/>
                  </a:lnTo>
                  <a:lnTo>
                    <a:pt x="1073" y="655"/>
                  </a:lnTo>
                  <a:lnTo>
                    <a:pt x="1075" y="659"/>
                  </a:lnTo>
                  <a:lnTo>
                    <a:pt x="1076" y="662"/>
                  </a:lnTo>
                  <a:lnTo>
                    <a:pt x="1080" y="669"/>
                  </a:lnTo>
                  <a:lnTo>
                    <a:pt x="1080" y="673"/>
                  </a:lnTo>
                  <a:lnTo>
                    <a:pt x="1080" y="677"/>
                  </a:lnTo>
                  <a:lnTo>
                    <a:pt x="1080" y="682"/>
                  </a:lnTo>
                  <a:lnTo>
                    <a:pt x="1078" y="688"/>
                  </a:lnTo>
                  <a:lnTo>
                    <a:pt x="1073" y="697"/>
                  </a:lnTo>
                  <a:lnTo>
                    <a:pt x="1067" y="706"/>
                  </a:lnTo>
                  <a:lnTo>
                    <a:pt x="1064" y="711"/>
                  </a:lnTo>
                  <a:lnTo>
                    <a:pt x="1062" y="717"/>
                  </a:lnTo>
                  <a:lnTo>
                    <a:pt x="1060" y="720"/>
                  </a:lnTo>
                  <a:lnTo>
                    <a:pt x="1058" y="724"/>
                  </a:lnTo>
                  <a:lnTo>
                    <a:pt x="1056" y="735"/>
                  </a:lnTo>
                  <a:lnTo>
                    <a:pt x="1056" y="738"/>
                  </a:lnTo>
                  <a:lnTo>
                    <a:pt x="1055" y="744"/>
                  </a:lnTo>
                  <a:lnTo>
                    <a:pt x="1053" y="746"/>
                  </a:lnTo>
                  <a:lnTo>
                    <a:pt x="1049" y="748"/>
                  </a:lnTo>
                  <a:lnTo>
                    <a:pt x="1047" y="748"/>
                  </a:lnTo>
                  <a:lnTo>
                    <a:pt x="1044" y="748"/>
                  </a:lnTo>
                  <a:lnTo>
                    <a:pt x="1040" y="746"/>
                  </a:lnTo>
                  <a:lnTo>
                    <a:pt x="1038" y="746"/>
                  </a:lnTo>
                  <a:lnTo>
                    <a:pt x="1036" y="746"/>
                  </a:lnTo>
                  <a:lnTo>
                    <a:pt x="1038" y="749"/>
                  </a:lnTo>
                  <a:lnTo>
                    <a:pt x="1044" y="757"/>
                  </a:lnTo>
                  <a:lnTo>
                    <a:pt x="1047" y="762"/>
                  </a:lnTo>
                  <a:lnTo>
                    <a:pt x="1060" y="777"/>
                  </a:lnTo>
                  <a:lnTo>
                    <a:pt x="1067" y="787"/>
                  </a:lnTo>
                  <a:lnTo>
                    <a:pt x="1073" y="798"/>
                  </a:lnTo>
                  <a:lnTo>
                    <a:pt x="1078" y="809"/>
                  </a:lnTo>
                  <a:lnTo>
                    <a:pt x="1084" y="822"/>
                  </a:lnTo>
                  <a:lnTo>
                    <a:pt x="1091" y="835"/>
                  </a:lnTo>
                  <a:lnTo>
                    <a:pt x="1105" y="855"/>
                  </a:lnTo>
                  <a:lnTo>
                    <a:pt x="1115" y="864"/>
                  </a:lnTo>
                  <a:lnTo>
                    <a:pt x="1124" y="873"/>
                  </a:lnTo>
                  <a:lnTo>
                    <a:pt x="1131" y="878"/>
                  </a:lnTo>
                  <a:lnTo>
                    <a:pt x="1134" y="880"/>
                  </a:lnTo>
                  <a:lnTo>
                    <a:pt x="1138" y="880"/>
                  </a:lnTo>
                  <a:lnTo>
                    <a:pt x="1142" y="880"/>
                  </a:lnTo>
                  <a:lnTo>
                    <a:pt x="1145" y="878"/>
                  </a:lnTo>
                  <a:lnTo>
                    <a:pt x="1147" y="875"/>
                  </a:lnTo>
                  <a:lnTo>
                    <a:pt x="1147" y="873"/>
                  </a:lnTo>
                  <a:lnTo>
                    <a:pt x="1145" y="869"/>
                  </a:lnTo>
                  <a:lnTo>
                    <a:pt x="1144" y="865"/>
                  </a:lnTo>
                  <a:lnTo>
                    <a:pt x="1142" y="860"/>
                  </a:lnTo>
                  <a:lnTo>
                    <a:pt x="1142" y="856"/>
                  </a:lnTo>
                  <a:lnTo>
                    <a:pt x="1142" y="853"/>
                  </a:lnTo>
                  <a:lnTo>
                    <a:pt x="1144" y="851"/>
                  </a:lnTo>
                  <a:lnTo>
                    <a:pt x="1147" y="847"/>
                  </a:lnTo>
                  <a:lnTo>
                    <a:pt x="1149" y="846"/>
                  </a:lnTo>
                  <a:lnTo>
                    <a:pt x="1156" y="846"/>
                  </a:lnTo>
                  <a:lnTo>
                    <a:pt x="1162" y="846"/>
                  </a:lnTo>
                  <a:lnTo>
                    <a:pt x="1167" y="847"/>
                  </a:lnTo>
                  <a:lnTo>
                    <a:pt x="1171" y="851"/>
                  </a:lnTo>
                  <a:lnTo>
                    <a:pt x="1174" y="855"/>
                  </a:lnTo>
                  <a:lnTo>
                    <a:pt x="1176" y="860"/>
                  </a:lnTo>
                  <a:lnTo>
                    <a:pt x="1178" y="869"/>
                  </a:lnTo>
                  <a:lnTo>
                    <a:pt x="1180" y="898"/>
                  </a:lnTo>
                  <a:lnTo>
                    <a:pt x="1182" y="913"/>
                  </a:lnTo>
                  <a:lnTo>
                    <a:pt x="1183" y="925"/>
                  </a:lnTo>
                  <a:lnTo>
                    <a:pt x="1185" y="931"/>
                  </a:lnTo>
                  <a:lnTo>
                    <a:pt x="1187" y="934"/>
                  </a:lnTo>
                  <a:lnTo>
                    <a:pt x="1189" y="938"/>
                  </a:lnTo>
                  <a:lnTo>
                    <a:pt x="1193" y="940"/>
                  </a:lnTo>
                  <a:lnTo>
                    <a:pt x="1194" y="938"/>
                  </a:lnTo>
                  <a:lnTo>
                    <a:pt x="1196" y="936"/>
                  </a:lnTo>
                  <a:lnTo>
                    <a:pt x="1198" y="934"/>
                  </a:lnTo>
                  <a:lnTo>
                    <a:pt x="1202" y="934"/>
                  </a:lnTo>
                  <a:lnTo>
                    <a:pt x="1203" y="936"/>
                  </a:lnTo>
                  <a:lnTo>
                    <a:pt x="1203" y="938"/>
                  </a:lnTo>
                  <a:lnTo>
                    <a:pt x="1203" y="947"/>
                  </a:lnTo>
                  <a:lnTo>
                    <a:pt x="1203" y="949"/>
                  </a:lnTo>
                  <a:lnTo>
                    <a:pt x="1205" y="954"/>
                  </a:lnTo>
                  <a:lnTo>
                    <a:pt x="1209" y="956"/>
                  </a:lnTo>
                  <a:lnTo>
                    <a:pt x="1216" y="962"/>
                  </a:lnTo>
                  <a:lnTo>
                    <a:pt x="1225" y="967"/>
                  </a:lnTo>
                  <a:lnTo>
                    <a:pt x="1231" y="971"/>
                  </a:lnTo>
                  <a:lnTo>
                    <a:pt x="1234" y="974"/>
                  </a:lnTo>
                  <a:lnTo>
                    <a:pt x="1240" y="980"/>
                  </a:lnTo>
                  <a:lnTo>
                    <a:pt x="1242" y="985"/>
                  </a:lnTo>
                  <a:lnTo>
                    <a:pt x="1245" y="996"/>
                  </a:lnTo>
                  <a:lnTo>
                    <a:pt x="1247" y="1007"/>
                  </a:lnTo>
                  <a:lnTo>
                    <a:pt x="1251" y="1020"/>
                  </a:lnTo>
                  <a:lnTo>
                    <a:pt x="1256" y="1029"/>
                  </a:lnTo>
                  <a:lnTo>
                    <a:pt x="1263" y="1041"/>
                  </a:lnTo>
                  <a:lnTo>
                    <a:pt x="1272" y="1052"/>
                  </a:lnTo>
                  <a:lnTo>
                    <a:pt x="1280" y="1061"/>
                  </a:lnTo>
                  <a:lnTo>
                    <a:pt x="1285" y="1065"/>
                  </a:lnTo>
                  <a:lnTo>
                    <a:pt x="1291" y="1069"/>
                  </a:lnTo>
                  <a:lnTo>
                    <a:pt x="1303" y="1076"/>
                  </a:lnTo>
                  <a:lnTo>
                    <a:pt x="1318" y="1081"/>
                  </a:lnTo>
                  <a:lnTo>
                    <a:pt x="1330" y="1089"/>
                  </a:lnTo>
                  <a:lnTo>
                    <a:pt x="1350" y="1098"/>
                  </a:lnTo>
                  <a:lnTo>
                    <a:pt x="1359" y="1103"/>
                  </a:lnTo>
                  <a:lnTo>
                    <a:pt x="1369" y="1110"/>
                  </a:lnTo>
                  <a:lnTo>
                    <a:pt x="1381" y="1123"/>
                  </a:lnTo>
                  <a:lnTo>
                    <a:pt x="1390" y="1136"/>
                  </a:lnTo>
                  <a:lnTo>
                    <a:pt x="1401" y="1149"/>
                  </a:lnTo>
                  <a:lnTo>
                    <a:pt x="1407" y="1154"/>
                  </a:lnTo>
                  <a:lnTo>
                    <a:pt x="1414" y="1159"/>
                  </a:lnTo>
                  <a:lnTo>
                    <a:pt x="1421" y="1163"/>
                  </a:lnTo>
                  <a:lnTo>
                    <a:pt x="1430" y="1167"/>
                  </a:lnTo>
                  <a:lnTo>
                    <a:pt x="1438" y="1172"/>
                  </a:lnTo>
                  <a:lnTo>
                    <a:pt x="1439" y="1174"/>
                  </a:lnTo>
                  <a:lnTo>
                    <a:pt x="1441" y="1176"/>
                  </a:lnTo>
                  <a:lnTo>
                    <a:pt x="1443" y="1178"/>
                  </a:lnTo>
                  <a:lnTo>
                    <a:pt x="1443" y="1183"/>
                  </a:lnTo>
                  <a:lnTo>
                    <a:pt x="1443" y="1185"/>
                  </a:lnTo>
                  <a:lnTo>
                    <a:pt x="1441" y="1187"/>
                  </a:lnTo>
                  <a:lnTo>
                    <a:pt x="1439" y="1188"/>
                  </a:lnTo>
                  <a:lnTo>
                    <a:pt x="1436" y="1187"/>
                  </a:lnTo>
                  <a:lnTo>
                    <a:pt x="1430" y="1185"/>
                  </a:lnTo>
                  <a:lnTo>
                    <a:pt x="1425" y="1181"/>
                  </a:lnTo>
                  <a:lnTo>
                    <a:pt x="1419" y="1178"/>
                  </a:lnTo>
                  <a:lnTo>
                    <a:pt x="1414" y="1174"/>
                  </a:lnTo>
                  <a:lnTo>
                    <a:pt x="1412" y="1172"/>
                  </a:lnTo>
                  <a:lnTo>
                    <a:pt x="1410" y="1170"/>
                  </a:lnTo>
                  <a:lnTo>
                    <a:pt x="1408" y="1172"/>
                  </a:lnTo>
                  <a:lnTo>
                    <a:pt x="1407" y="1172"/>
                  </a:lnTo>
                  <a:lnTo>
                    <a:pt x="1405" y="1174"/>
                  </a:lnTo>
                  <a:lnTo>
                    <a:pt x="1405" y="1179"/>
                  </a:lnTo>
                  <a:lnTo>
                    <a:pt x="1405" y="1183"/>
                  </a:lnTo>
                  <a:lnTo>
                    <a:pt x="1405" y="1185"/>
                  </a:lnTo>
                  <a:lnTo>
                    <a:pt x="1407" y="1190"/>
                  </a:lnTo>
                  <a:lnTo>
                    <a:pt x="1408" y="1196"/>
                  </a:lnTo>
                  <a:lnTo>
                    <a:pt x="1412" y="1201"/>
                  </a:lnTo>
                  <a:lnTo>
                    <a:pt x="1416" y="1207"/>
                  </a:lnTo>
                  <a:lnTo>
                    <a:pt x="1421" y="1212"/>
                  </a:lnTo>
                  <a:lnTo>
                    <a:pt x="1428" y="1216"/>
                  </a:lnTo>
                  <a:lnTo>
                    <a:pt x="1434" y="1218"/>
                  </a:lnTo>
                  <a:lnTo>
                    <a:pt x="1439" y="1218"/>
                  </a:lnTo>
                  <a:lnTo>
                    <a:pt x="1443" y="1218"/>
                  </a:lnTo>
                  <a:lnTo>
                    <a:pt x="1447" y="1218"/>
                  </a:lnTo>
                  <a:lnTo>
                    <a:pt x="1463" y="1210"/>
                  </a:lnTo>
                  <a:lnTo>
                    <a:pt x="1468" y="1207"/>
                  </a:lnTo>
                  <a:lnTo>
                    <a:pt x="1476" y="1205"/>
                  </a:lnTo>
                  <a:lnTo>
                    <a:pt x="1481" y="1205"/>
                  </a:lnTo>
                  <a:lnTo>
                    <a:pt x="1487" y="1205"/>
                  </a:lnTo>
                  <a:lnTo>
                    <a:pt x="1492" y="1205"/>
                  </a:lnTo>
                  <a:lnTo>
                    <a:pt x="1499" y="1203"/>
                  </a:lnTo>
                  <a:lnTo>
                    <a:pt x="1503" y="1201"/>
                  </a:lnTo>
                  <a:lnTo>
                    <a:pt x="1505" y="1199"/>
                  </a:lnTo>
                  <a:lnTo>
                    <a:pt x="1510" y="1194"/>
                  </a:lnTo>
                  <a:lnTo>
                    <a:pt x="1516" y="1190"/>
                  </a:lnTo>
                  <a:lnTo>
                    <a:pt x="1530" y="1179"/>
                  </a:lnTo>
                  <a:lnTo>
                    <a:pt x="1539" y="1174"/>
                  </a:lnTo>
                  <a:lnTo>
                    <a:pt x="1546" y="1167"/>
                  </a:lnTo>
                  <a:lnTo>
                    <a:pt x="1554" y="1159"/>
                  </a:lnTo>
                  <a:lnTo>
                    <a:pt x="1559" y="1150"/>
                  </a:lnTo>
                  <a:lnTo>
                    <a:pt x="1561" y="1141"/>
                  </a:lnTo>
                  <a:lnTo>
                    <a:pt x="1565" y="1132"/>
                  </a:lnTo>
                  <a:lnTo>
                    <a:pt x="1566" y="1112"/>
                  </a:lnTo>
                  <a:lnTo>
                    <a:pt x="1568" y="1092"/>
                  </a:lnTo>
                  <a:lnTo>
                    <a:pt x="1572" y="1074"/>
                  </a:lnTo>
                  <a:lnTo>
                    <a:pt x="1574" y="1063"/>
                  </a:lnTo>
                  <a:lnTo>
                    <a:pt x="1575" y="1054"/>
                  </a:lnTo>
                  <a:lnTo>
                    <a:pt x="1583" y="1034"/>
                  </a:lnTo>
                  <a:lnTo>
                    <a:pt x="1586" y="1023"/>
                  </a:lnTo>
                  <a:lnTo>
                    <a:pt x="1588" y="1014"/>
                  </a:lnTo>
                  <a:lnTo>
                    <a:pt x="1590" y="1003"/>
                  </a:lnTo>
                  <a:lnTo>
                    <a:pt x="1592" y="994"/>
                  </a:lnTo>
                  <a:lnTo>
                    <a:pt x="1592" y="987"/>
                  </a:lnTo>
                  <a:lnTo>
                    <a:pt x="1590" y="978"/>
                  </a:lnTo>
                  <a:lnTo>
                    <a:pt x="1588" y="969"/>
                  </a:lnTo>
                  <a:lnTo>
                    <a:pt x="1583" y="953"/>
                  </a:lnTo>
                  <a:lnTo>
                    <a:pt x="1579" y="934"/>
                  </a:lnTo>
                  <a:lnTo>
                    <a:pt x="1577" y="925"/>
                  </a:lnTo>
                  <a:lnTo>
                    <a:pt x="1577" y="916"/>
                  </a:lnTo>
                  <a:lnTo>
                    <a:pt x="1577" y="913"/>
                  </a:lnTo>
                  <a:lnTo>
                    <a:pt x="1579" y="876"/>
                  </a:lnTo>
                  <a:lnTo>
                    <a:pt x="1577" y="849"/>
                  </a:lnTo>
                  <a:lnTo>
                    <a:pt x="1575" y="836"/>
                  </a:lnTo>
                  <a:lnTo>
                    <a:pt x="1574" y="822"/>
                  </a:lnTo>
                  <a:lnTo>
                    <a:pt x="1572" y="809"/>
                  </a:lnTo>
                  <a:lnTo>
                    <a:pt x="1568" y="797"/>
                  </a:lnTo>
                  <a:lnTo>
                    <a:pt x="1563" y="784"/>
                  </a:lnTo>
                  <a:lnTo>
                    <a:pt x="1557" y="771"/>
                  </a:lnTo>
                  <a:lnTo>
                    <a:pt x="1550" y="760"/>
                  </a:lnTo>
                  <a:lnTo>
                    <a:pt x="1541" y="748"/>
                  </a:lnTo>
                  <a:lnTo>
                    <a:pt x="1523" y="726"/>
                  </a:lnTo>
                  <a:lnTo>
                    <a:pt x="1514" y="715"/>
                  </a:lnTo>
                  <a:lnTo>
                    <a:pt x="1505" y="704"/>
                  </a:lnTo>
                  <a:lnTo>
                    <a:pt x="1496" y="693"/>
                  </a:lnTo>
                  <a:lnTo>
                    <a:pt x="1488" y="680"/>
                  </a:lnTo>
                  <a:lnTo>
                    <a:pt x="1457" y="626"/>
                  </a:lnTo>
                  <a:lnTo>
                    <a:pt x="1443" y="597"/>
                  </a:lnTo>
                  <a:lnTo>
                    <a:pt x="1425" y="570"/>
                  </a:lnTo>
                  <a:lnTo>
                    <a:pt x="1416" y="557"/>
                  </a:lnTo>
                  <a:lnTo>
                    <a:pt x="1405" y="542"/>
                  </a:lnTo>
                  <a:lnTo>
                    <a:pt x="1394" y="528"/>
                  </a:lnTo>
                  <a:lnTo>
                    <a:pt x="1385" y="513"/>
                  </a:lnTo>
                  <a:lnTo>
                    <a:pt x="1379" y="501"/>
                  </a:lnTo>
                  <a:lnTo>
                    <a:pt x="1374" y="488"/>
                  </a:lnTo>
                  <a:lnTo>
                    <a:pt x="1370" y="475"/>
                  </a:lnTo>
                  <a:lnTo>
                    <a:pt x="1363" y="463"/>
                  </a:lnTo>
                  <a:lnTo>
                    <a:pt x="1358" y="450"/>
                  </a:lnTo>
                  <a:lnTo>
                    <a:pt x="1354" y="437"/>
                  </a:lnTo>
                  <a:lnTo>
                    <a:pt x="1350" y="424"/>
                  </a:lnTo>
                  <a:lnTo>
                    <a:pt x="1349" y="410"/>
                  </a:lnTo>
                  <a:lnTo>
                    <a:pt x="1345" y="399"/>
                  </a:lnTo>
                  <a:lnTo>
                    <a:pt x="1343" y="394"/>
                  </a:lnTo>
                  <a:lnTo>
                    <a:pt x="1341" y="388"/>
                  </a:lnTo>
                  <a:lnTo>
                    <a:pt x="1330" y="368"/>
                  </a:lnTo>
                  <a:lnTo>
                    <a:pt x="1320" y="350"/>
                  </a:lnTo>
                  <a:lnTo>
                    <a:pt x="1314" y="341"/>
                  </a:lnTo>
                  <a:lnTo>
                    <a:pt x="1309" y="330"/>
                  </a:lnTo>
                  <a:lnTo>
                    <a:pt x="1300" y="312"/>
                  </a:lnTo>
                  <a:lnTo>
                    <a:pt x="1291" y="294"/>
                  </a:lnTo>
                  <a:lnTo>
                    <a:pt x="1280" y="277"/>
                  </a:lnTo>
                  <a:lnTo>
                    <a:pt x="1271" y="261"/>
                  </a:lnTo>
                  <a:lnTo>
                    <a:pt x="1249" y="227"/>
                  </a:lnTo>
                  <a:lnTo>
                    <a:pt x="1240" y="209"/>
                  </a:lnTo>
                  <a:lnTo>
                    <a:pt x="1231" y="190"/>
                  </a:lnTo>
                  <a:lnTo>
                    <a:pt x="1211" y="145"/>
                  </a:lnTo>
                  <a:lnTo>
                    <a:pt x="1202" y="123"/>
                  </a:lnTo>
                  <a:lnTo>
                    <a:pt x="1191" y="101"/>
                  </a:lnTo>
                  <a:lnTo>
                    <a:pt x="1183" y="91"/>
                  </a:lnTo>
                  <a:lnTo>
                    <a:pt x="1178" y="78"/>
                  </a:lnTo>
                  <a:lnTo>
                    <a:pt x="1174" y="67"/>
                  </a:lnTo>
                  <a:lnTo>
                    <a:pt x="1174" y="56"/>
                  </a:lnTo>
                  <a:lnTo>
                    <a:pt x="1169" y="18"/>
                  </a:lnTo>
                  <a:lnTo>
                    <a:pt x="1142" y="13"/>
                  </a:lnTo>
                  <a:lnTo>
                    <a:pt x="1107" y="9"/>
                  </a:lnTo>
                  <a:lnTo>
                    <a:pt x="1082" y="0"/>
                  </a:lnTo>
                  <a:close/>
                </a:path>
              </a:pathLst>
            </a:custGeom>
            <a:solidFill>
              <a:srgbClr val="747480"/>
            </a:solidFill>
            <a:ln w="6350" cap="flat" cmpd="sng" algn="ctr">
              <a:solidFill>
                <a:srgbClr val="2E2E38"/>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646464"/>
                </a:solidFill>
                <a:effectLst/>
                <a:uLnTx/>
                <a:uFillTx/>
                <a:cs typeface="Times New Roman" panose="02020603050405020304" pitchFamily="18" charset="0"/>
              </a:endParaRPr>
            </a:p>
          </p:txBody>
        </p:sp>
        <p:sp>
          <p:nvSpPr>
            <p:cNvPr id="63" name="Freeform 232">
              <a:extLst>
                <a:ext uri="{FF2B5EF4-FFF2-40B4-BE49-F238E27FC236}">
                  <a16:creationId xmlns:a16="http://schemas.microsoft.com/office/drawing/2014/main" id="{6D641AF4-01C6-4FBE-A396-A40D399FD009}"/>
                </a:ext>
              </a:extLst>
            </p:cNvPr>
            <p:cNvSpPr>
              <a:spLocks/>
            </p:cNvSpPr>
            <p:nvPr/>
          </p:nvSpPr>
          <p:spPr bwMode="auto">
            <a:xfrm>
              <a:off x="5308905" y="5192213"/>
              <a:ext cx="282976" cy="483281"/>
            </a:xfrm>
            <a:custGeom>
              <a:avLst/>
              <a:gdLst/>
              <a:ahLst/>
              <a:cxnLst>
                <a:cxn ang="0">
                  <a:pos x="250" y="27"/>
                </a:cxn>
                <a:cxn ang="0">
                  <a:pos x="196" y="42"/>
                </a:cxn>
                <a:cxn ang="0">
                  <a:pos x="183" y="64"/>
                </a:cxn>
                <a:cxn ang="0">
                  <a:pos x="158" y="100"/>
                </a:cxn>
                <a:cxn ang="0">
                  <a:pos x="147" y="142"/>
                </a:cxn>
                <a:cxn ang="0">
                  <a:pos x="133" y="171"/>
                </a:cxn>
                <a:cxn ang="0">
                  <a:pos x="93" y="231"/>
                </a:cxn>
                <a:cxn ang="0">
                  <a:pos x="67" y="298"/>
                </a:cxn>
                <a:cxn ang="0">
                  <a:pos x="51" y="350"/>
                </a:cxn>
                <a:cxn ang="0">
                  <a:pos x="51" y="376"/>
                </a:cxn>
                <a:cxn ang="0">
                  <a:pos x="60" y="419"/>
                </a:cxn>
                <a:cxn ang="0">
                  <a:pos x="60" y="439"/>
                </a:cxn>
                <a:cxn ang="0">
                  <a:pos x="51" y="474"/>
                </a:cxn>
                <a:cxn ang="0">
                  <a:pos x="54" y="492"/>
                </a:cxn>
                <a:cxn ang="0">
                  <a:pos x="65" y="526"/>
                </a:cxn>
                <a:cxn ang="0">
                  <a:pos x="80" y="575"/>
                </a:cxn>
                <a:cxn ang="0">
                  <a:pos x="98" y="608"/>
                </a:cxn>
                <a:cxn ang="0">
                  <a:pos x="105" y="630"/>
                </a:cxn>
                <a:cxn ang="0">
                  <a:pos x="96" y="652"/>
                </a:cxn>
                <a:cxn ang="0">
                  <a:pos x="82" y="663"/>
                </a:cxn>
                <a:cxn ang="0">
                  <a:pos x="73" y="683"/>
                </a:cxn>
                <a:cxn ang="0">
                  <a:pos x="65" y="710"/>
                </a:cxn>
                <a:cxn ang="0">
                  <a:pos x="38" y="744"/>
                </a:cxn>
                <a:cxn ang="0">
                  <a:pos x="25" y="770"/>
                </a:cxn>
                <a:cxn ang="0">
                  <a:pos x="9" y="833"/>
                </a:cxn>
                <a:cxn ang="0">
                  <a:pos x="0" y="877"/>
                </a:cxn>
                <a:cxn ang="0">
                  <a:pos x="2" y="911"/>
                </a:cxn>
                <a:cxn ang="0">
                  <a:pos x="7" y="928"/>
                </a:cxn>
                <a:cxn ang="0">
                  <a:pos x="343" y="944"/>
                </a:cxn>
                <a:cxn ang="0">
                  <a:pos x="370" y="1018"/>
                </a:cxn>
                <a:cxn ang="0">
                  <a:pos x="390" y="1069"/>
                </a:cxn>
                <a:cxn ang="0">
                  <a:pos x="405" y="1082"/>
                </a:cxn>
                <a:cxn ang="0">
                  <a:pos x="425" y="1058"/>
                </a:cxn>
                <a:cxn ang="0">
                  <a:pos x="445" y="1046"/>
                </a:cxn>
                <a:cxn ang="0">
                  <a:pos x="456" y="1046"/>
                </a:cxn>
                <a:cxn ang="0">
                  <a:pos x="470" y="1035"/>
                </a:cxn>
                <a:cxn ang="0">
                  <a:pos x="499" y="1035"/>
                </a:cxn>
                <a:cxn ang="0">
                  <a:pos x="537" y="1033"/>
                </a:cxn>
                <a:cxn ang="0">
                  <a:pos x="566" y="1040"/>
                </a:cxn>
                <a:cxn ang="0">
                  <a:pos x="584" y="1044"/>
                </a:cxn>
                <a:cxn ang="0">
                  <a:pos x="599" y="1040"/>
                </a:cxn>
                <a:cxn ang="0">
                  <a:pos x="615" y="1022"/>
                </a:cxn>
                <a:cxn ang="0">
                  <a:pos x="597" y="33"/>
                </a:cxn>
                <a:cxn ang="0">
                  <a:pos x="592" y="22"/>
                </a:cxn>
                <a:cxn ang="0">
                  <a:pos x="577" y="9"/>
                </a:cxn>
              </a:cxnLst>
              <a:rect l="0" t="0" r="r" b="b"/>
              <a:pathLst>
                <a:path w="617" h="1085">
                  <a:moveTo>
                    <a:pt x="573" y="0"/>
                  </a:moveTo>
                  <a:lnTo>
                    <a:pt x="339" y="20"/>
                  </a:lnTo>
                  <a:lnTo>
                    <a:pt x="250" y="27"/>
                  </a:lnTo>
                  <a:lnTo>
                    <a:pt x="196" y="33"/>
                  </a:lnTo>
                  <a:lnTo>
                    <a:pt x="196" y="38"/>
                  </a:lnTo>
                  <a:lnTo>
                    <a:pt x="196" y="42"/>
                  </a:lnTo>
                  <a:lnTo>
                    <a:pt x="192" y="49"/>
                  </a:lnTo>
                  <a:lnTo>
                    <a:pt x="189" y="56"/>
                  </a:lnTo>
                  <a:lnTo>
                    <a:pt x="183" y="64"/>
                  </a:lnTo>
                  <a:lnTo>
                    <a:pt x="171" y="76"/>
                  </a:lnTo>
                  <a:lnTo>
                    <a:pt x="163" y="91"/>
                  </a:lnTo>
                  <a:lnTo>
                    <a:pt x="158" y="100"/>
                  </a:lnTo>
                  <a:lnTo>
                    <a:pt x="154" y="111"/>
                  </a:lnTo>
                  <a:lnTo>
                    <a:pt x="149" y="131"/>
                  </a:lnTo>
                  <a:lnTo>
                    <a:pt x="147" y="142"/>
                  </a:lnTo>
                  <a:lnTo>
                    <a:pt x="143" y="153"/>
                  </a:lnTo>
                  <a:lnTo>
                    <a:pt x="138" y="162"/>
                  </a:lnTo>
                  <a:lnTo>
                    <a:pt x="133" y="171"/>
                  </a:lnTo>
                  <a:lnTo>
                    <a:pt x="116" y="193"/>
                  </a:lnTo>
                  <a:lnTo>
                    <a:pt x="103" y="211"/>
                  </a:lnTo>
                  <a:lnTo>
                    <a:pt x="93" y="231"/>
                  </a:lnTo>
                  <a:lnTo>
                    <a:pt x="87" y="242"/>
                  </a:lnTo>
                  <a:lnTo>
                    <a:pt x="84" y="254"/>
                  </a:lnTo>
                  <a:lnTo>
                    <a:pt x="67" y="298"/>
                  </a:lnTo>
                  <a:lnTo>
                    <a:pt x="58" y="320"/>
                  </a:lnTo>
                  <a:lnTo>
                    <a:pt x="53" y="341"/>
                  </a:lnTo>
                  <a:lnTo>
                    <a:pt x="51" y="350"/>
                  </a:lnTo>
                  <a:lnTo>
                    <a:pt x="51" y="360"/>
                  </a:lnTo>
                  <a:lnTo>
                    <a:pt x="51" y="369"/>
                  </a:lnTo>
                  <a:lnTo>
                    <a:pt x="51" y="376"/>
                  </a:lnTo>
                  <a:lnTo>
                    <a:pt x="54" y="389"/>
                  </a:lnTo>
                  <a:lnTo>
                    <a:pt x="58" y="403"/>
                  </a:lnTo>
                  <a:lnTo>
                    <a:pt x="60" y="419"/>
                  </a:lnTo>
                  <a:lnTo>
                    <a:pt x="60" y="427"/>
                  </a:lnTo>
                  <a:lnTo>
                    <a:pt x="60" y="432"/>
                  </a:lnTo>
                  <a:lnTo>
                    <a:pt x="60" y="439"/>
                  </a:lnTo>
                  <a:lnTo>
                    <a:pt x="56" y="450"/>
                  </a:lnTo>
                  <a:lnTo>
                    <a:pt x="53" y="463"/>
                  </a:lnTo>
                  <a:lnTo>
                    <a:pt x="51" y="474"/>
                  </a:lnTo>
                  <a:lnTo>
                    <a:pt x="51" y="477"/>
                  </a:lnTo>
                  <a:lnTo>
                    <a:pt x="53" y="485"/>
                  </a:lnTo>
                  <a:lnTo>
                    <a:pt x="54" y="492"/>
                  </a:lnTo>
                  <a:lnTo>
                    <a:pt x="60" y="508"/>
                  </a:lnTo>
                  <a:lnTo>
                    <a:pt x="64" y="517"/>
                  </a:lnTo>
                  <a:lnTo>
                    <a:pt x="65" y="526"/>
                  </a:lnTo>
                  <a:lnTo>
                    <a:pt x="71" y="546"/>
                  </a:lnTo>
                  <a:lnTo>
                    <a:pt x="76" y="566"/>
                  </a:lnTo>
                  <a:lnTo>
                    <a:pt x="80" y="575"/>
                  </a:lnTo>
                  <a:lnTo>
                    <a:pt x="84" y="585"/>
                  </a:lnTo>
                  <a:lnTo>
                    <a:pt x="91" y="595"/>
                  </a:lnTo>
                  <a:lnTo>
                    <a:pt x="98" y="608"/>
                  </a:lnTo>
                  <a:lnTo>
                    <a:pt x="103" y="619"/>
                  </a:lnTo>
                  <a:lnTo>
                    <a:pt x="105" y="624"/>
                  </a:lnTo>
                  <a:lnTo>
                    <a:pt x="105" y="630"/>
                  </a:lnTo>
                  <a:lnTo>
                    <a:pt x="103" y="639"/>
                  </a:lnTo>
                  <a:lnTo>
                    <a:pt x="100" y="648"/>
                  </a:lnTo>
                  <a:lnTo>
                    <a:pt x="96" y="652"/>
                  </a:lnTo>
                  <a:lnTo>
                    <a:pt x="94" y="654"/>
                  </a:lnTo>
                  <a:lnTo>
                    <a:pt x="89" y="657"/>
                  </a:lnTo>
                  <a:lnTo>
                    <a:pt x="82" y="663"/>
                  </a:lnTo>
                  <a:lnTo>
                    <a:pt x="80" y="666"/>
                  </a:lnTo>
                  <a:lnTo>
                    <a:pt x="76" y="672"/>
                  </a:lnTo>
                  <a:lnTo>
                    <a:pt x="73" y="683"/>
                  </a:lnTo>
                  <a:lnTo>
                    <a:pt x="71" y="693"/>
                  </a:lnTo>
                  <a:lnTo>
                    <a:pt x="67" y="704"/>
                  </a:lnTo>
                  <a:lnTo>
                    <a:pt x="65" y="710"/>
                  </a:lnTo>
                  <a:lnTo>
                    <a:pt x="62" y="713"/>
                  </a:lnTo>
                  <a:lnTo>
                    <a:pt x="51" y="730"/>
                  </a:lnTo>
                  <a:lnTo>
                    <a:pt x="38" y="744"/>
                  </a:lnTo>
                  <a:lnTo>
                    <a:pt x="35" y="752"/>
                  </a:lnTo>
                  <a:lnTo>
                    <a:pt x="29" y="759"/>
                  </a:lnTo>
                  <a:lnTo>
                    <a:pt x="25" y="770"/>
                  </a:lnTo>
                  <a:lnTo>
                    <a:pt x="24" y="781"/>
                  </a:lnTo>
                  <a:lnTo>
                    <a:pt x="16" y="804"/>
                  </a:lnTo>
                  <a:lnTo>
                    <a:pt x="9" y="833"/>
                  </a:lnTo>
                  <a:lnTo>
                    <a:pt x="5" y="848"/>
                  </a:lnTo>
                  <a:lnTo>
                    <a:pt x="2" y="862"/>
                  </a:lnTo>
                  <a:lnTo>
                    <a:pt x="0" y="877"/>
                  </a:lnTo>
                  <a:lnTo>
                    <a:pt x="0" y="891"/>
                  </a:lnTo>
                  <a:lnTo>
                    <a:pt x="0" y="900"/>
                  </a:lnTo>
                  <a:lnTo>
                    <a:pt x="2" y="911"/>
                  </a:lnTo>
                  <a:lnTo>
                    <a:pt x="2" y="915"/>
                  </a:lnTo>
                  <a:lnTo>
                    <a:pt x="4" y="918"/>
                  </a:lnTo>
                  <a:lnTo>
                    <a:pt x="7" y="928"/>
                  </a:lnTo>
                  <a:lnTo>
                    <a:pt x="358" y="904"/>
                  </a:lnTo>
                  <a:lnTo>
                    <a:pt x="354" y="918"/>
                  </a:lnTo>
                  <a:lnTo>
                    <a:pt x="343" y="944"/>
                  </a:lnTo>
                  <a:lnTo>
                    <a:pt x="336" y="967"/>
                  </a:lnTo>
                  <a:lnTo>
                    <a:pt x="350" y="1000"/>
                  </a:lnTo>
                  <a:lnTo>
                    <a:pt x="370" y="1018"/>
                  </a:lnTo>
                  <a:lnTo>
                    <a:pt x="379" y="1029"/>
                  </a:lnTo>
                  <a:lnTo>
                    <a:pt x="385" y="1047"/>
                  </a:lnTo>
                  <a:lnTo>
                    <a:pt x="390" y="1069"/>
                  </a:lnTo>
                  <a:lnTo>
                    <a:pt x="396" y="1085"/>
                  </a:lnTo>
                  <a:lnTo>
                    <a:pt x="403" y="1084"/>
                  </a:lnTo>
                  <a:lnTo>
                    <a:pt x="405" y="1082"/>
                  </a:lnTo>
                  <a:lnTo>
                    <a:pt x="408" y="1080"/>
                  </a:lnTo>
                  <a:lnTo>
                    <a:pt x="417" y="1069"/>
                  </a:lnTo>
                  <a:lnTo>
                    <a:pt x="425" y="1058"/>
                  </a:lnTo>
                  <a:lnTo>
                    <a:pt x="434" y="1049"/>
                  </a:lnTo>
                  <a:lnTo>
                    <a:pt x="439" y="1046"/>
                  </a:lnTo>
                  <a:lnTo>
                    <a:pt x="445" y="1046"/>
                  </a:lnTo>
                  <a:lnTo>
                    <a:pt x="448" y="1046"/>
                  </a:lnTo>
                  <a:lnTo>
                    <a:pt x="450" y="1046"/>
                  </a:lnTo>
                  <a:lnTo>
                    <a:pt x="456" y="1046"/>
                  </a:lnTo>
                  <a:lnTo>
                    <a:pt x="459" y="1042"/>
                  </a:lnTo>
                  <a:lnTo>
                    <a:pt x="465" y="1038"/>
                  </a:lnTo>
                  <a:lnTo>
                    <a:pt x="470" y="1035"/>
                  </a:lnTo>
                  <a:lnTo>
                    <a:pt x="475" y="1033"/>
                  </a:lnTo>
                  <a:lnTo>
                    <a:pt x="481" y="1033"/>
                  </a:lnTo>
                  <a:lnTo>
                    <a:pt x="499" y="1035"/>
                  </a:lnTo>
                  <a:lnTo>
                    <a:pt x="505" y="1035"/>
                  </a:lnTo>
                  <a:lnTo>
                    <a:pt x="521" y="1033"/>
                  </a:lnTo>
                  <a:lnTo>
                    <a:pt x="537" y="1033"/>
                  </a:lnTo>
                  <a:lnTo>
                    <a:pt x="546" y="1033"/>
                  </a:lnTo>
                  <a:lnTo>
                    <a:pt x="555" y="1035"/>
                  </a:lnTo>
                  <a:lnTo>
                    <a:pt x="566" y="1040"/>
                  </a:lnTo>
                  <a:lnTo>
                    <a:pt x="575" y="1044"/>
                  </a:lnTo>
                  <a:lnTo>
                    <a:pt x="581" y="1044"/>
                  </a:lnTo>
                  <a:lnTo>
                    <a:pt x="584" y="1044"/>
                  </a:lnTo>
                  <a:lnTo>
                    <a:pt x="592" y="1044"/>
                  </a:lnTo>
                  <a:lnTo>
                    <a:pt x="595" y="1042"/>
                  </a:lnTo>
                  <a:lnTo>
                    <a:pt x="599" y="1040"/>
                  </a:lnTo>
                  <a:lnTo>
                    <a:pt x="603" y="1036"/>
                  </a:lnTo>
                  <a:lnTo>
                    <a:pt x="608" y="1029"/>
                  </a:lnTo>
                  <a:lnTo>
                    <a:pt x="615" y="1022"/>
                  </a:lnTo>
                  <a:lnTo>
                    <a:pt x="617" y="1022"/>
                  </a:lnTo>
                  <a:lnTo>
                    <a:pt x="573" y="690"/>
                  </a:lnTo>
                  <a:lnTo>
                    <a:pt x="597" y="33"/>
                  </a:lnTo>
                  <a:lnTo>
                    <a:pt x="597" y="27"/>
                  </a:lnTo>
                  <a:lnTo>
                    <a:pt x="597" y="26"/>
                  </a:lnTo>
                  <a:lnTo>
                    <a:pt x="592" y="22"/>
                  </a:lnTo>
                  <a:lnTo>
                    <a:pt x="586" y="17"/>
                  </a:lnTo>
                  <a:lnTo>
                    <a:pt x="581" y="13"/>
                  </a:lnTo>
                  <a:lnTo>
                    <a:pt x="577" y="9"/>
                  </a:lnTo>
                  <a:lnTo>
                    <a:pt x="575" y="7"/>
                  </a:lnTo>
                  <a:lnTo>
                    <a:pt x="573" y="0"/>
                  </a:lnTo>
                  <a:close/>
                </a:path>
              </a:pathLst>
            </a:custGeom>
            <a:solidFill>
              <a:srgbClr val="FFE600"/>
            </a:solidFill>
            <a:ln w="6350" cap="flat" cmpd="sng" algn="ctr">
              <a:solidFill>
                <a:srgbClr val="2E2E38"/>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646464"/>
                </a:solidFill>
                <a:effectLst/>
                <a:uLnTx/>
                <a:uFillTx/>
                <a:cs typeface="Times New Roman" panose="02020603050405020304" pitchFamily="18" charset="0"/>
              </a:endParaRPr>
            </a:p>
          </p:txBody>
        </p:sp>
        <p:sp>
          <p:nvSpPr>
            <p:cNvPr id="64" name="Freeform 133">
              <a:extLst>
                <a:ext uri="{FF2B5EF4-FFF2-40B4-BE49-F238E27FC236}">
                  <a16:creationId xmlns:a16="http://schemas.microsoft.com/office/drawing/2014/main" id="{A8583889-1024-CDDF-73B5-8F70A4F17633}"/>
                </a:ext>
              </a:extLst>
            </p:cNvPr>
            <p:cNvSpPr>
              <a:spLocks noEditPoints="1"/>
            </p:cNvSpPr>
            <p:nvPr/>
          </p:nvSpPr>
          <p:spPr bwMode="auto">
            <a:xfrm>
              <a:off x="5095528" y="5402645"/>
              <a:ext cx="445986" cy="386089"/>
            </a:xfrm>
            <a:custGeom>
              <a:avLst/>
              <a:gdLst/>
              <a:ahLst/>
              <a:cxnLst>
                <a:cxn ang="0">
                  <a:pos x="34" y="279"/>
                </a:cxn>
                <a:cxn ang="0">
                  <a:pos x="47" y="354"/>
                </a:cxn>
                <a:cxn ang="0">
                  <a:pos x="98" y="439"/>
                </a:cxn>
                <a:cxn ang="0">
                  <a:pos x="87" y="508"/>
                </a:cxn>
                <a:cxn ang="0">
                  <a:pos x="65" y="588"/>
                </a:cxn>
                <a:cxn ang="0">
                  <a:pos x="65" y="657"/>
                </a:cxn>
                <a:cxn ang="0">
                  <a:pos x="32" y="738"/>
                </a:cxn>
                <a:cxn ang="0">
                  <a:pos x="134" y="742"/>
                </a:cxn>
                <a:cxn ang="0">
                  <a:pos x="299" y="773"/>
                </a:cxn>
                <a:cxn ang="0">
                  <a:pos x="397" y="782"/>
                </a:cxn>
                <a:cxn ang="0">
                  <a:pos x="453" y="777"/>
                </a:cxn>
                <a:cxn ang="0">
                  <a:pos x="399" y="749"/>
                </a:cxn>
                <a:cxn ang="0">
                  <a:pos x="383" y="729"/>
                </a:cxn>
                <a:cxn ang="0">
                  <a:pos x="453" y="748"/>
                </a:cxn>
                <a:cxn ang="0">
                  <a:pos x="539" y="787"/>
                </a:cxn>
                <a:cxn ang="0">
                  <a:pos x="582" y="822"/>
                </a:cxn>
                <a:cxn ang="0">
                  <a:pos x="582" y="847"/>
                </a:cxn>
                <a:cxn ang="0">
                  <a:pos x="620" y="833"/>
                </a:cxn>
                <a:cxn ang="0">
                  <a:pos x="618" y="860"/>
                </a:cxn>
                <a:cxn ang="0">
                  <a:pos x="673" y="831"/>
                </a:cxn>
                <a:cxn ang="0">
                  <a:pos x="713" y="813"/>
                </a:cxn>
                <a:cxn ang="0">
                  <a:pos x="749" y="856"/>
                </a:cxn>
                <a:cxn ang="0">
                  <a:pos x="780" y="829"/>
                </a:cxn>
                <a:cxn ang="0">
                  <a:pos x="778" y="800"/>
                </a:cxn>
                <a:cxn ang="0">
                  <a:pos x="755" y="775"/>
                </a:cxn>
                <a:cxn ang="0">
                  <a:pos x="775" y="768"/>
                </a:cxn>
                <a:cxn ang="0">
                  <a:pos x="824" y="777"/>
                </a:cxn>
                <a:cxn ang="0">
                  <a:pos x="845" y="811"/>
                </a:cxn>
                <a:cxn ang="0">
                  <a:pos x="902" y="842"/>
                </a:cxn>
                <a:cxn ang="0">
                  <a:pos x="938" y="840"/>
                </a:cxn>
                <a:cxn ang="0">
                  <a:pos x="974" y="846"/>
                </a:cxn>
                <a:cxn ang="0">
                  <a:pos x="958" y="800"/>
                </a:cxn>
                <a:cxn ang="0">
                  <a:pos x="922" y="793"/>
                </a:cxn>
                <a:cxn ang="0">
                  <a:pos x="883" y="778"/>
                </a:cxn>
                <a:cxn ang="0">
                  <a:pos x="858" y="753"/>
                </a:cxn>
                <a:cxn ang="0">
                  <a:pos x="860" y="729"/>
                </a:cxn>
                <a:cxn ang="0">
                  <a:pos x="865" y="709"/>
                </a:cxn>
                <a:cxn ang="0">
                  <a:pos x="882" y="695"/>
                </a:cxn>
                <a:cxn ang="0">
                  <a:pos x="900" y="664"/>
                </a:cxn>
                <a:cxn ang="0">
                  <a:pos x="912" y="642"/>
                </a:cxn>
                <a:cxn ang="0">
                  <a:pos x="869" y="653"/>
                </a:cxn>
                <a:cxn ang="0">
                  <a:pos x="851" y="684"/>
                </a:cxn>
                <a:cxn ang="0">
                  <a:pos x="820" y="668"/>
                </a:cxn>
                <a:cxn ang="0">
                  <a:pos x="840" y="633"/>
                </a:cxn>
                <a:cxn ang="0">
                  <a:pos x="798" y="637"/>
                </a:cxn>
                <a:cxn ang="0">
                  <a:pos x="731" y="657"/>
                </a:cxn>
                <a:cxn ang="0">
                  <a:pos x="684" y="615"/>
                </a:cxn>
                <a:cxn ang="0">
                  <a:pos x="711" y="601"/>
                </a:cxn>
                <a:cxn ang="0">
                  <a:pos x="782" y="590"/>
                </a:cxn>
                <a:cxn ang="0">
                  <a:pos x="845" y="555"/>
                </a:cxn>
                <a:cxn ang="0">
                  <a:pos x="470" y="444"/>
                </a:cxn>
                <a:cxn ang="0">
                  <a:pos x="490" y="307"/>
                </a:cxn>
                <a:cxn ang="0">
                  <a:pos x="539" y="209"/>
                </a:cxn>
                <a:cxn ang="0">
                  <a:pos x="571" y="156"/>
                </a:cxn>
                <a:cxn ang="0">
                  <a:pos x="537" y="72"/>
                </a:cxn>
                <a:cxn ang="0">
                  <a:pos x="417" y="762"/>
                </a:cxn>
                <a:cxn ang="0">
                  <a:pos x="397" y="764"/>
                </a:cxn>
              </a:cxnLst>
              <a:rect l="0" t="0" r="r" b="b"/>
              <a:pathLst>
                <a:path w="974" h="866">
                  <a:moveTo>
                    <a:pt x="517" y="0"/>
                  </a:moveTo>
                  <a:lnTo>
                    <a:pt x="0" y="14"/>
                  </a:lnTo>
                  <a:lnTo>
                    <a:pt x="0" y="236"/>
                  </a:lnTo>
                  <a:lnTo>
                    <a:pt x="2" y="241"/>
                  </a:lnTo>
                  <a:lnTo>
                    <a:pt x="5" y="248"/>
                  </a:lnTo>
                  <a:lnTo>
                    <a:pt x="11" y="256"/>
                  </a:lnTo>
                  <a:lnTo>
                    <a:pt x="16" y="261"/>
                  </a:lnTo>
                  <a:lnTo>
                    <a:pt x="29" y="274"/>
                  </a:lnTo>
                  <a:lnTo>
                    <a:pt x="34" y="279"/>
                  </a:lnTo>
                  <a:lnTo>
                    <a:pt x="38" y="287"/>
                  </a:lnTo>
                  <a:lnTo>
                    <a:pt x="40" y="292"/>
                  </a:lnTo>
                  <a:lnTo>
                    <a:pt x="41" y="297"/>
                  </a:lnTo>
                  <a:lnTo>
                    <a:pt x="41" y="308"/>
                  </a:lnTo>
                  <a:lnTo>
                    <a:pt x="41" y="328"/>
                  </a:lnTo>
                  <a:lnTo>
                    <a:pt x="41" y="336"/>
                  </a:lnTo>
                  <a:lnTo>
                    <a:pt x="43" y="343"/>
                  </a:lnTo>
                  <a:lnTo>
                    <a:pt x="45" y="350"/>
                  </a:lnTo>
                  <a:lnTo>
                    <a:pt x="47" y="354"/>
                  </a:lnTo>
                  <a:lnTo>
                    <a:pt x="49" y="356"/>
                  </a:lnTo>
                  <a:lnTo>
                    <a:pt x="60" y="368"/>
                  </a:lnTo>
                  <a:lnTo>
                    <a:pt x="70" y="381"/>
                  </a:lnTo>
                  <a:lnTo>
                    <a:pt x="74" y="386"/>
                  </a:lnTo>
                  <a:lnTo>
                    <a:pt x="80" y="394"/>
                  </a:lnTo>
                  <a:lnTo>
                    <a:pt x="85" y="406"/>
                  </a:lnTo>
                  <a:lnTo>
                    <a:pt x="90" y="419"/>
                  </a:lnTo>
                  <a:lnTo>
                    <a:pt x="96" y="432"/>
                  </a:lnTo>
                  <a:lnTo>
                    <a:pt x="98" y="439"/>
                  </a:lnTo>
                  <a:lnTo>
                    <a:pt x="98" y="444"/>
                  </a:lnTo>
                  <a:lnTo>
                    <a:pt x="98" y="450"/>
                  </a:lnTo>
                  <a:lnTo>
                    <a:pt x="94" y="459"/>
                  </a:lnTo>
                  <a:lnTo>
                    <a:pt x="90" y="468"/>
                  </a:lnTo>
                  <a:lnTo>
                    <a:pt x="89" y="479"/>
                  </a:lnTo>
                  <a:lnTo>
                    <a:pt x="87" y="483"/>
                  </a:lnTo>
                  <a:lnTo>
                    <a:pt x="85" y="488"/>
                  </a:lnTo>
                  <a:lnTo>
                    <a:pt x="85" y="493"/>
                  </a:lnTo>
                  <a:lnTo>
                    <a:pt x="87" y="508"/>
                  </a:lnTo>
                  <a:lnTo>
                    <a:pt x="85" y="517"/>
                  </a:lnTo>
                  <a:lnTo>
                    <a:pt x="83" y="526"/>
                  </a:lnTo>
                  <a:lnTo>
                    <a:pt x="78" y="535"/>
                  </a:lnTo>
                  <a:lnTo>
                    <a:pt x="74" y="542"/>
                  </a:lnTo>
                  <a:lnTo>
                    <a:pt x="69" y="550"/>
                  </a:lnTo>
                  <a:lnTo>
                    <a:pt x="65" y="559"/>
                  </a:lnTo>
                  <a:lnTo>
                    <a:pt x="65" y="562"/>
                  </a:lnTo>
                  <a:lnTo>
                    <a:pt x="63" y="566"/>
                  </a:lnTo>
                  <a:lnTo>
                    <a:pt x="65" y="588"/>
                  </a:lnTo>
                  <a:lnTo>
                    <a:pt x="65" y="593"/>
                  </a:lnTo>
                  <a:lnTo>
                    <a:pt x="61" y="608"/>
                  </a:lnTo>
                  <a:lnTo>
                    <a:pt x="61" y="613"/>
                  </a:lnTo>
                  <a:lnTo>
                    <a:pt x="60" y="621"/>
                  </a:lnTo>
                  <a:lnTo>
                    <a:pt x="60" y="624"/>
                  </a:lnTo>
                  <a:lnTo>
                    <a:pt x="63" y="640"/>
                  </a:lnTo>
                  <a:lnTo>
                    <a:pt x="65" y="648"/>
                  </a:lnTo>
                  <a:lnTo>
                    <a:pt x="65" y="655"/>
                  </a:lnTo>
                  <a:lnTo>
                    <a:pt x="65" y="657"/>
                  </a:lnTo>
                  <a:lnTo>
                    <a:pt x="65" y="666"/>
                  </a:lnTo>
                  <a:lnTo>
                    <a:pt x="63" y="675"/>
                  </a:lnTo>
                  <a:lnTo>
                    <a:pt x="60" y="682"/>
                  </a:lnTo>
                  <a:lnTo>
                    <a:pt x="58" y="689"/>
                  </a:lnTo>
                  <a:lnTo>
                    <a:pt x="52" y="695"/>
                  </a:lnTo>
                  <a:lnTo>
                    <a:pt x="49" y="702"/>
                  </a:lnTo>
                  <a:lnTo>
                    <a:pt x="38" y="717"/>
                  </a:lnTo>
                  <a:lnTo>
                    <a:pt x="34" y="728"/>
                  </a:lnTo>
                  <a:lnTo>
                    <a:pt x="32" y="738"/>
                  </a:lnTo>
                  <a:lnTo>
                    <a:pt x="32" y="746"/>
                  </a:lnTo>
                  <a:lnTo>
                    <a:pt x="36" y="753"/>
                  </a:lnTo>
                  <a:lnTo>
                    <a:pt x="56" y="749"/>
                  </a:lnTo>
                  <a:lnTo>
                    <a:pt x="76" y="746"/>
                  </a:lnTo>
                  <a:lnTo>
                    <a:pt x="96" y="744"/>
                  </a:lnTo>
                  <a:lnTo>
                    <a:pt x="114" y="744"/>
                  </a:lnTo>
                  <a:lnTo>
                    <a:pt x="116" y="744"/>
                  </a:lnTo>
                  <a:lnTo>
                    <a:pt x="119" y="744"/>
                  </a:lnTo>
                  <a:lnTo>
                    <a:pt x="134" y="742"/>
                  </a:lnTo>
                  <a:lnTo>
                    <a:pt x="150" y="742"/>
                  </a:lnTo>
                  <a:lnTo>
                    <a:pt x="165" y="740"/>
                  </a:lnTo>
                  <a:lnTo>
                    <a:pt x="181" y="738"/>
                  </a:lnTo>
                  <a:lnTo>
                    <a:pt x="196" y="740"/>
                  </a:lnTo>
                  <a:lnTo>
                    <a:pt x="203" y="742"/>
                  </a:lnTo>
                  <a:lnTo>
                    <a:pt x="210" y="744"/>
                  </a:lnTo>
                  <a:lnTo>
                    <a:pt x="248" y="755"/>
                  </a:lnTo>
                  <a:lnTo>
                    <a:pt x="286" y="769"/>
                  </a:lnTo>
                  <a:lnTo>
                    <a:pt x="299" y="773"/>
                  </a:lnTo>
                  <a:lnTo>
                    <a:pt x="310" y="778"/>
                  </a:lnTo>
                  <a:lnTo>
                    <a:pt x="323" y="782"/>
                  </a:lnTo>
                  <a:lnTo>
                    <a:pt x="335" y="784"/>
                  </a:lnTo>
                  <a:lnTo>
                    <a:pt x="346" y="782"/>
                  </a:lnTo>
                  <a:lnTo>
                    <a:pt x="359" y="778"/>
                  </a:lnTo>
                  <a:lnTo>
                    <a:pt x="374" y="777"/>
                  </a:lnTo>
                  <a:lnTo>
                    <a:pt x="377" y="777"/>
                  </a:lnTo>
                  <a:lnTo>
                    <a:pt x="386" y="778"/>
                  </a:lnTo>
                  <a:lnTo>
                    <a:pt x="397" y="782"/>
                  </a:lnTo>
                  <a:lnTo>
                    <a:pt x="406" y="786"/>
                  </a:lnTo>
                  <a:lnTo>
                    <a:pt x="417" y="789"/>
                  </a:lnTo>
                  <a:lnTo>
                    <a:pt x="428" y="791"/>
                  </a:lnTo>
                  <a:lnTo>
                    <a:pt x="437" y="789"/>
                  </a:lnTo>
                  <a:lnTo>
                    <a:pt x="446" y="786"/>
                  </a:lnTo>
                  <a:lnTo>
                    <a:pt x="448" y="784"/>
                  </a:lnTo>
                  <a:lnTo>
                    <a:pt x="452" y="782"/>
                  </a:lnTo>
                  <a:lnTo>
                    <a:pt x="452" y="778"/>
                  </a:lnTo>
                  <a:lnTo>
                    <a:pt x="453" y="777"/>
                  </a:lnTo>
                  <a:lnTo>
                    <a:pt x="452" y="771"/>
                  </a:lnTo>
                  <a:lnTo>
                    <a:pt x="450" y="768"/>
                  </a:lnTo>
                  <a:lnTo>
                    <a:pt x="444" y="764"/>
                  </a:lnTo>
                  <a:lnTo>
                    <a:pt x="439" y="758"/>
                  </a:lnTo>
                  <a:lnTo>
                    <a:pt x="424" y="751"/>
                  </a:lnTo>
                  <a:lnTo>
                    <a:pt x="417" y="749"/>
                  </a:lnTo>
                  <a:lnTo>
                    <a:pt x="410" y="748"/>
                  </a:lnTo>
                  <a:lnTo>
                    <a:pt x="408" y="748"/>
                  </a:lnTo>
                  <a:lnTo>
                    <a:pt x="399" y="749"/>
                  </a:lnTo>
                  <a:lnTo>
                    <a:pt x="390" y="751"/>
                  </a:lnTo>
                  <a:lnTo>
                    <a:pt x="384" y="751"/>
                  </a:lnTo>
                  <a:lnTo>
                    <a:pt x="381" y="749"/>
                  </a:lnTo>
                  <a:lnTo>
                    <a:pt x="379" y="746"/>
                  </a:lnTo>
                  <a:lnTo>
                    <a:pt x="377" y="742"/>
                  </a:lnTo>
                  <a:lnTo>
                    <a:pt x="377" y="738"/>
                  </a:lnTo>
                  <a:lnTo>
                    <a:pt x="377" y="737"/>
                  </a:lnTo>
                  <a:lnTo>
                    <a:pt x="377" y="733"/>
                  </a:lnTo>
                  <a:lnTo>
                    <a:pt x="383" y="729"/>
                  </a:lnTo>
                  <a:lnTo>
                    <a:pt x="395" y="724"/>
                  </a:lnTo>
                  <a:lnTo>
                    <a:pt x="403" y="720"/>
                  </a:lnTo>
                  <a:lnTo>
                    <a:pt x="408" y="720"/>
                  </a:lnTo>
                  <a:lnTo>
                    <a:pt x="412" y="720"/>
                  </a:lnTo>
                  <a:lnTo>
                    <a:pt x="415" y="722"/>
                  </a:lnTo>
                  <a:lnTo>
                    <a:pt x="424" y="726"/>
                  </a:lnTo>
                  <a:lnTo>
                    <a:pt x="432" y="731"/>
                  </a:lnTo>
                  <a:lnTo>
                    <a:pt x="439" y="737"/>
                  </a:lnTo>
                  <a:lnTo>
                    <a:pt x="453" y="748"/>
                  </a:lnTo>
                  <a:lnTo>
                    <a:pt x="466" y="760"/>
                  </a:lnTo>
                  <a:lnTo>
                    <a:pt x="473" y="766"/>
                  </a:lnTo>
                  <a:lnTo>
                    <a:pt x="481" y="769"/>
                  </a:lnTo>
                  <a:lnTo>
                    <a:pt x="497" y="777"/>
                  </a:lnTo>
                  <a:lnTo>
                    <a:pt x="513" y="784"/>
                  </a:lnTo>
                  <a:lnTo>
                    <a:pt x="520" y="786"/>
                  </a:lnTo>
                  <a:lnTo>
                    <a:pt x="528" y="786"/>
                  </a:lnTo>
                  <a:lnTo>
                    <a:pt x="537" y="786"/>
                  </a:lnTo>
                  <a:lnTo>
                    <a:pt x="539" y="787"/>
                  </a:lnTo>
                  <a:lnTo>
                    <a:pt x="542" y="789"/>
                  </a:lnTo>
                  <a:lnTo>
                    <a:pt x="546" y="791"/>
                  </a:lnTo>
                  <a:lnTo>
                    <a:pt x="550" y="795"/>
                  </a:lnTo>
                  <a:lnTo>
                    <a:pt x="555" y="802"/>
                  </a:lnTo>
                  <a:lnTo>
                    <a:pt x="559" y="807"/>
                  </a:lnTo>
                  <a:lnTo>
                    <a:pt x="564" y="815"/>
                  </a:lnTo>
                  <a:lnTo>
                    <a:pt x="571" y="817"/>
                  </a:lnTo>
                  <a:lnTo>
                    <a:pt x="577" y="818"/>
                  </a:lnTo>
                  <a:lnTo>
                    <a:pt x="582" y="822"/>
                  </a:lnTo>
                  <a:lnTo>
                    <a:pt x="586" y="827"/>
                  </a:lnTo>
                  <a:lnTo>
                    <a:pt x="580" y="831"/>
                  </a:lnTo>
                  <a:lnTo>
                    <a:pt x="577" y="835"/>
                  </a:lnTo>
                  <a:lnTo>
                    <a:pt x="575" y="840"/>
                  </a:lnTo>
                  <a:lnTo>
                    <a:pt x="575" y="844"/>
                  </a:lnTo>
                  <a:lnTo>
                    <a:pt x="575" y="846"/>
                  </a:lnTo>
                  <a:lnTo>
                    <a:pt x="577" y="847"/>
                  </a:lnTo>
                  <a:lnTo>
                    <a:pt x="579" y="847"/>
                  </a:lnTo>
                  <a:lnTo>
                    <a:pt x="582" y="847"/>
                  </a:lnTo>
                  <a:lnTo>
                    <a:pt x="591" y="847"/>
                  </a:lnTo>
                  <a:lnTo>
                    <a:pt x="595" y="846"/>
                  </a:lnTo>
                  <a:lnTo>
                    <a:pt x="597" y="844"/>
                  </a:lnTo>
                  <a:lnTo>
                    <a:pt x="604" y="838"/>
                  </a:lnTo>
                  <a:lnTo>
                    <a:pt x="611" y="833"/>
                  </a:lnTo>
                  <a:lnTo>
                    <a:pt x="613" y="833"/>
                  </a:lnTo>
                  <a:lnTo>
                    <a:pt x="617" y="831"/>
                  </a:lnTo>
                  <a:lnTo>
                    <a:pt x="618" y="831"/>
                  </a:lnTo>
                  <a:lnTo>
                    <a:pt x="620" y="833"/>
                  </a:lnTo>
                  <a:lnTo>
                    <a:pt x="622" y="838"/>
                  </a:lnTo>
                  <a:lnTo>
                    <a:pt x="617" y="840"/>
                  </a:lnTo>
                  <a:lnTo>
                    <a:pt x="613" y="842"/>
                  </a:lnTo>
                  <a:lnTo>
                    <a:pt x="609" y="846"/>
                  </a:lnTo>
                  <a:lnTo>
                    <a:pt x="609" y="849"/>
                  </a:lnTo>
                  <a:lnTo>
                    <a:pt x="611" y="853"/>
                  </a:lnTo>
                  <a:lnTo>
                    <a:pt x="611" y="855"/>
                  </a:lnTo>
                  <a:lnTo>
                    <a:pt x="613" y="858"/>
                  </a:lnTo>
                  <a:lnTo>
                    <a:pt x="618" y="860"/>
                  </a:lnTo>
                  <a:lnTo>
                    <a:pt x="624" y="864"/>
                  </a:lnTo>
                  <a:lnTo>
                    <a:pt x="631" y="866"/>
                  </a:lnTo>
                  <a:lnTo>
                    <a:pt x="637" y="866"/>
                  </a:lnTo>
                  <a:lnTo>
                    <a:pt x="642" y="866"/>
                  </a:lnTo>
                  <a:lnTo>
                    <a:pt x="646" y="864"/>
                  </a:lnTo>
                  <a:lnTo>
                    <a:pt x="653" y="860"/>
                  </a:lnTo>
                  <a:lnTo>
                    <a:pt x="658" y="855"/>
                  </a:lnTo>
                  <a:lnTo>
                    <a:pt x="662" y="847"/>
                  </a:lnTo>
                  <a:lnTo>
                    <a:pt x="673" y="831"/>
                  </a:lnTo>
                  <a:lnTo>
                    <a:pt x="678" y="824"/>
                  </a:lnTo>
                  <a:lnTo>
                    <a:pt x="680" y="820"/>
                  </a:lnTo>
                  <a:lnTo>
                    <a:pt x="684" y="817"/>
                  </a:lnTo>
                  <a:lnTo>
                    <a:pt x="687" y="813"/>
                  </a:lnTo>
                  <a:lnTo>
                    <a:pt x="693" y="811"/>
                  </a:lnTo>
                  <a:lnTo>
                    <a:pt x="697" y="809"/>
                  </a:lnTo>
                  <a:lnTo>
                    <a:pt x="700" y="809"/>
                  </a:lnTo>
                  <a:lnTo>
                    <a:pt x="706" y="809"/>
                  </a:lnTo>
                  <a:lnTo>
                    <a:pt x="713" y="813"/>
                  </a:lnTo>
                  <a:lnTo>
                    <a:pt x="718" y="817"/>
                  </a:lnTo>
                  <a:lnTo>
                    <a:pt x="726" y="822"/>
                  </a:lnTo>
                  <a:lnTo>
                    <a:pt x="729" y="826"/>
                  </a:lnTo>
                  <a:lnTo>
                    <a:pt x="731" y="831"/>
                  </a:lnTo>
                  <a:lnTo>
                    <a:pt x="735" y="842"/>
                  </a:lnTo>
                  <a:lnTo>
                    <a:pt x="740" y="851"/>
                  </a:lnTo>
                  <a:lnTo>
                    <a:pt x="744" y="855"/>
                  </a:lnTo>
                  <a:lnTo>
                    <a:pt x="747" y="856"/>
                  </a:lnTo>
                  <a:lnTo>
                    <a:pt x="749" y="856"/>
                  </a:lnTo>
                  <a:lnTo>
                    <a:pt x="753" y="856"/>
                  </a:lnTo>
                  <a:lnTo>
                    <a:pt x="756" y="855"/>
                  </a:lnTo>
                  <a:lnTo>
                    <a:pt x="767" y="851"/>
                  </a:lnTo>
                  <a:lnTo>
                    <a:pt x="775" y="846"/>
                  </a:lnTo>
                  <a:lnTo>
                    <a:pt x="778" y="844"/>
                  </a:lnTo>
                  <a:lnTo>
                    <a:pt x="780" y="840"/>
                  </a:lnTo>
                  <a:lnTo>
                    <a:pt x="782" y="835"/>
                  </a:lnTo>
                  <a:lnTo>
                    <a:pt x="782" y="833"/>
                  </a:lnTo>
                  <a:lnTo>
                    <a:pt x="780" y="829"/>
                  </a:lnTo>
                  <a:lnTo>
                    <a:pt x="776" y="826"/>
                  </a:lnTo>
                  <a:lnTo>
                    <a:pt x="773" y="820"/>
                  </a:lnTo>
                  <a:lnTo>
                    <a:pt x="771" y="817"/>
                  </a:lnTo>
                  <a:lnTo>
                    <a:pt x="771" y="813"/>
                  </a:lnTo>
                  <a:lnTo>
                    <a:pt x="771" y="811"/>
                  </a:lnTo>
                  <a:lnTo>
                    <a:pt x="771" y="809"/>
                  </a:lnTo>
                  <a:lnTo>
                    <a:pt x="773" y="807"/>
                  </a:lnTo>
                  <a:lnTo>
                    <a:pt x="776" y="804"/>
                  </a:lnTo>
                  <a:lnTo>
                    <a:pt x="778" y="800"/>
                  </a:lnTo>
                  <a:lnTo>
                    <a:pt x="780" y="798"/>
                  </a:lnTo>
                  <a:lnTo>
                    <a:pt x="780" y="797"/>
                  </a:lnTo>
                  <a:lnTo>
                    <a:pt x="780" y="795"/>
                  </a:lnTo>
                  <a:lnTo>
                    <a:pt x="778" y="791"/>
                  </a:lnTo>
                  <a:lnTo>
                    <a:pt x="773" y="787"/>
                  </a:lnTo>
                  <a:lnTo>
                    <a:pt x="769" y="786"/>
                  </a:lnTo>
                  <a:lnTo>
                    <a:pt x="765" y="784"/>
                  </a:lnTo>
                  <a:lnTo>
                    <a:pt x="760" y="778"/>
                  </a:lnTo>
                  <a:lnTo>
                    <a:pt x="755" y="775"/>
                  </a:lnTo>
                  <a:lnTo>
                    <a:pt x="753" y="771"/>
                  </a:lnTo>
                  <a:lnTo>
                    <a:pt x="751" y="769"/>
                  </a:lnTo>
                  <a:lnTo>
                    <a:pt x="751" y="766"/>
                  </a:lnTo>
                  <a:lnTo>
                    <a:pt x="753" y="762"/>
                  </a:lnTo>
                  <a:lnTo>
                    <a:pt x="755" y="760"/>
                  </a:lnTo>
                  <a:lnTo>
                    <a:pt x="760" y="762"/>
                  </a:lnTo>
                  <a:lnTo>
                    <a:pt x="764" y="764"/>
                  </a:lnTo>
                  <a:lnTo>
                    <a:pt x="769" y="766"/>
                  </a:lnTo>
                  <a:lnTo>
                    <a:pt x="775" y="768"/>
                  </a:lnTo>
                  <a:lnTo>
                    <a:pt x="780" y="769"/>
                  </a:lnTo>
                  <a:lnTo>
                    <a:pt x="787" y="769"/>
                  </a:lnTo>
                  <a:lnTo>
                    <a:pt x="800" y="769"/>
                  </a:lnTo>
                  <a:lnTo>
                    <a:pt x="805" y="769"/>
                  </a:lnTo>
                  <a:lnTo>
                    <a:pt x="809" y="769"/>
                  </a:lnTo>
                  <a:lnTo>
                    <a:pt x="811" y="771"/>
                  </a:lnTo>
                  <a:lnTo>
                    <a:pt x="816" y="773"/>
                  </a:lnTo>
                  <a:lnTo>
                    <a:pt x="820" y="775"/>
                  </a:lnTo>
                  <a:lnTo>
                    <a:pt x="824" y="777"/>
                  </a:lnTo>
                  <a:lnTo>
                    <a:pt x="825" y="780"/>
                  </a:lnTo>
                  <a:lnTo>
                    <a:pt x="827" y="786"/>
                  </a:lnTo>
                  <a:lnTo>
                    <a:pt x="829" y="791"/>
                  </a:lnTo>
                  <a:lnTo>
                    <a:pt x="831" y="797"/>
                  </a:lnTo>
                  <a:lnTo>
                    <a:pt x="833" y="804"/>
                  </a:lnTo>
                  <a:lnTo>
                    <a:pt x="834" y="806"/>
                  </a:lnTo>
                  <a:lnTo>
                    <a:pt x="836" y="807"/>
                  </a:lnTo>
                  <a:lnTo>
                    <a:pt x="840" y="809"/>
                  </a:lnTo>
                  <a:lnTo>
                    <a:pt x="845" y="811"/>
                  </a:lnTo>
                  <a:lnTo>
                    <a:pt x="856" y="815"/>
                  </a:lnTo>
                  <a:lnTo>
                    <a:pt x="867" y="815"/>
                  </a:lnTo>
                  <a:lnTo>
                    <a:pt x="871" y="817"/>
                  </a:lnTo>
                  <a:lnTo>
                    <a:pt x="876" y="818"/>
                  </a:lnTo>
                  <a:lnTo>
                    <a:pt x="882" y="820"/>
                  </a:lnTo>
                  <a:lnTo>
                    <a:pt x="887" y="824"/>
                  </a:lnTo>
                  <a:lnTo>
                    <a:pt x="891" y="827"/>
                  </a:lnTo>
                  <a:lnTo>
                    <a:pt x="894" y="831"/>
                  </a:lnTo>
                  <a:lnTo>
                    <a:pt x="902" y="842"/>
                  </a:lnTo>
                  <a:lnTo>
                    <a:pt x="911" y="849"/>
                  </a:lnTo>
                  <a:lnTo>
                    <a:pt x="914" y="853"/>
                  </a:lnTo>
                  <a:lnTo>
                    <a:pt x="920" y="853"/>
                  </a:lnTo>
                  <a:lnTo>
                    <a:pt x="922" y="853"/>
                  </a:lnTo>
                  <a:lnTo>
                    <a:pt x="925" y="853"/>
                  </a:lnTo>
                  <a:lnTo>
                    <a:pt x="927" y="851"/>
                  </a:lnTo>
                  <a:lnTo>
                    <a:pt x="931" y="847"/>
                  </a:lnTo>
                  <a:lnTo>
                    <a:pt x="934" y="842"/>
                  </a:lnTo>
                  <a:lnTo>
                    <a:pt x="938" y="840"/>
                  </a:lnTo>
                  <a:lnTo>
                    <a:pt x="941" y="842"/>
                  </a:lnTo>
                  <a:lnTo>
                    <a:pt x="945" y="844"/>
                  </a:lnTo>
                  <a:lnTo>
                    <a:pt x="949" y="847"/>
                  </a:lnTo>
                  <a:lnTo>
                    <a:pt x="952" y="849"/>
                  </a:lnTo>
                  <a:lnTo>
                    <a:pt x="958" y="851"/>
                  </a:lnTo>
                  <a:lnTo>
                    <a:pt x="965" y="851"/>
                  </a:lnTo>
                  <a:lnTo>
                    <a:pt x="969" y="851"/>
                  </a:lnTo>
                  <a:lnTo>
                    <a:pt x="971" y="849"/>
                  </a:lnTo>
                  <a:lnTo>
                    <a:pt x="974" y="846"/>
                  </a:lnTo>
                  <a:lnTo>
                    <a:pt x="974" y="842"/>
                  </a:lnTo>
                  <a:lnTo>
                    <a:pt x="974" y="840"/>
                  </a:lnTo>
                  <a:lnTo>
                    <a:pt x="974" y="838"/>
                  </a:lnTo>
                  <a:lnTo>
                    <a:pt x="972" y="836"/>
                  </a:lnTo>
                  <a:lnTo>
                    <a:pt x="969" y="829"/>
                  </a:lnTo>
                  <a:lnTo>
                    <a:pt x="965" y="824"/>
                  </a:lnTo>
                  <a:lnTo>
                    <a:pt x="961" y="820"/>
                  </a:lnTo>
                  <a:lnTo>
                    <a:pt x="960" y="807"/>
                  </a:lnTo>
                  <a:lnTo>
                    <a:pt x="958" y="800"/>
                  </a:lnTo>
                  <a:lnTo>
                    <a:pt x="956" y="797"/>
                  </a:lnTo>
                  <a:lnTo>
                    <a:pt x="954" y="795"/>
                  </a:lnTo>
                  <a:lnTo>
                    <a:pt x="951" y="793"/>
                  </a:lnTo>
                  <a:lnTo>
                    <a:pt x="947" y="793"/>
                  </a:lnTo>
                  <a:lnTo>
                    <a:pt x="938" y="795"/>
                  </a:lnTo>
                  <a:lnTo>
                    <a:pt x="929" y="795"/>
                  </a:lnTo>
                  <a:lnTo>
                    <a:pt x="923" y="795"/>
                  </a:lnTo>
                  <a:lnTo>
                    <a:pt x="923" y="793"/>
                  </a:lnTo>
                  <a:lnTo>
                    <a:pt x="922" y="793"/>
                  </a:lnTo>
                  <a:lnTo>
                    <a:pt x="922" y="789"/>
                  </a:lnTo>
                  <a:lnTo>
                    <a:pt x="920" y="786"/>
                  </a:lnTo>
                  <a:lnTo>
                    <a:pt x="918" y="784"/>
                  </a:lnTo>
                  <a:lnTo>
                    <a:pt x="914" y="784"/>
                  </a:lnTo>
                  <a:lnTo>
                    <a:pt x="909" y="786"/>
                  </a:lnTo>
                  <a:lnTo>
                    <a:pt x="905" y="786"/>
                  </a:lnTo>
                  <a:lnTo>
                    <a:pt x="903" y="786"/>
                  </a:lnTo>
                  <a:lnTo>
                    <a:pt x="892" y="784"/>
                  </a:lnTo>
                  <a:lnTo>
                    <a:pt x="883" y="778"/>
                  </a:lnTo>
                  <a:lnTo>
                    <a:pt x="876" y="773"/>
                  </a:lnTo>
                  <a:lnTo>
                    <a:pt x="867" y="766"/>
                  </a:lnTo>
                  <a:lnTo>
                    <a:pt x="867" y="762"/>
                  </a:lnTo>
                  <a:lnTo>
                    <a:pt x="865" y="760"/>
                  </a:lnTo>
                  <a:lnTo>
                    <a:pt x="865" y="757"/>
                  </a:lnTo>
                  <a:lnTo>
                    <a:pt x="863" y="755"/>
                  </a:lnTo>
                  <a:lnTo>
                    <a:pt x="863" y="753"/>
                  </a:lnTo>
                  <a:lnTo>
                    <a:pt x="862" y="753"/>
                  </a:lnTo>
                  <a:lnTo>
                    <a:pt x="858" y="753"/>
                  </a:lnTo>
                  <a:lnTo>
                    <a:pt x="854" y="751"/>
                  </a:lnTo>
                  <a:lnTo>
                    <a:pt x="853" y="751"/>
                  </a:lnTo>
                  <a:lnTo>
                    <a:pt x="853" y="749"/>
                  </a:lnTo>
                  <a:lnTo>
                    <a:pt x="851" y="744"/>
                  </a:lnTo>
                  <a:lnTo>
                    <a:pt x="853" y="740"/>
                  </a:lnTo>
                  <a:lnTo>
                    <a:pt x="853" y="738"/>
                  </a:lnTo>
                  <a:lnTo>
                    <a:pt x="854" y="735"/>
                  </a:lnTo>
                  <a:lnTo>
                    <a:pt x="858" y="731"/>
                  </a:lnTo>
                  <a:lnTo>
                    <a:pt x="860" y="729"/>
                  </a:lnTo>
                  <a:lnTo>
                    <a:pt x="862" y="728"/>
                  </a:lnTo>
                  <a:lnTo>
                    <a:pt x="865" y="726"/>
                  </a:lnTo>
                  <a:lnTo>
                    <a:pt x="867" y="726"/>
                  </a:lnTo>
                  <a:lnTo>
                    <a:pt x="865" y="722"/>
                  </a:lnTo>
                  <a:lnTo>
                    <a:pt x="863" y="719"/>
                  </a:lnTo>
                  <a:lnTo>
                    <a:pt x="862" y="717"/>
                  </a:lnTo>
                  <a:lnTo>
                    <a:pt x="862" y="713"/>
                  </a:lnTo>
                  <a:lnTo>
                    <a:pt x="862" y="711"/>
                  </a:lnTo>
                  <a:lnTo>
                    <a:pt x="865" y="709"/>
                  </a:lnTo>
                  <a:lnTo>
                    <a:pt x="867" y="709"/>
                  </a:lnTo>
                  <a:lnTo>
                    <a:pt x="874" y="709"/>
                  </a:lnTo>
                  <a:lnTo>
                    <a:pt x="878" y="711"/>
                  </a:lnTo>
                  <a:lnTo>
                    <a:pt x="880" y="711"/>
                  </a:lnTo>
                  <a:lnTo>
                    <a:pt x="882" y="708"/>
                  </a:lnTo>
                  <a:lnTo>
                    <a:pt x="882" y="706"/>
                  </a:lnTo>
                  <a:lnTo>
                    <a:pt x="882" y="702"/>
                  </a:lnTo>
                  <a:lnTo>
                    <a:pt x="880" y="699"/>
                  </a:lnTo>
                  <a:lnTo>
                    <a:pt x="882" y="695"/>
                  </a:lnTo>
                  <a:lnTo>
                    <a:pt x="889" y="691"/>
                  </a:lnTo>
                  <a:lnTo>
                    <a:pt x="894" y="689"/>
                  </a:lnTo>
                  <a:lnTo>
                    <a:pt x="896" y="684"/>
                  </a:lnTo>
                  <a:lnTo>
                    <a:pt x="898" y="682"/>
                  </a:lnTo>
                  <a:lnTo>
                    <a:pt x="898" y="679"/>
                  </a:lnTo>
                  <a:lnTo>
                    <a:pt x="898" y="675"/>
                  </a:lnTo>
                  <a:lnTo>
                    <a:pt x="900" y="671"/>
                  </a:lnTo>
                  <a:lnTo>
                    <a:pt x="900" y="668"/>
                  </a:lnTo>
                  <a:lnTo>
                    <a:pt x="900" y="664"/>
                  </a:lnTo>
                  <a:lnTo>
                    <a:pt x="900" y="660"/>
                  </a:lnTo>
                  <a:lnTo>
                    <a:pt x="902" y="659"/>
                  </a:lnTo>
                  <a:lnTo>
                    <a:pt x="903" y="657"/>
                  </a:lnTo>
                  <a:lnTo>
                    <a:pt x="907" y="655"/>
                  </a:lnTo>
                  <a:lnTo>
                    <a:pt x="912" y="651"/>
                  </a:lnTo>
                  <a:lnTo>
                    <a:pt x="914" y="651"/>
                  </a:lnTo>
                  <a:lnTo>
                    <a:pt x="914" y="648"/>
                  </a:lnTo>
                  <a:lnTo>
                    <a:pt x="914" y="644"/>
                  </a:lnTo>
                  <a:lnTo>
                    <a:pt x="912" y="642"/>
                  </a:lnTo>
                  <a:lnTo>
                    <a:pt x="911" y="640"/>
                  </a:lnTo>
                  <a:lnTo>
                    <a:pt x="905" y="642"/>
                  </a:lnTo>
                  <a:lnTo>
                    <a:pt x="898" y="646"/>
                  </a:lnTo>
                  <a:lnTo>
                    <a:pt x="887" y="651"/>
                  </a:lnTo>
                  <a:lnTo>
                    <a:pt x="883" y="653"/>
                  </a:lnTo>
                  <a:lnTo>
                    <a:pt x="878" y="653"/>
                  </a:lnTo>
                  <a:lnTo>
                    <a:pt x="876" y="653"/>
                  </a:lnTo>
                  <a:lnTo>
                    <a:pt x="873" y="653"/>
                  </a:lnTo>
                  <a:lnTo>
                    <a:pt x="869" y="653"/>
                  </a:lnTo>
                  <a:lnTo>
                    <a:pt x="865" y="655"/>
                  </a:lnTo>
                  <a:lnTo>
                    <a:pt x="862" y="659"/>
                  </a:lnTo>
                  <a:lnTo>
                    <a:pt x="860" y="660"/>
                  </a:lnTo>
                  <a:lnTo>
                    <a:pt x="858" y="662"/>
                  </a:lnTo>
                  <a:lnTo>
                    <a:pt x="858" y="668"/>
                  </a:lnTo>
                  <a:lnTo>
                    <a:pt x="858" y="673"/>
                  </a:lnTo>
                  <a:lnTo>
                    <a:pt x="856" y="677"/>
                  </a:lnTo>
                  <a:lnTo>
                    <a:pt x="853" y="682"/>
                  </a:lnTo>
                  <a:lnTo>
                    <a:pt x="851" y="684"/>
                  </a:lnTo>
                  <a:lnTo>
                    <a:pt x="849" y="686"/>
                  </a:lnTo>
                  <a:lnTo>
                    <a:pt x="847" y="686"/>
                  </a:lnTo>
                  <a:lnTo>
                    <a:pt x="845" y="686"/>
                  </a:lnTo>
                  <a:lnTo>
                    <a:pt x="842" y="684"/>
                  </a:lnTo>
                  <a:lnTo>
                    <a:pt x="840" y="680"/>
                  </a:lnTo>
                  <a:lnTo>
                    <a:pt x="834" y="675"/>
                  </a:lnTo>
                  <a:lnTo>
                    <a:pt x="829" y="671"/>
                  </a:lnTo>
                  <a:lnTo>
                    <a:pt x="824" y="670"/>
                  </a:lnTo>
                  <a:lnTo>
                    <a:pt x="820" y="668"/>
                  </a:lnTo>
                  <a:lnTo>
                    <a:pt x="820" y="664"/>
                  </a:lnTo>
                  <a:lnTo>
                    <a:pt x="820" y="662"/>
                  </a:lnTo>
                  <a:lnTo>
                    <a:pt x="820" y="659"/>
                  </a:lnTo>
                  <a:lnTo>
                    <a:pt x="822" y="653"/>
                  </a:lnTo>
                  <a:lnTo>
                    <a:pt x="824" y="650"/>
                  </a:lnTo>
                  <a:lnTo>
                    <a:pt x="825" y="646"/>
                  </a:lnTo>
                  <a:lnTo>
                    <a:pt x="833" y="640"/>
                  </a:lnTo>
                  <a:lnTo>
                    <a:pt x="833" y="639"/>
                  </a:lnTo>
                  <a:lnTo>
                    <a:pt x="840" y="633"/>
                  </a:lnTo>
                  <a:lnTo>
                    <a:pt x="842" y="630"/>
                  </a:lnTo>
                  <a:lnTo>
                    <a:pt x="842" y="628"/>
                  </a:lnTo>
                  <a:lnTo>
                    <a:pt x="840" y="628"/>
                  </a:lnTo>
                  <a:lnTo>
                    <a:pt x="838" y="626"/>
                  </a:lnTo>
                  <a:lnTo>
                    <a:pt x="834" y="626"/>
                  </a:lnTo>
                  <a:lnTo>
                    <a:pt x="825" y="626"/>
                  </a:lnTo>
                  <a:lnTo>
                    <a:pt x="816" y="630"/>
                  </a:lnTo>
                  <a:lnTo>
                    <a:pt x="807" y="631"/>
                  </a:lnTo>
                  <a:lnTo>
                    <a:pt x="798" y="637"/>
                  </a:lnTo>
                  <a:lnTo>
                    <a:pt x="793" y="639"/>
                  </a:lnTo>
                  <a:lnTo>
                    <a:pt x="787" y="640"/>
                  </a:lnTo>
                  <a:lnTo>
                    <a:pt x="776" y="642"/>
                  </a:lnTo>
                  <a:lnTo>
                    <a:pt x="765" y="646"/>
                  </a:lnTo>
                  <a:lnTo>
                    <a:pt x="760" y="648"/>
                  </a:lnTo>
                  <a:lnTo>
                    <a:pt x="753" y="650"/>
                  </a:lnTo>
                  <a:lnTo>
                    <a:pt x="742" y="655"/>
                  </a:lnTo>
                  <a:lnTo>
                    <a:pt x="736" y="657"/>
                  </a:lnTo>
                  <a:lnTo>
                    <a:pt x="731" y="657"/>
                  </a:lnTo>
                  <a:lnTo>
                    <a:pt x="726" y="657"/>
                  </a:lnTo>
                  <a:lnTo>
                    <a:pt x="720" y="655"/>
                  </a:lnTo>
                  <a:lnTo>
                    <a:pt x="704" y="646"/>
                  </a:lnTo>
                  <a:lnTo>
                    <a:pt x="700" y="642"/>
                  </a:lnTo>
                  <a:lnTo>
                    <a:pt x="695" y="639"/>
                  </a:lnTo>
                  <a:lnTo>
                    <a:pt x="691" y="633"/>
                  </a:lnTo>
                  <a:lnTo>
                    <a:pt x="687" y="626"/>
                  </a:lnTo>
                  <a:lnTo>
                    <a:pt x="686" y="621"/>
                  </a:lnTo>
                  <a:lnTo>
                    <a:pt x="684" y="615"/>
                  </a:lnTo>
                  <a:lnTo>
                    <a:pt x="682" y="602"/>
                  </a:lnTo>
                  <a:lnTo>
                    <a:pt x="682" y="599"/>
                  </a:lnTo>
                  <a:lnTo>
                    <a:pt x="684" y="597"/>
                  </a:lnTo>
                  <a:lnTo>
                    <a:pt x="686" y="595"/>
                  </a:lnTo>
                  <a:lnTo>
                    <a:pt x="687" y="593"/>
                  </a:lnTo>
                  <a:lnTo>
                    <a:pt x="689" y="593"/>
                  </a:lnTo>
                  <a:lnTo>
                    <a:pt x="700" y="597"/>
                  </a:lnTo>
                  <a:lnTo>
                    <a:pt x="706" y="599"/>
                  </a:lnTo>
                  <a:lnTo>
                    <a:pt x="711" y="601"/>
                  </a:lnTo>
                  <a:lnTo>
                    <a:pt x="718" y="599"/>
                  </a:lnTo>
                  <a:lnTo>
                    <a:pt x="727" y="593"/>
                  </a:lnTo>
                  <a:lnTo>
                    <a:pt x="733" y="590"/>
                  </a:lnTo>
                  <a:lnTo>
                    <a:pt x="738" y="586"/>
                  </a:lnTo>
                  <a:lnTo>
                    <a:pt x="744" y="582"/>
                  </a:lnTo>
                  <a:lnTo>
                    <a:pt x="751" y="582"/>
                  </a:lnTo>
                  <a:lnTo>
                    <a:pt x="753" y="582"/>
                  </a:lnTo>
                  <a:lnTo>
                    <a:pt x="767" y="584"/>
                  </a:lnTo>
                  <a:lnTo>
                    <a:pt x="782" y="590"/>
                  </a:lnTo>
                  <a:lnTo>
                    <a:pt x="811" y="602"/>
                  </a:lnTo>
                  <a:lnTo>
                    <a:pt x="829" y="608"/>
                  </a:lnTo>
                  <a:lnTo>
                    <a:pt x="838" y="611"/>
                  </a:lnTo>
                  <a:lnTo>
                    <a:pt x="849" y="613"/>
                  </a:lnTo>
                  <a:lnTo>
                    <a:pt x="851" y="613"/>
                  </a:lnTo>
                  <a:lnTo>
                    <a:pt x="862" y="611"/>
                  </a:lnTo>
                  <a:lnTo>
                    <a:pt x="856" y="595"/>
                  </a:lnTo>
                  <a:lnTo>
                    <a:pt x="851" y="573"/>
                  </a:lnTo>
                  <a:lnTo>
                    <a:pt x="845" y="555"/>
                  </a:lnTo>
                  <a:lnTo>
                    <a:pt x="836" y="544"/>
                  </a:lnTo>
                  <a:lnTo>
                    <a:pt x="816" y="526"/>
                  </a:lnTo>
                  <a:lnTo>
                    <a:pt x="802" y="493"/>
                  </a:lnTo>
                  <a:lnTo>
                    <a:pt x="809" y="470"/>
                  </a:lnTo>
                  <a:lnTo>
                    <a:pt x="820" y="444"/>
                  </a:lnTo>
                  <a:lnTo>
                    <a:pt x="820" y="443"/>
                  </a:lnTo>
                  <a:lnTo>
                    <a:pt x="824" y="430"/>
                  </a:lnTo>
                  <a:lnTo>
                    <a:pt x="473" y="454"/>
                  </a:lnTo>
                  <a:lnTo>
                    <a:pt x="470" y="444"/>
                  </a:lnTo>
                  <a:lnTo>
                    <a:pt x="468" y="437"/>
                  </a:lnTo>
                  <a:lnTo>
                    <a:pt x="466" y="426"/>
                  </a:lnTo>
                  <a:lnTo>
                    <a:pt x="466" y="417"/>
                  </a:lnTo>
                  <a:lnTo>
                    <a:pt x="466" y="403"/>
                  </a:lnTo>
                  <a:lnTo>
                    <a:pt x="468" y="388"/>
                  </a:lnTo>
                  <a:lnTo>
                    <a:pt x="471" y="374"/>
                  </a:lnTo>
                  <a:lnTo>
                    <a:pt x="475" y="359"/>
                  </a:lnTo>
                  <a:lnTo>
                    <a:pt x="482" y="330"/>
                  </a:lnTo>
                  <a:lnTo>
                    <a:pt x="490" y="307"/>
                  </a:lnTo>
                  <a:lnTo>
                    <a:pt x="491" y="296"/>
                  </a:lnTo>
                  <a:lnTo>
                    <a:pt x="495" y="285"/>
                  </a:lnTo>
                  <a:lnTo>
                    <a:pt x="501" y="278"/>
                  </a:lnTo>
                  <a:lnTo>
                    <a:pt x="504" y="270"/>
                  </a:lnTo>
                  <a:lnTo>
                    <a:pt x="517" y="256"/>
                  </a:lnTo>
                  <a:lnTo>
                    <a:pt x="528" y="239"/>
                  </a:lnTo>
                  <a:lnTo>
                    <a:pt x="533" y="230"/>
                  </a:lnTo>
                  <a:lnTo>
                    <a:pt x="537" y="219"/>
                  </a:lnTo>
                  <a:lnTo>
                    <a:pt x="539" y="209"/>
                  </a:lnTo>
                  <a:lnTo>
                    <a:pt x="542" y="198"/>
                  </a:lnTo>
                  <a:lnTo>
                    <a:pt x="546" y="192"/>
                  </a:lnTo>
                  <a:lnTo>
                    <a:pt x="548" y="189"/>
                  </a:lnTo>
                  <a:lnTo>
                    <a:pt x="555" y="183"/>
                  </a:lnTo>
                  <a:lnTo>
                    <a:pt x="560" y="180"/>
                  </a:lnTo>
                  <a:lnTo>
                    <a:pt x="562" y="178"/>
                  </a:lnTo>
                  <a:lnTo>
                    <a:pt x="566" y="174"/>
                  </a:lnTo>
                  <a:lnTo>
                    <a:pt x="569" y="165"/>
                  </a:lnTo>
                  <a:lnTo>
                    <a:pt x="571" y="156"/>
                  </a:lnTo>
                  <a:lnTo>
                    <a:pt x="571" y="150"/>
                  </a:lnTo>
                  <a:lnTo>
                    <a:pt x="569" y="145"/>
                  </a:lnTo>
                  <a:lnTo>
                    <a:pt x="566" y="140"/>
                  </a:lnTo>
                  <a:lnTo>
                    <a:pt x="564" y="134"/>
                  </a:lnTo>
                  <a:lnTo>
                    <a:pt x="557" y="121"/>
                  </a:lnTo>
                  <a:lnTo>
                    <a:pt x="550" y="111"/>
                  </a:lnTo>
                  <a:lnTo>
                    <a:pt x="546" y="101"/>
                  </a:lnTo>
                  <a:lnTo>
                    <a:pt x="542" y="92"/>
                  </a:lnTo>
                  <a:lnTo>
                    <a:pt x="537" y="72"/>
                  </a:lnTo>
                  <a:lnTo>
                    <a:pt x="531" y="52"/>
                  </a:lnTo>
                  <a:lnTo>
                    <a:pt x="526" y="34"/>
                  </a:lnTo>
                  <a:lnTo>
                    <a:pt x="520" y="18"/>
                  </a:lnTo>
                  <a:lnTo>
                    <a:pt x="519" y="11"/>
                  </a:lnTo>
                  <a:lnTo>
                    <a:pt x="517" y="3"/>
                  </a:lnTo>
                  <a:lnTo>
                    <a:pt x="517" y="0"/>
                  </a:lnTo>
                  <a:close/>
                  <a:moveTo>
                    <a:pt x="408" y="762"/>
                  </a:moveTo>
                  <a:lnTo>
                    <a:pt x="410" y="762"/>
                  </a:lnTo>
                  <a:lnTo>
                    <a:pt x="417" y="762"/>
                  </a:lnTo>
                  <a:lnTo>
                    <a:pt x="424" y="768"/>
                  </a:lnTo>
                  <a:lnTo>
                    <a:pt x="432" y="771"/>
                  </a:lnTo>
                  <a:lnTo>
                    <a:pt x="437" y="775"/>
                  </a:lnTo>
                  <a:lnTo>
                    <a:pt x="433" y="777"/>
                  </a:lnTo>
                  <a:lnTo>
                    <a:pt x="428" y="777"/>
                  </a:lnTo>
                  <a:lnTo>
                    <a:pt x="421" y="777"/>
                  </a:lnTo>
                  <a:lnTo>
                    <a:pt x="408" y="771"/>
                  </a:lnTo>
                  <a:lnTo>
                    <a:pt x="390" y="766"/>
                  </a:lnTo>
                  <a:lnTo>
                    <a:pt x="397" y="764"/>
                  </a:lnTo>
                  <a:lnTo>
                    <a:pt x="404" y="762"/>
                  </a:lnTo>
                  <a:lnTo>
                    <a:pt x="408" y="762"/>
                  </a:lnTo>
                  <a:close/>
                </a:path>
              </a:pathLst>
            </a:custGeom>
            <a:solidFill>
              <a:srgbClr val="747480"/>
            </a:solidFill>
            <a:ln w="6350" cap="flat" cmpd="sng" algn="ctr">
              <a:solidFill>
                <a:srgbClr val="2E2E38"/>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646464"/>
                </a:solidFill>
                <a:effectLst/>
                <a:uLnTx/>
                <a:uFillTx/>
                <a:cs typeface="Times New Roman" panose="02020603050405020304" pitchFamily="18" charset="0"/>
              </a:endParaRPr>
            </a:p>
          </p:txBody>
        </p:sp>
        <p:sp>
          <p:nvSpPr>
            <p:cNvPr id="65" name="Freeform 138">
              <a:extLst>
                <a:ext uri="{FF2B5EF4-FFF2-40B4-BE49-F238E27FC236}">
                  <a16:creationId xmlns:a16="http://schemas.microsoft.com/office/drawing/2014/main" id="{BA400C0E-5F21-91C4-456D-CFAF2CB1750F}"/>
                </a:ext>
              </a:extLst>
            </p:cNvPr>
            <p:cNvSpPr>
              <a:spLocks/>
            </p:cNvSpPr>
            <p:nvPr/>
          </p:nvSpPr>
          <p:spPr bwMode="auto">
            <a:xfrm>
              <a:off x="4021316" y="5044195"/>
              <a:ext cx="1119086" cy="1069995"/>
            </a:xfrm>
            <a:custGeom>
              <a:avLst/>
              <a:gdLst/>
              <a:ahLst/>
              <a:cxnLst>
                <a:cxn ang="0">
                  <a:pos x="2" y="953"/>
                </a:cxn>
                <a:cxn ang="0">
                  <a:pos x="42" y="1016"/>
                </a:cxn>
                <a:cxn ang="0">
                  <a:pos x="97" y="1087"/>
                </a:cxn>
                <a:cxn ang="0">
                  <a:pos x="191" y="1201"/>
                </a:cxn>
                <a:cxn ang="0">
                  <a:pos x="289" y="1292"/>
                </a:cxn>
                <a:cxn ang="0">
                  <a:pos x="334" y="1446"/>
                </a:cxn>
                <a:cxn ang="0">
                  <a:pos x="445" y="1579"/>
                </a:cxn>
                <a:cxn ang="0">
                  <a:pos x="603" y="1659"/>
                </a:cxn>
                <a:cxn ang="0">
                  <a:pos x="675" y="1542"/>
                </a:cxn>
                <a:cxn ang="0">
                  <a:pos x="752" y="1499"/>
                </a:cxn>
                <a:cxn ang="0">
                  <a:pos x="813" y="1497"/>
                </a:cxn>
                <a:cxn ang="0">
                  <a:pos x="944" y="1521"/>
                </a:cxn>
                <a:cxn ang="0">
                  <a:pos x="1046" y="1624"/>
                </a:cxn>
                <a:cxn ang="0">
                  <a:pos x="1136" y="1820"/>
                </a:cxn>
                <a:cxn ang="0">
                  <a:pos x="1211" y="1938"/>
                </a:cxn>
                <a:cxn ang="0">
                  <a:pos x="1278" y="2003"/>
                </a:cxn>
                <a:cxn ang="0">
                  <a:pos x="1300" y="2121"/>
                </a:cxn>
                <a:cxn ang="0">
                  <a:pos x="1367" y="2259"/>
                </a:cxn>
                <a:cxn ang="0">
                  <a:pos x="1483" y="2326"/>
                </a:cxn>
                <a:cxn ang="0">
                  <a:pos x="1634" y="2361"/>
                </a:cxn>
                <a:cxn ang="0">
                  <a:pos x="1706" y="2392"/>
                </a:cxn>
                <a:cxn ang="0">
                  <a:pos x="1746" y="2375"/>
                </a:cxn>
                <a:cxn ang="0">
                  <a:pos x="1702" y="2290"/>
                </a:cxn>
                <a:cxn ang="0">
                  <a:pos x="1668" y="2159"/>
                </a:cxn>
                <a:cxn ang="0">
                  <a:pos x="1697" y="2085"/>
                </a:cxn>
                <a:cxn ang="0">
                  <a:pos x="1692" y="1971"/>
                </a:cxn>
                <a:cxn ang="0">
                  <a:pos x="1742" y="1956"/>
                </a:cxn>
                <a:cxn ang="0">
                  <a:pos x="1753" y="1920"/>
                </a:cxn>
                <a:cxn ang="0">
                  <a:pos x="1795" y="1880"/>
                </a:cxn>
                <a:cxn ang="0">
                  <a:pos x="1815" y="1907"/>
                </a:cxn>
                <a:cxn ang="0">
                  <a:pos x="1833" y="1856"/>
                </a:cxn>
                <a:cxn ang="0">
                  <a:pos x="1897" y="1836"/>
                </a:cxn>
                <a:cxn ang="0">
                  <a:pos x="1853" y="1802"/>
                </a:cxn>
                <a:cxn ang="0">
                  <a:pos x="1891" y="1791"/>
                </a:cxn>
                <a:cxn ang="0">
                  <a:pos x="1935" y="1782"/>
                </a:cxn>
                <a:cxn ang="0">
                  <a:pos x="1947" y="1802"/>
                </a:cxn>
                <a:cxn ang="0">
                  <a:pos x="2053" y="1762"/>
                </a:cxn>
                <a:cxn ang="0">
                  <a:pos x="2136" y="1673"/>
                </a:cxn>
                <a:cxn ang="0">
                  <a:pos x="2191" y="1622"/>
                </a:cxn>
                <a:cxn ang="0">
                  <a:pos x="2160" y="1552"/>
                </a:cxn>
                <a:cxn ang="0">
                  <a:pos x="2229" y="1561"/>
                </a:cxn>
                <a:cxn ang="0">
                  <a:pos x="2251" y="1601"/>
                </a:cxn>
                <a:cxn ang="0">
                  <a:pos x="2383" y="1557"/>
                </a:cxn>
                <a:cxn ang="0">
                  <a:pos x="2410" y="1479"/>
                </a:cxn>
                <a:cxn ang="0">
                  <a:pos x="2412" y="1392"/>
                </a:cxn>
                <a:cxn ang="0">
                  <a:pos x="2432" y="1292"/>
                </a:cxn>
                <a:cxn ang="0">
                  <a:pos x="2417" y="1185"/>
                </a:cxn>
                <a:cxn ang="0">
                  <a:pos x="2388" y="1101"/>
                </a:cxn>
                <a:cxn ang="0">
                  <a:pos x="2345" y="706"/>
                </a:cxn>
                <a:cxn ang="0">
                  <a:pos x="2263" y="695"/>
                </a:cxn>
                <a:cxn ang="0">
                  <a:pos x="2185" y="650"/>
                </a:cxn>
                <a:cxn ang="0">
                  <a:pos x="2118" y="626"/>
                </a:cxn>
                <a:cxn ang="0">
                  <a:pos x="1966" y="650"/>
                </a:cxn>
                <a:cxn ang="0">
                  <a:pos x="1846" y="628"/>
                </a:cxn>
                <a:cxn ang="0">
                  <a:pos x="1702" y="628"/>
                </a:cxn>
                <a:cxn ang="0">
                  <a:pos x="1621" y="613"/>
                </a:cxn>
                <a:cxn ang="0">
                  <a:pos x="1552" y="573"/>
                </a:cxn>
                <a:cxn ang="0">
                  <a:pos x="1418" y="548"/>
                </a:cxn>
                <a:cxn ang="0">
                  <a:pos x="1399" y="513"/>
                </a:cxn>
                <a:cxn ang="0">
                  <a:pos x="1330" y="508"/>
                </a:cxn>
                <a:cxn ang="0">
                  <a:pos x="752" y="0"/>
                </a:cxn>
              </a:cxnLst>
              <a:rect l="0" t="0" r="r" b="b"/>
              <a:pathLst>
                <a:path w="2445" h="2399">
                  <a:moveTo>
                    <a:pt x="752" y="0"/>
                  </a:moveTo>
                  <a:lnTo>
                    <a:pt x="744" y="0"/>
                  </a:lnTo>
                  <a:lnTo>
                    <a:pt x="663" y="994"/>
                  </a:lnTo>
                  <a:lnTo>
                    <a:pt x="6" y="938"/>
                  </a:lnTo>
                  <a:lnTo>
                    <a:pt x="4" y="938"/>
                  </a:lnTo>
                  <a:lnTo>
                    <a:pt x="2" y="940"/>
                  </a:lnTo>
                  <a:lnTo>
                    <a:pt x="2" y="944"/>
                  </a:lnTo>
                  <a:lnTo>
                    <a:pt x="2" y="947"/>
                  </a:lnTo>
                  <a:lnTo>
                    <a:pt x="2" y="949"/>
                  </a:lnTo>
                  <a:lnTo>
                    <a:pt x="2" y="951"/>
                  </a:lnTo>
                  <a:lnTo>
                    <a:pt x="2" y="953"/>
                  </a:lnTo>
                  <a:lnTo>
                    <a:pt x="0" y="958"/>
                  </a:lnTo>
                  <a:lnTo>
                    <a:pt x="0" y="962"/>
                  </a:lnTo>
                  <a:lnTo>
                    <a:pt x="0" y="965"/>
                  </a:lnTo>
                  <a:lnTo>
                    <a:pt x="4" y="973"/>
                  </a:lnTo>
                  <a:lnTo>
                    <a:pt x="4" y="976"/>
                  </a:lnTo>
                  <a:lnTo>
                    <a:pt x="2" y="982"/>
                  </a:lnTo>
                  <a:lnTo>
                    <a:pt x="11" y="984"/>
                  </a:lnTo>
                  <a:lnTo>
                    <a:pt x="26" y="996"/>
                  </a:lnTo>
                  <a:lnTo>
                    <a:pt x="31" y="1003"/>
                  </a:lnTo>
                  <a:lnTo>
                    <a:pt x="38" y="1009"/>
                  </a:lnTo>
                  <a:lnTo>
                    <a:pt x="42" y="1016"/>
                  </a:lnTo>
                  <a:lnTo>
                    <a:pt x="48" y="1025"/>
                  </a:lnTo>
                  <a:lnTo>
                    <a:pt x="51" y="1033"/>
                  </a:lnTo>
                  <a:lnTo>
                    <a:pt x="53" y="1043"/>
                  </a:lnTo>
                  <a:lnTo>
                    <a:pt x="55" y="1049"/>
                  </a:lnTo>
                  <a:lnTo>
                    <a:pt x="58" y="1056"/>
                  </a:lnTo>
                  <a:lnTo>
                    <a:pt x="60" y="1062"/>
                  </a:lnTo>
                  <a:lnTo>
                    <a:pt x="64" y="1065"/>
                  </a:lnTo>
                  <a:lnTo>
                    <a:pt x="68" y="1071"/>
                  </a:lnTo>
                  <a:lnTo>
                    <a:pt x="73" y="1074"/>
                  </a:lnTo>
                  <a:lnTo>
                    <a:pt x="86" y="1080"/>
                  </a:lnTo>
                  <a:lnTo>
                    <a:pt x="97" y="1087"/>
                  </a:lnTo>
                  <a:lnTo>
                    <a:pt x="102" y="1091"/>
                  </a:lnTo>
                  <a:lnTo>
                    <a:pt x="107" y="1094"/>
                  </a:lnTo>
                  <a:lnTo>
                    <a:pt x="118" y="1103"/>
                  </a:lnTo>
                  <a:lnTo>
                    <a:pt x="126" y="1114"/>
                  </a:lnTo>
                  <a:lnTo>
                    <a:pt x="135" y="1125"/>
                  </a:lnTo>
                  <a:lnTo>
                    <a:pt x="146" y="1136"/>
                  </a:lnTo>
                  <a:lnTo>
                    <a:pt x="165" y="1156"/>
                  </a:lnTo>
                  <a:lnTo>
                    <a:pt x="171" y="1167"/>
                  </a:lnTo>
                  <a:lnTo>
                    <a:pt x="178" y="1176"/>
                  </a:lnTo>
                  <a:lnTo>
                    <a:pt x="189" y="1198"/>
                  </a:lnTo>
                  <a:lnTo>
                    <a:pt x="191" y="1201"/>
                  </a:lnTo>
                  <a:lnTo>
                    <a:pt x="195" y="1207"/>
                  </a:lnTo>
                  <a:lnTo>
                    <a:pt x="204" y="1214"/>
                  </a:lnTo>
                  <a:lnTo>
                    <a:pt x="213" y="1221"/>
                  </a:lnTo>
                  <a:lnTo>
                    <a:pt x="222" y="1229"/>
                  </a:lnTo>
                  <a:lnTo>
                    <a:pt x="242" y="1239"/>
                  </a:lnTo>
                  <a:lnTo>
                    <a:pt x="262" y="1252"/>
                  </a:lnTo>
                  <a:lnTo>
                    <a:pt x="267" y="1259"/>
                  </a:lnTo>
                  <a:lnTo>
                    <a:pt x="273" y="1265"/>
                  </a:lnTo>
                  <a:lnTo>
                    <a:pt x="278" y="1270"/>
                  </a:lnTo>
                  <a:lnTo>
                    <a:pt x="282" y="1278"/>
                  </a:lnTo>
                  <a:lnTo>
                    <a:pt x="289" y="1292"/>
                  </a:lnTo>
                  <a:lnTo>
                    <a:pt x="294" y="1307"/>
                  </a:lnTo>
                  <a:lnTo>
                    <a:pt x="300" y="1321"/>
                  </a:lnTo>
                  <a:lnTo>
                    <a:pt x="305" y="1334"/>
                  </a:lnTo>
                  <a:lnTo>
                    <a:pt x="318" y="1359"/>
                  </a:lnTo>
                  <a:lnTo>
                    <a:pt x="320" y="1366"/>
                  </a:lnTo>
                  <a:lnTo>
                    <a:pt x="322" y="1372"/>
                  </a:lnTo>
                  <a:lnTo>
                    <a:pt x="323" y="1386"/>
                  </a:lnTo>
                  <a:lnTo>
                    <a:pt x="323" y="1401"/>
                  </a:lnTo>
                  <a:lnTo>
                    <a:pt x="325" y="1415"/>
                  </a:lnTo>
                  <a:lnTo>
                    <a:pt x="329" y="1430"/>
                  </a:lnTo>
                  <a:lnTo>
                    <a:pt x="334" y="1446"/>
                  </a:lnTo>
                  <a:lnTo>
                    <a:pt x="342" y="1461"/>
                  </a:lnTo>
                  <a:lnTo>
                    <a:pt x="347" y="1475"/>
                  </a:lnTo>
                  <a:lnTo>
                    <a:pt x="349" y="1484"/>
                  </a:lnTo>
                  <a:lnTo>
                    <a:pt x="352" y="1490"/>
                  </a:lnTo>
                  <a:lnTo>
                    <a:pt x="361" y="1504"/>
                  </a:lnTo>
                  <a:lnTo>
                    <a:pt x="372" y="1515"/>
                  </a:lnTo>
                  <a:lnTo>
                    <a:pt x="383" y="1526"/>
                  </a:lnTo>
                  <a:lnTo>
                    <a:pt x="409" y="1544"/>
                  </a:lnTo>
                  <a:lnTo>
                    <a:pt x="421" y="1555"/>
                  </a:lnTo>
                  <a:lnTo>
                    <a:pt x="432" y="1566"/>
                  </a:lnTo>
                  <a:lnTo>
                    <a:pt x="445" y="1579"/>
                  </a:lnTo>
                  <a:lnTo>
                    <a:pt x="458" y="1591"/>
                  </a:lnTo>
                  <a:lnTo>
                    <a:pt x="472" y="1601"/>
                  </a:lnTo>
                  <a:lnTo>
                    <a:pt x="488" y="1610"/>
                  </a:lnTo>
                  <a:lnTo>
                    <a:pt x="519" y="1628"/>
                  </a:lnTo>
                  <a:lnTo>
                    <a:pt x="552" y="1646"/>
                  </a:lnTo>
                  <a:lnTo>
                    <a:pt x="561" y="1651"/>
                  </a:lnTo>
                  <a:lnTo>
                    <a:pt x="572" y="1657"/>
                  </a:lnTo>
                  <a:lnTo>
                    <a:pt x="581" y="1660"/>
                  </a:lnTo>
                  <a:lnTo>
                    <a:pt x="592" y="1662"/>
                  </a:lnTo>
                  <a:lnTo>
                    <a:pt x="597" y="1660"/>
                  </a:lnTo>
                  <a:lnTo>
                    <a:pt x="603" y="1659"/>
                  </a:lnTo>
                  <a:lnTo>
                    <a:pt x="608" y="1657"/>
                  </a:lnTo>
                  <a:lnTo>
                    <a:pt x="616" y="1651"/>
                  </a:lnTo>
                  <a:lnTo>
                    <a:pt x="625" y="1642"/>
                  </a:lnTo>
                  <a:lnTo>
                    <a:pt x="632" y="1635"/>
                  </a:lnTo>
                  <a:lnTo>
                    <a:pt x="646" y="1617"/>
                  </a:lnTo>
                  <a:lnTo>
                    <a:pt x="652" y="1608"/>
                  </a:lnTo>
                  <a:lnTo>
                    <a:pt x="657" y="1597"/>
                  </a:lnTo>
                  <a:lnTo>
                    <a:pt x="661" y="1586"/>
                  </a:lnTo>
                  <a:lnTo>
                    <a:pt x="665" y="1575"/>
                  </a:lnTo>
                  <a:lnTo>
                    <a:pt x="672" y="1553"/>
                  </a:lnTo>
                  <a:lnTo>
                    <a:pt x="675" y="1542"/>
                  </a:lnTo>
                  <a:lnTo>
                    <a:pt x="679" y="1533"/>
                  </a:lnTo>
                  <a:lnTo>
                    <a:pt x="683" y="1524"/>
                  </a:lnTo>
                  <a:lnTo>
                    <a:pt x="690" y="1517"/>
                  </a:lnTo>
                  <a:lnTo>
                    <a:pt x="697" y="1510"/>
                  </a:lnTo>
                  <a:lnTo>
                    <a:pt x="708" y="1506"/>
                  </a:lnTo>
                  <a:lnTo>
                    <a:pt x="723" y="1501"/>
                  </a:lnTo>
                  <a:lnTo>
                    <a:pt x="728" y="1501"/>
                  </a:lnTo>
                  <a:lnTo>
                    <a:pt x="737" y="1499"/>
                  </a:lnTo>
                  <a:lnTo>
                    <a:pt x="739" y="1499"/>
                  </a:lnTo>
                  <a:lnTo>
                    <a:pt x="748" y="1501"/>
                  </a:lnTo>
                  <a:lnTo>
                    <a:pt x="752" y="1499"/>
                  </a:lnTo>
                  <a:lnTo>
                    <a:pt x="755" y="1499"/>
                  </a:lnTo>
                  <a:lnTo>
                    <a:pt x="757" y="1495"/>
                  </a:lnTo>
                  <a:lnTo>
                    <a:pt x="761" y="1490"/>
                  </a:lnTo>
                  <a:lnTo>
                    <a:pt x="763" y="1486"/>
                  </a:lnTo>
                  <a:lnTo>
                    <a:pt x="764" y="1484"/>
                  </a:lnTo>
                  <a:lnTo>
                    <a:pt x="768" y="1483"/>
                  </a:lnTo>
                  <a:lnTo>
                    <a:pt x="773" y="1483"/>
                  </a:lnTo>
                  <a:lnTo>
                    <a:pt x="779" y="1483"/>
                  </a:lnTo>
                  <a:lnTo>
                    <a:pt x="786" y="1484"/>
                  </a:lnTo>
                  <a:lnTo>
                    <a:pt x="801" y="1492"/>
                  </a:lnTo>
                  <a:lnTo>
                    <a:pt x="813" y="1497"/>
                  </a:lnTo>
                  <a:lnTo>
                    <a:pt x="822" y="1501"/>
                  </a:lnTo>
                  <a:lnTo>
                    <a:pt x="857" y="1504"/>
                  </a:lnTo>
                  <a:lnTo>
                    <a:pt x="891" y="1510"/>
                  </a:lnTo>
                  <a:lnTo>
                    <a:pt x="904" y="1510"/>
                  </a:lnTo>
                  <a:lnTo>
                    <a:pt x="908" y="1510"/>
                  </a:lnTo>
                  <a:lnTo>
                    <a:pt x="913" y="1510"/>
                  </a:lnTo>
                  <a:lnTo>
                    <a:pt x="924" y="1512"/>
                  </a:lnTo>
                  <a:lnTo>
                    <a:pt x="929" y="1512"/>
                  </a:lnTo>
                  <a:lnTo>
                    <a:pt x="933" y="1513"/>
                  </a:lnTo>
                  <a:lnTo>
                    <a:pt x="939" y="1517"/>
                  </a:lnTo>
                  <a:lnTo>
                    <a:pt x="944" y="1521"/>
                  </a:lnTo>
                  <a:lnTo>
                    <a:pt x="948" y="1526"/>
                  </a:lnTo>
                  <a:lnTo>
                    <a:pt x="951" y="1532"/>
                  </a:lnTo>
                  <a:lnTo>
                    <a:pt x="958" y="1542"/>
                  </a:lnTo>
                  <a:lnTo>
                    <a:pt x="966" y="1552"/>
                  </a:lnTo>
                  <a:lnTo>
                    <a:pt x="980" y="1564"/>
                  </a:lnTo>
                  <a:lnTo>
                    <a:pt x="993" y="1575"/>
                  </a:lnTo>
                  <a:lnTo>
                    <a:pt x="1007" y="1588"/>
                  </a:lnTo>
                  <a:lnTo>
                    <a:pt x="1015" y="1593"/>
                  </a:lnTo>
                  <a:lnTo>
                    <a:pt x="1022" y="1601"/>
                  </a:lnTo>
                  <a:lnTo>
                    <a:pt x="1033" y="1611"/>
                  </a:lnTo>
                  <a:lnTo>
                    <a:pt x="1046" y="1624"/>
                  </a:lnTo>
                  <a:lnTo>
                    <a:pt x="1056" y="1635"/>
                  </a:lnTo>
                  <a:lnTo>
                    <a:pt x="1062" y="1642"/>
                  </a:lnTo>
                  <a:lnTo>
                    <a:pt x="1066" y="1650"/>
                  </a:lnTo>
                  <a:lnTo>
                    <a:pt x="1075" y="1666"/>
                  </a:lnTo>
                  <a:lnTo>
                    <a:pt x="1082" y="1684"/>
                  </a:lnTo>
                  <a:lnTo>
                    <a:pt x="1093" y="1719"/>
                  </a:lnTo>
                  <a:lnTo>
                    <a:pt x="1104" y="1753"/>
                  </a:lnTo>
                  <a:lnTo>
                    <a:pt x="1109" y="1766"/>
                  </a:lnTo>
                  <a:lnTo>
                    <a:pt x="1120" y="1784"/>
                  </a:lnTo>
                  <a:lnTo>
                    <a:pt x="1129" y="1802"/>
                  </a:lnTo>
                  <a:lnTo>
                    <a:pt x="1136" y="1820"/>
                  </a:lnTo>
                  <a:lnTo>
                    <a:pt x="1144" y="1836"/>
                  </a:lnTo>
                  <a:lnTo>
                    <a:pt x="1147" y="1846"/>
                  </a:lnTo>
                  <a:lnTo>
                    <a:pt x="1151" y="1855"/>
                  </a:lnTo>
                  <a:lnTo>
                    <a:pt x="1156" y="1864"/>
                  </a:lnTo>
                  <a:lnTo>
                    <a:pt x="1164" y="1871"/>
                  </a:lnTo>
                  <a:lnTo>
                    <a:pt x="1178" y="1889"/>
                  </a:lnTo>
                  <a:lnTo>
                    <a:pt x="1187" y="1898"/>
                  </a:lnTo>
                  <a:lnTo>
                    <a:pt x="1196" y="1911"/>
                  </a:lnTo>
                  <a:lnTo>
                    <a:pt x="1203" y="1924"/>
                  </a:lnTo>
                  <a:lnTo>
                    <a:pt x="1207" y="1931"/>
                  </a:lnTo>
                  <a:lnTo>
                    <a:pt x="1211" y="1938"/>
                  </a:lnTo>
                  <a:lnTo>
                    <a:pt x="1214" y="1945"/>
                  </a:lnTo>
                  <a:lnTo>
                    <a:pt x="1218" y="1951"/>
                  </a:lnTo>
                  <a:lnTo>
                    <a:pt x="1225" y="1960"/>
                  </a:lnTo>
                  <a:lnTo>
                    <a:pt x="1233" y="1969"/>
                  </a:lnTo>
                  <a:lnTo>
                    <a:pt x="1238" y="1976"/>
                  </a:lnTo>
                  <a:lnTo>
                    <a:pt x="1242" y="1982"/>
                  </a:lnTo>
                  <a:lnTo>
                    <a:pt x="1247" y="1985"/>
                  </a:lnTo>
                  <a:lnTo>
                    <a:pt x="1256" y="1991"/>
                  </a:lnTo>
                  <a:lnTo>
                    <a:pt x="1269" y="1996"/>
                  </a:lnTo>
                  <a:lnTo>
                    <a:pt x="1274" y="2000"/>
                  </a:lnTo>
                  <a:lnTo>
                    <a:pt x="1278" y="2003"/>
                  </a:lnTo>
                  <a:lnTo>
                    <a:pt x="1281" y="2007"/>
                  </a:lnTo>
                  <a:lnTo>
                    <a:pt x="1285" y="2009"/>
                  </a:lnTo>
                  <a:lnTo>
                    <a:pt x="1287" y="2012"/>
                  </a:lnTo>
                  <a:lnTo>
                    <a:pt x="1289" y="2016"/>
                  </a:lnTo>
                  <a:lnTo>
                    <a:pt x="1291" y="2025"/>
                  </a:lnTo>
                  <a:lnTo>
                    <a:pt x="1291" y="2032"/>
                  </a:lnTo>
                  <a:lnTo>
                    <a:pt x="1291" y="2045"/>
                  </a:lnTo>
                  <a:lnTo>
                    <a:pt x="1289" y="2058"/>
                  </a:lnTo>
                  <a:lnTo>
                    <a:pt x="1291" y="2069"/>
                  </a:lnTo>
                  <a:lnTo>
                    <a:pt x="1296" y="2103"/>
                  </a:lnTo>
                  <a:lnTo>
                    <a:pt x="1300" y="2121"/>
                  </a:lnTo>
                  <a:lnTo>
                    <a:pt x="1301" y="2138"/>
                  </a:lnTo>
                  <a:lnTo>
                    <a:pt x="1311" y="2149"/>
                  </a:lnTo>
                  <a:lnTo>
                    <a:pt x="1320" y="2159"/>
                  </a:lnTo>
                  <a:lnTo>
                    <a:pt x="1327" y="2174"/>
                  </a:lnTo>
                  <a:lnTo>
                    <a:pt x="1334" y="2189"/>
                  </a:lnTo>
                  <a:lnTo>
                    <a:pt x="1347" y="2216"/>
                  </a:lnTo>
                  <a:lnTo>
                    <a:pt x="1356" y="2239"/>
                  </a:lnTo>
                  <a:lnTo>
                    <a:pt x="1358" y="2245"/>
                  </a:lnTo>
                  <a:lnTo>
                    <a:pt x="1361" y="2250"/>
                  </a:lnTo>
                  <a:lnTo>
                    <a:pt x="1363" y="2256"/>
                  </a:lnTo>
                  <a:lnTo>
                    <a:pt x="1367" y="2259"/>
                  </a:lnTo>
                  <a:lnTo>
                    <a:pt x="1374" y="2268"/>
                  </a:lnTo>
                  <a:lnTo>
                    <a:pt x="1385" y="2276"/>
                  </a:lnTo>
                  <a:lnTo>
                    <a:pt x="1392" y="2281"/>
                  </a:lnTo>
                  <a:lnTo>
                    <a:pt x="1398" y="2283"/>
                  </a:lnTo>
                  <a:lnTo>
                    <a:pt x="1410" y="2288"/>
                  </a:lnTo>
                  <a:lnTo>
                    <a:pt x="1423" y="2292"/>
                  </a:lnTo>
                  <a:lnTo>
                    <a:pt x="1438" y="2297"/>
                  </a:lnTo>
                  <a:lnTo>
                    <a:pt x="1448" y="2305"/>
                  </a:lnTo>
                  <a:lnTo>
                    <a:pt x="1459" y="2312"/>
                  </a:lnTo>
                  <a:lnTo>
                    <a:pt x="1470" y="2321"/>
                  </a:lnTo>
                  <a:lnTo>
                    <a:pt x="1483" y="2326"/>
                  </a:lnTo>
                  <a:lnTo>
                    <a:pt x="1508" y="2339"/>
                  </a:lnTo>
                  <a:lnTo>
                    <a:pt x="1534" y="2350"/>
                  </a:lnTo>
                  <a:lnTo>
                    <a:pt x="1537" y="2352"/>
                  </a:lnTo>
                  <a:lnTo>
                    <a:pt x="1541" y="2354"/>
                  </a:lnTo>
                  <a:lnTo>
                    <a:pt x="1548" y="2355"/>
                  </a:lnTo>
                  <a:lnTo>
                    <a:pt x="1563" y="2357"/>
                  </a:lnTo>
                  <a:lnTo>
                    <a:pt x="1583" y="2355"/>
                  </a:lnTo>
                  <a:lnTo>
                    <a:pt x="1603" y="2355"/>
                  </a:lnTo>
                  <a:lnTo>
                    <a:pt x="1619" y="2355"/>
                  </a:lnTo>
                  <a:lnTo>
                    <a:pt x="1626" y="2357"/>
                  </a:lnTo>
                  <a:lnTo>
                    <a:pt x="1634" y="2361"/>
                  </a:lnTo>
                  <a:lnTo>
                    <a:pt x="1641" y="2365"/>
                  </a:lnTo>
                  <a:lnTo>
                    <a:pt x="1648" y="2368"/>
                  </a:lnTo>
                  <a:lnTo>
                    <a:pt x="1663" y="2379"/>
                  </a:lnTo>
                  <a:lnTo>
                    <a:pt x="1675" y="2388"/>
                  </a:lnTo>
                  <a:lnTo>
                    <a:pt x="1683" y="2394"/>
                  </a:lnTo>
                  <a:lnTo>
                    <a:pt x="1690" y="2397"/>
                  </a:lnTo>
                  <a:lnTo>
                    <a:pt x="1693" y="2399"/>
                  </a:lnTo>
                  <a:lnTo>
                    <a:pt x="1697" y="2399"/>
                  </a:lnTo>
                  <a:lnTo>
                    <a:pt x="1701" y="2399"/>
                  </a:lnTo>
                  <a:lnTo>
                    <a:pt x="1702" y="2395"/>
                  </a:lnTo>
                  <a:lnTo>
                    <a:pt x="1706" y="2392"/>
                  </a:lnTo>
                  <a:lnTo>
                    <a:pt x="1710" y="2386"/>
                  </a:lnTo>
                  <a:lnTo>
                    <a:pt x="1712" y="2385"/>
                  </a:lnTo>
                  <a:lnTo>
                    <a:pt x="1715" y="2385"/>
                  </a:lnTo>
                  <a:lnTo>
                    <a:pt x="1721" y="2383"/>
                  </a:lnTo>
                  <a:lnTo>
                    <a:pt x="1728" y="2381"/>
                  </a:lnTo>
                  <a:lnTo>
                    <a:pt x="1733" y="2381"/>
                  </a:lnTo>
                  <a:lnTo>
                    <a:pt x="1737" y="2381"/>
                  </a:lnTo>
                  <a:lnTo>
                    <a:pt x="1739" y="2381"/>
                  </a:lnTo>
                  <a:lnTo>
                    <a:pt x="1744" y="2381"/>
                  </a:lnTo>
                  <a:lnTo>
                    <a:pt x="1746" y="2379"/>
                  </a:lnTo>
                  <a:lnTo>
                    <a:pt x="1746" y="2375"/>
                  </a:lnTo>
                  <a:lnTo>
                    <a:pt x="1746" y="2372"/>
                  </a:lnTo>
                  <a:lnTo>
                    <a:pt x="1744" y="2366"/>
                  </a:lnTo>
                  <a:lnTo>
                    <a:pt x="1742" y="2363"/>
                  </a:lnTo>
                  <a:lnTo>
                    <a:pt x="1739" y="2355"/>
                  </a:lnTo>
                  <a:lnTo>
                    <a:pt x="1733" y="2348"/>
                  </a:lnTo>
                  <a:lnTo>
                    <a:pt x="1728" y="2341"/>
                  </a:lnTo>
                  <a:lnTo>
                    <a:pt x="1717" y="2328"/>
                  </a:lnTo>
                  <a:lnTo>
                    <a:pt x="1712" y="2321"/>
                  </a:lnTo>
                  <a:lnTo>
                    <a:pt x="1708" y="2312"/>
                  </a:lnTo>
                  <a:lnTo>
                    <a:pt x="1704" y="2301"/>
                  </a:lnTo>
                  <a:lnTo>
                    <a:pt x="1702" y="2290"/>
                  </a:lnTo>
                  <a:lnTo>
                    <a:pt x="1699" y="2268"/>
                  </a:lnTo>
                  <a:lnTo>
                    <a:pt x="1697" y="2247"/>
                  </a:lnTo>
                  <a:lnTo>
                    <a:pt x="1695" y="2236"/>
                  </a:lnTo>
                  <a:lnTo>
                    <a:pt x="1693" y="2225"/>
                  </a:lnTo>
                  <a:lnTo>
                    <a:pt x="1692" y="2218"/>
                  </a:lnTo>
                  <a:lnTo>
                    <a:pt x="1688" y="2208"/>
                  </a:lnTo>
                  <a:lnTo>
                    <a:pt x="1679" y="2192"/>
                  </a:lnTo>
                  <a:lnTo>
                    <a:pt x="1672" y="2176"/>
                  </a:lnTo>
                  <a:lnTo>
                    <a:pt x="1668" y="2169"/>
                  </a:lnTo>
                  <a:lnTo>
                    <a:pt x="1668" y="2161"/>
                  </a:lnTo>
                  <a:lnTo>
                    <a:pt x="1668" y="2159"/>
                  </a:lnTo>
                  <a:lnTo>
                    <a:pt x="1670" y="2152"/>
                  </a:lnTo>
                  <a:lnTo>
                    <a:pt x="1670" y="2150"/>
                  </a:lnTo>
                  <a:lnTo>
                    <a:pt x="1672" y="2149"/>
                  </a:lnTo>
                  <a:lnTo>
                    <a:pt x="1675" y="2145"/>
                  </a:lnTo>
                  <a:lnTo>
                    <a:pt x="1679" y="2141"/>
                  </a:lnTo>
                  <a:lnTo>
                    <a:pt x="1684" y="2132"/>
                  </a:lnTo>
                  <a:lnTo>
                    <a:pt x="1686" y="2129"/>
                  </a:lnTo>
                  <a:lnTo>
                    <a:pt x="1686" y="2125"/>
                  </a:lnTo>
                  <a:lnTo>
                    <a:pt x="1690" y="2109"/>
                  </a:lnTo>
                  <a:lnTo>
                    <a:pt x="1692" y="2096"/>
                  </a:lnTo>
                  <a:lnTo>
                    <a:pt x="1697" y="2085"/>
                  </a:lnTo>
                  <a:lnTo>
                    <a:pt x="1708" y="2060"/>
                  </a:lnTo>
                  <a:lnTo>
                    <a:pt x="1713" y="2049"/>
                  </a:lnTo>
                  <a:lnTo>
                    <a:pt x="1717" y="2036"/>
                  </a:lnTo>
                  <a:lnTo>
                    <a:pt x="1721" y="2023"/>
                  </a:lnTo>
                  <a:lnTo>
                    <a:pt x="1722" y="2012"/>
                  </a:lnTo>
                  <a:lnTo>
                    <a:pt x="1721" y="2003"/>
                  </a:lnTo>
                  <a:lnTo>
                    <a:pt x="1717" y="1994"/>
                  </a:lnTo>
                  <a:lnTo>
                    <a:pt x="1712" y="1985"/>
                  </a:lnTo>
                  <a:lnTo>
                    <a:pt x="1708" y="1982"/>
                  </a:lnTo>
                  <a:lnTo>
                    <a:pt x="1702" y="1978"/>
                  </a:lnTo>
                  <a:lnTo>
                    <a:pt x="1692" y="1971"/>
                  </a:lnTo>
                  <a:lnTo>
                    <a:pt x="1688" y="1969"/>
                  </a:lnTo>
                  <a:lnTo>
                    <a:pt x="1686" y="1965"/>
                  </a:lnTo>
                  <a:lnTo>
                    <a:pt x="1688" y="1964"/>
                  </a:lnTo>
                  <a:lnTo>
                    <a:pt x="1688" y="1962"/>
                  </a:lnTo>
                  <a:lnTo>
                    <a:pt x="1695" y="1958"/>
                  </a:lnTo>
                  <a:lnTo>
                    <a:pt x="1701" y="1958"/>
                  </a:lnTo>
                  <a:lnTo>
                    <a:pt x="1706" y="1956"/>
                  </a:lnTo>
                  <a:lnTo>
                    <a:pt x="1717" y="1958"/>
                  </a:lnTo>
                  <a:lnTo>
                    <a:pt x="1728" y="1958"/>
                  </a:lnTo>
                  <a:lnTo>
                    <a:pt x="1733" y="1958"/>
                  </a:lnTo>
                  <a:lnTo>
                    <a:pt x="1742" y="1956"/>
                  </a:lnTo>
                  <a:lnTo>
                    <a:pt x="1750" y="1951"/>
                  </a:lnTo>
                  <a:lnTo>
                    <a:pt x="1759" y="1944"/>
                  </a:lnTo>
                  <a:lnTo>
                    <a:pt x="1764" y="1934"/>
                  </a:lnTo>
                  <a:lnTo>
                    <a:pt x="1766" y="1931"/>
                  </a:lnTo>
                  <a:lnTo>
                    <a:pt x="1768" y="1929"/>
                  </a:lnTo>
                  <a:lnTo>
                    <a:pt x="1770" y="1924"/>
                  </a:lnTo>
                  <a:lnTo>
                    <a:pt x="1770" y="1920"/>
                  </a:lnTo>
                  <a:lnTo>
                    <a:pt x="1766" y="1916"/>
                  </a:lnTo>
                  <a:lnTo>
                    <a:pt x="1764" y="1916"/>
                  </a:lnTo>
                  <a:lnTo>
                    <a:pt x="1759" y="1918"/>
                  </a:lnTo>
                  <a:lnTo>
                    <a:pt x="1753" y="1920"/>
                  </a:lnTo>
                  <a:lnTo>
                    <a:pt x="1750" y="1918"/>
                  </a:lnTo>
                  <a:lnTo>
                    <a:pt x="1746" y="1916"/>
                  </a:lnTo>
                  <a:lnTo>
                    <a:pt x="1744" y="1915"/>
                  </a:lnTo>
                  <a:lnTo>
                    <a:pt x="1744" y="1913"/>
                  </a:lnTo>
                  <a:lnTo>
                    <a:pt x="1744" y="1911"/>
                  </a:lnTo>
                  <a:lnTo>
                    <a:pt x="1748" y="1909"/>
                  </a:lnTo>
                  <a:lnTo>
                    <a:pt x="1755" y="1904"/>
                  </a:lnTo>
                  <a:lnTo>
                    <a:pt x="1775" y="1896"/>
                  </a:lnTo>
                  <a:lnTo>
                    <a:pt x="1782" y="1893"/>
                  </a:lnTo>
                  <a:lnTo>
                    <a:pt x="1788" y="1885"/>
                  </a:lnTo>
                  <a:lnTo>
                    <a:pt x="1795" y="1880"/>
                  </a:lnTo>
                  <a:lnTo>
                    <a:pt x="1799" y="1878"/>
                  </a:lnTo>
                  <a:lnTo>
                    <a:pt x="1800" y="1878"/>
                  </a:lnTo>
                  <a:lnTo>
                    <a:pt x="1802" y="1878"/>
                  </a:lnTo>
                  <a:lnTo>
                    <a:pt x="1804" y="1880"/>
                  </a:lnTo>
                  <a:lnTo>
                    <a:pt x="1804" y="1884"/>
                  </a:lnTo>
                  <a:lnTo>
                    <a:pt x="1806" y="1893"/>
                  </a:lnTo>
                  <a:lnTo>
                    <a:pt x="1806" y="1905"/>
                  </a:lnTo>
                  <a:lnTo>
                    <a:pt x="1808" y="1909"/>
                  </a:lnTo>
                  <a:lnTo>
                    <a:pt x="1810" y="1911"/>
                  </a:lnTo>
                  <a:lnTo>
                    <a:pt x="1813" y="1909"/>
                  </a:lnTo>
                  <a:lnTo>
                    <a:pt x="1815" y="1907"/>
                  </a:lnTo>
                  <a:lnTo>
                    <a:pt x="1819" y="1904"/>
                  </a:lnTo>
                  <a:lnTo>
                    <a:pt x="1820" y="1900"/>
                  </a:lnTo>
                  <a:lnTo>
                    <a:pt x="1820" y="1898"/>
                  </a:lnTo>
                  <a:lnTo>
                    <a:pt x="1822" y="1891"/>
                  </a:lnTo>
                  <a:lnTo>
                    <a:pt x="1820" y="1885"/>
                  </a:lnTo>
                  <a:lnTo>
                    <a:pt x="1820" y="1873"/>
                  </a:lnTo>
                  <a:lnTo>
                    <a:pt x="1820" y="1866"/>
                  </a:lnTo>
                  <a:lnTo>
                    <a:pt x="1822" y="1862"/>
                  </a:lnTo>
                  <a:lnTo>
                    <a:pt x="1824" y="1858"/>
                  </a:lnTo>
                  <a:lnTo>
                    <a:pt x="1830" y="1856"/>
                  </a:lnTo>
                  <a:lnTo>
                    <a:pt x="1833" y="1856"/>
                  </a:lnTo>
                  <a:lnTo>
                    <a:pt x="1839" y="1856"/>
                  </a:lnTo>
                  <a:lnTo>
                    <a:pt x="1844" y="1860"/>
                  </a:lnTo>
                  <a:lnTo>
                    <a:pt x="1849" y="1862"/>
                  </a:lnTo>
                  <a:lnTo>
                    <a:pt x="1855" y="1864"/>
                  </a:lnTo>
                  <a:lnTo>
                    <a:pt x="1857" y="1864"/>
                  </a:lnTo>
                  <a:lnTo>
                    <a:pt x="1862" y="1862"/>
                  </a:lnTo>
                  <a:lnTo>
                    <a:pt x="1868" y="1860"/>
                  </a:lnTo>
                  <a:lnTo>
                    <a:pt x="1880" y="1851"/>
                  </a:lnTo>
                  <a:lnTo>
                    <a:pt x="1888" y="1846"/>
                  </a:lnTo>
                  <a:lnTo>
                    <a:pt x="1893" y="1842"/>
                  </a:lnTo>
                  <a:lnTo>
                    <a:pt x="1897" y="1836"/>
                  </a:lnTo>
                  <a:lnTo>
                    <a:pt x="1897" y="1831"/>
                  </a:lnTo>
                  <a:lnTo>
                    <a:pt x="1897" y="1827"/>
                  </a:lnTo>
                  <a:lnTo>
                    <a:pt x="1895" y="1824"/>
                  </a:lnTo>
                  <a:lnTo>
                    <a:pt x="1893" y="1822"/>
                  </a:lnTo>
                  <a:lnTo>
                    <a:pt x="1889" y="1820"/>
                  </a:lnTo>
                  <a:lnTo>
                    <a:pt x="1882" y="1817"/>
                  </a:lnTo>
                  <a:lnTo>
                    <a:pt x="1875" y="1813"/>
                  </a:lnTo>
                  <a:lnTo>
                    <a:pt x="1866" y="1811"/>
                  </a:lnTo>
                  <a:lnTo>
                    <a:pt x="1859" y="1807"/>
                  </a:lnTo>
                  <a:lnTo>
                    <a:pt x="1857" y="1806"/>
                  </a:lnTo>
                  <a:lnTo>
                    <a:pt x="1853" y="1802"/>
                  </a:lnTo>
                  <a:lnTo>
                    <a:pt x="1853" y="1800"/>
                  </a:lnTo>
                  <a:lnTo>
                    <a:pt x="1851" y="1797"/>
                  </a:lnTo>
                  <a:lnTo>
                    <a:pt x="1853" y="1791"/>
                  </a:lnTo>
                  <a:lnTo>
                    <a:pt x="1855" y="1787"/>
                  </a:lnTo>
                  <a:lnTo>
                    <a:pt x="1857" y="1784"/>
                  </a:lnTo>
                  <a:lnTo>
                    <a:pt x="1859" y="1784"/>
                  </a:lnTo>
                  <a:lnTo>
                    <a:pt x="1862" y="1782"/>
                  </a:lnTo>
                  <a:lnTo>
                    <a:pt x="1869" y="1784"/>
                  </a:lnTo>
                  <a:lnTo>
                    <a:pt x="1877" y="1787"/>
                  </a:lnTo>
                  <a:lnTo>
                    <a:pt x="1886" y="1789"/>
                  </a:lnTo>
                  <a:lnTo>
                    <a:pt x="1891" y="1791"/>
                  </a:lnTo>
                  <a:lnTo>
                    <a:pt x="1895" y="1789"/>
                  </a:lnTo>
                  <a:lnTo>
                    <a:pt x="1897" y="1787"/>
                  </a:lnTo>
                  <a:lnTo>
                    <a:pt x="1900" y="1786"/>
                  </a:lnTo>
                  <a:lnTo>
                    <a:pt x="1904" y="1784"/>
                  </a:lnTo>
                  <a:lnTo>
                    <a:pt x="1909" y="1786"/>
                  </a:lnTo>
                  <a:lnTo>
                    <a:pt x="1913" y="1786"/>
                  </a:lnTo>
                  <a:lnTo>
                    <a:pt x="1920" y="1786"/>
                  </a:lnTo>
                  <a:lnTo>
                    <a:pt x="1926" y="1786"/>
                  </a:lnTo>
                  <a:lnTo>
                    <a:pt x="1929" y="1784"/>
                  </a:lnTo>
                  <a:lnTo>
                    <a:pt x="1933" y="1784"/>
                  </a:lnTo>
                  <a:lnTo>
                    <a:pt x="1935" y="1782"/>
                  </a:lnTo>
                  <a:lnTo>
                    <a:pt x="1937" y="1778"/>
                  </a:lnTo>
                  <a:lnTo>
                    <a:pt x="1940" y="1775"/>
                  </a:lnTo>
                  <a:lnTo>
                    <a:pt x="1944" y="1773"/>
                  </a:lnTo>
                  <a:lnTo>
                    <a:pt x="1947" y="1775"/>
                  </a:lnTo>
                  <a:lnTo>
                    <a:pt x="1951" y="1778"/>
                  </a:lnTo>
                  <a:lnTo>
                    <a:pt x="1951" y="1780"/>
                  </a:lnTo>
                  <a:lnTo>
                    <a:pt x="1953" y="1782"/>
                  </a:lnTo>
                  <a:lnTo>
                    <a:pt x="1951" y="1787"/>
                  </a:lnTo>
                  <a:lnTo>
                    <a:pt x="1949" y="1793"/>
                  </a:lnTo>
                  <a:lnTo>
                    <a:pt x="1949" y="1797"/>
                  </a:lnTo>
                  <a:lnTo>
                    <a:pt x="1947" y="1802"/>
                  </a:lnTo>
                  <a:lnTo>
                    <a:pt x="1947" y="1804"/>
                  </a:lnTo>
                  <a:lnTo>
                    <a:pt x="1949" y="1806"/>
                  </a:lnTo>
                  <a:lnTo>
                    <a:pt x="1951" y="1806"/>
                  </a:lnTo>
                  <a:lnTo>
                    <a:pt x="1957" y="1804"/>
                  </a:lnTo>
                  <a:lnTo>
                    <a:pt x="1966" y="1800"/>
                  </a:lnTo>
                  <a:lnTo>
                    <a:pt x="1967" y="1798"/>
                  </a:lnTo>
                  <a:lnTo>
                    <a:pt x="1987" y="1787"/>
                  </a:lnTo>
                  <a:lnTo>
                    <a:pt x="1995" y="1784"/>
                  </a:lnTo>
                  <a:lnTo>
                    <a:pt x="2002" y="1780"/>
                  </a:lnTo>
                  <a:lnTo>
                    <a:pt x="2018" y="1775"/>
                  </a:lnTo>
                  <a:lnTo>
                    <a:pt x="2053" y="1762"/>
                  </a:lnTo>
                  <a:lnTo>
                    <a:pt x="2069" y="1755"/>
                  </a:lnTo>
                  <a:lnTo>
                    <a:pt x="2076" y="1751"/>
                  </a:lnTo>
                  <a:lnTo>
                    <a:pt x="2084" y="1746"/>
                  </a:lnTo>
                  <a:lnTo>
                    <a:pt x="2096" y="1735"/>
                  </a:lnTo>
                  <a:lnTo>
                    <a:pt x="2109" y="1720"/>
                  </a:lnTo>
                  <a:lnTo>
                    <a:pt x="2114" y="1715"/>
                  </a:lnTo>
                  <a:lnTo>
                    <a:pt x="2120" y="1708"/>
                  </a:lnTo>
                  <a:lnTo>
                    <a:pt x="2123" y="1700"/>
                  </a:lnTo>
                  <a:lnTo>
                    <a:pt x="2127" y="1693"/>
                  </a:lnTo>
                  <a:lnTo>
                    <a:pt x="2134" y="1677"/>
                  </a:lnTo>
                  <a:lnTo>
                    <a:pt x="2136" y="1673"/>
                  </a:lnTo>
                  <a:lnTo>
                    <a:pt x="2140" y="1670"/>
                  </a:lnTo>
                  <a:lnTo>
                    <a:pt x="2149" y="1666"/>
                  </a:lnTo>
                  <a:lnTo>
                    <a:pt x="2163" y="1660"/>
                  </a:lnTo>
                  <a:lnTo>
                    <a:pt x="2172" y="1657"/>
                  </a:lnTo>
                  <a:lnTo>
                    <a:pt x="2178" y="1651"/>
                  </a:lnTo>
                  <a:lnTo>
                    <a:pt x="2189" y="1637"/>
                  </a:lnTo>
                  <a:lnTo>
                    <a:pt x="2192" y="1630"/>
                  </a:lnTo>
                  <a:lnTo>
                    <a:pt x="2192" y="1628"/>
                  </a:lnTo>
                  <a:lnTo>
                    <a:pt x="2192" y="1626"/>
                  </a:lnTo>
                  <a:lnTo>
                    <a:pt x="2192" y="1624"/>
                  </a:lnTo>
                  <a:lnTo>
                    <a:pt x="2191" y="1622"/>
                  </a:lnTo>
                  <a:lnTo>
                    <a:pt x="2185" y="1619"/>
                  </a:lnTo>
                  <a:lnTo>
                    <a:pt x="2174" y="1606"/>
                  </a:lnTo>
                  <a:lnTo>
                    <a:pt x="2163" y="1593"/>
                  </a:lnTo>
                  <a:lnTo>
                    <a:pt x="2160" y="1586"/>
                  </a:lnTo>
                  <a:lnTo>
                    <a:pt x="2156" y="1579"/>
                  </a:lnTo>
                  <a:lnTo>
                    <a:pt x="2154" y="1572"/>
                  </a:lnTo>
                  <a:lnTo>
                    <a:pt x="2154" y="1566"/>
                  </a:lnTo>
                  <a:lnTo>
                    <a:pt x="2154" y="1561"/>
                  </a:lnTo>
                  <a:lnTo>
                    <a:pt x="2156" y="1555"/>
                  </a:lnTo>
                  <a:lnTo>
                    <a:pt x="2158" y="1553"/>
                  </a:lnTo>
                  <a:lnTo>
                    <a:pt x="2160" y="1552"/>
                  </a:lnTo>
                  <a:lnTo>
                    <a:pt x="2167" y="1548"/>
                  </a:lnTo>
                  <a:lnTo>
                    <a:pt x="2174" y="1546"/>
                  </a:lnTo>
                  <a:lnTo>
                    <a:pt x="2187" y="1544"/>
                  </a:lnTo>
                  <a:lnTo>
                    <a:pt x="2202" y="1542"/>
                  </a:lnTo>
                  <a:lnTo>
                    <a:pt x="2214" y="1542"/>
                  </a:lnTo>
                  <a:lnTo>
                    <a:pt x="2220" y="1542"/>
                  </a:lnTo>
                  <a:lnTo>
                    <a:pt x="2225" y="1544"/>
                  </a:lnTo>
                  <a:lnTo>
                    <a:pt x="2227" y="1546"/>
                  </a:lnTo>
                  <a:lnTo>
                    <a:pt x="2229" y="1550"/>
                  </a:lnTo>
                  <a:lnTo>
                    <a:pt x="2229" y="1553"/>
                  </a:lnTo>
                  <a:lnTo>
                    <a:pt x="2229" y="1561"/>
                  </a:lnTo>
                  <a:lnTo>
                    <a:pt x="2225" y="1570"/>
                  </a:lnTo>
                  <a:lnTo>
                    <a:pt x="2218" y="1586"/>
                  </a:lnTo>
                  <a:lnTo>
                    <a:pt x="2214" y="1593"/>
                  </a:lnTo>
                  <a:lnTo>
                    <a:pt x="2214" y="1597"/>
                  </a:lnTo>
                  <a:lnTo>
                    <a:pt x="2214" y="1601"/>
                  </a:lnTo>
                  <a:lnTo>
                    <a:pt x="2216" y="1602"/>
                  </a:lnTo>
                  <a:lnTo>
                    <a:pt x="2218" y="1602"/>
                  </a:lnTo>
                  <a:lnTo>
                    <a:pt x="2221" y="1602"/>
                  </a:lnTo>
                  <a:lnTo>
                    <a:pt x="2227" y="1602"/>
                  </a:lnTo>
                  <a:lnTo>
                    <a:pt x="2238" y="1601"/>
                  </a:lnTo>
                  <a:lnTo>
                    <a:pt x="2251" y="1601"/>
                  </a:lnTo>
                  <a:lnTo>
                    <a:pt x="2260" y="1601"/>
                  </a:lnTo>
                  <a:lnTo>
                    <a:pt x="2265" y="1602"/>
                  </a:lnTo>
                  <a:lnTo>
                    <a:pt x="2267" y="1602"/>
                  </a:lnTo>
                  <a:lnTo>
                    <a:pt x="2270" y="1602"/>
                  </a:lnTo>
                  <a:lnTo>
                    <a:pt x="2278" y="1597"/>
                  </a:lnTo>
                  <a:lnTo>
                    <a:pt x="2301" y="1586"/>
                  </a:lnTo>
                  <a:lnTo>
                    <a:pt x="2314" y="1579"/>
                  </a:lnTo>
                  <a:lnTo>
                    <a:pt x="2330" y="1572"/>
                  </a:lnTo>
                  <a:lnTo>
                    <a:pt x="2347" y="1564"/>
                  </a:lnTo>
                  <a:lnTo>
                    <a:pt x="2365" y="1561"/>
                  </a:lnTo>
                  <a:lnTo>
                    <a:pt x="2383" y="1557"/>
                  </a:lnTo>
                  <a:lnTo>
                    <a:pt x="2379" y="1550"/>
                  </a:lnTo>
                  <a:lnTo>
                    <a:pt x="2379" y="1542"/>
                  </a:lnTo>
                  <a:lnTo>
                    <a:pt x="2379" y="1539"/>
                  </a:lnTo>
                  <a:lnTo>
                    <a:pt x="2379" y="1535"/>
                  </a:lnTo>
                  <a:lnTo>
                    <a:pt x="2381" y="1532"/>
                  </a:lnTo>
                  <a:lnTo>
                    <a:pt x="2383" y="1526"/>
                  </a:lnTo>
                  <a:lnTo>
                    <a:pt x="2385" y="1521"/>
                  </a:lnTo>
                  <a:lnTo>
                    <a:pt x="2396" y="1506"/>
                  </a:lnTo>
                  <a:lnTo>
                    <a:pt x="2405" y="1493"/>
                  </a:lnTo>
                  <a:lnTo>
                    <a:pt x="2407" y="1486"/>
                  </a:lnTo>
                  <a:lnTo>
                    <a:pt x="2410" y="1479"/>
                  </a:lnTo>
                  <a:lnTo>
                    <a:pt x="2412" y="1470"/>
                  </a:lnTo>
                  <a:lnTo>
                    <a:pt x="2412" y="1461"/>
                  </a:lnTo>
                  <a:lnTo>
                    <a:pt x="2412" y="1459"/>
                  </a:lnTo>
                  <a:lnTo>
                    <a:pt x="2412" y="1452"/>
                  </a:lnTo>
                  <a:lnTo>
                    <a:pt x="2410" y="1444"/>
                  </a:lnTo>
                  <a:lnTo>
                    <a:pt x="2407" y="1428"/>
                  </a:lnTo>
                  <a:lnTo>
                    <a:pt x="2407" y="1425"/>
                  </a:lnTo>
                  <a:lnTo>
                    <a:pt x="2408" y="1417"/>
                  </a:lnTo>
                  <a:lnTo>
                    <a:pt x="2408" y="1412"/>
                  </a:lnTo>
                  <a:lnTo>
                    <a:pt x="2412" y="1397"/>
                  </a:lnTo>
                  <a:lnTo>
                    <a:pt x="2412" y="1392"/>
                  </a:lnTo>
                  <a:lnTo>
                    <a:pt x="2410" y="1370"/>
                  </a:lnTo>
                  <a:lnTo>
                    <a:pt x="2412" y="1363"/>
                  </a:lnTo>
                  <a:lnTo>
                    <a:pt x="2414" y="1357"/>
                  </a:lnTo>
                  <a:lnTo>
                    <a:pt x="2416" y="1354"/>
                  </a:lnTo>
                  <a:lnTo>
                    <a:pt x="2421" y="1346"/>
                  </a:lnTo>
                  <a:lnTo>
                    <a:pt x="2425" y="1339"/>
                  </a:lnTo>
                  <a:lnTo>
                    <a:pt x="2430" y="1330"/>
                  </a:lnTo>
                  <a:lnTo>
                    <a:pt x="2432" y="1321"/>
                  </a:lnTo>
                  <a:lnTo>
                    <a:pt x="2434" y="1312"/>
                  </a:lnTo>
                  <a:lnTo>
                    <a:pt x="2432" y="1297"/>
                  </a:lnTo>
                  <a:lnTo>
                    <a:pt x="2432" y="1292"/>
                  </a:lnTo>
                  <a:lnTo>
                    <a:pt x="2436" y="1283"/>
                  </a:lnTo>
                  <a:lnTo>
                    <a:pt x="2437" y="1272"/>
                  </a:lnTo>
                  <a:lnTo>
                    <a:pt x="2441" y="1263"/>
                  </a:lnTo>
                  <a:lnTo>
                    <a:pt x="2445" y="1254"/>
                  </a:lnTo>
                  <a:lnTo>
                    <a:pt x="2445" y="1248"/>
                  </a:lnTo>
                  <a:lnTo>
                    <a:pt x="2445" y="1243"/>
                  </a:lnTo>
                  <a:lnTo>
                    <a:pt x="2443" y="1236"/>
                  </a:lnTo>
                  <a:lnTo>
                    <a:pt x="2437" y="1223"/>
                  </a:lnTo>
                  <a:lnTo>
                    <a:pt x="2427" y="1198"/>
                  </a:lnTo>
                  <a:lnTo>
                    <a:pt x="2421" y="1190"/>
                  </a:lnTo>
                  <a:lnTo>
                    <a:pt x="2417" y="1185"/>
                  </a:lnTo>
                  <a:lnTo>
                    <a:pt x="2407" y="1172"/>
                  </a:lnTo>
                  <a:lnTo>
                    <a:pt x="2401" y="1167"/>
                  </a:lnTo>
                  <a:lnTo>
                    <a:pt x="2396" y="1160"/>
                  </a:lnTo>
                  <a:lnTo>
                    <a:pt x="2392" y="1154"/>
                  </a:lnTo>
                  <a:lnTo>
                    <a:pt x="2390" y="1150"/>
                  </a:lnTo>
                  <a:lnTo>
                    <a:pt x="2390" y="1147"/>
                  </a:lnTo>
                  <a:lnTo>
                    <a:pt x="2388" y="1140"/>
                  </a:lnTo>
                  <a:lnTo>
                    <a:pt x="2388" y="1132"/>
                  </a:lnTo>
                  <a:lnTo>
                    <a:pt x="2388" y="1112"/>
                  </a:lnTo>
                  <a:lnTo>
                    <a:pt x="2388" y="1107"/>
                  </a:lnTo>
                  <a:lnTo>
                    <a:pt x="2388" y="1101"/>
                  </a:lnTo>
                  <a:lnTo>
                    <a:pt x="2387" y="1096"/>
                  </a:lnTo>
                  <a:lnTo>
                    <a:pt x="2385" y="1091"/>
                  </a:lnTo>
                  <a:lnTo>
                    <a:pt x="2381" y="1083"/>
                  </a:lnTo>
                  <a:lnTo>
                    <a:pt x="2376" y="1078"/>
                  </a:lnTo>
                  <a:lnTo>
                    <a:pt x="2363" y="1065"/>
                  </a:lnTo>
                  <a:lnTo>
                    <a:pt x="2358" y="1060"/>
                  </a:lnTo>
                  <a:lnTo>
                    <a:pt x="2352" y="1052"/>
                  </a:lnTo>
                  <a:lnTo>
                    <a:pt x="2349" y="1045"/>
                  </a:lnTo>
                  <a:lnTo>
                    <a:pt x="2347" y="1040"/>
                  </a:lnTo>
                  <a:lnTo>
                    <a:pt x="2347" y="818"/>
                  </a:lnTo>
                  <a:lnTo>
                    <a:pt x="2345" y="706"/>
                  </a:lnTo>
                  <a:lnTo>
                    <a:pt x="2321" y="700"/>
                  </a:lnTo>
                  <a:lnTo>
                    <a:pt x="2307" y="697"/>
                  </a:lnTo>
                  <a:lnTo>
                    <a:pt x="2301" y="697"/>
                  </a:lnTo>
                  <a:lnTo>
                    <a:pt x="2298" y="695"/>
                  </a:lnTo>
                  <a:lnTo>
                    <a:pt x="2296" y="695"/>
                  </a:lnTo>
                  <a:lnTo>
                    <a:pt x="2285" y="699"/>
                  </a:lnTo>
                  <a:lnTo>
                    <a:pt x="2280" y="700"/>
                  </a:lnTo>
                  <a:lnTo>
                    <a:pt x="2274" y="700"/>
                  </a:lnTo>
                  <a:lnTo>
                    <a:pt x="2269" y="700"/>
                  </a:lnTo>
                  <a:lnTo>
                    <a:pt x="2265" y="699"/>
                  </a:lnTo>
                  <a:lnTo>
                    <a:pt x="2263" y="695"/>
                  </a:lnTo>
                  <a:lnTo>
                    <a:pt x="2261" y="691"/>
                  </a:lnTo>
                  <a:lnTo>
                    <a:pt x="2261" y="688"/>
                  </a:lnTo>
                  <a:lnTo>
                    <a:pt x="2256" y="690"/>
                  </a:lnTo>
                  <a:lnTo>
                    <a:pt x="2251" y="691"/>
                  </a:lnTo>
                  <a:lnTo>
                    <a:pt x="2245" y="690"/>
                  </a:lnTo>
                  <a:lnTo>
                    <a:pt x="2240" y="688"/>
                  </a:lnTo>
                  <a:lnTo>
                    <a:pt x="2231" y="684"/>
                  </a:lnTo>
                  <a:lnTo>
                    <a:pt x="2221" y="677"/>
                  </a:lnTo>
                  <a:lnTo>
                    <a:pt x="2214" y="670"/>
                  </a:lnTo>
                  <a:lnTo>
                    <a:pt x="2191" y="653"/>
                  </a:lnTo>
                  <a:lnTo>
                    <a:pt x="2185" y="650"/>
                  </a:lnTo>
                  <a:lnTo>
                    <a:pt x="2178" y="646"/>
                  </a:lnTo>
                  <a:lnTo>
                    <a:pt x="2172" y="644"/>
                  </a:lnTo>
                  <a:lnTo>
                    <a:pt x="2165" y="642"/>
                  </a:lnTo>
                  <a:lnTo>
                    <a:pt x="2160" y="641"/>
                  </a:lnTo>
                  <a:lnTo>
                    <a:pt x="2156" y="639"/>
                  </a:lnTo>
                  <a:lnTo>
                    <a:pt x="2149" y="633"/>
                  </a:lnTo>
                  <a:lnTo>
                    <a:pt x="2143" y="630"/>
                  </a:lnTo>
                  <a:lnTo>
                    <a:pt x="2138" y="628"/>
                  </a:lnTo>
                  <a:lnTo>
                    <a:pt x="2133" y="626"/>
                  </a:lnTo>
                  <a:lnTo>
                    <a:pt x="2125" y="626"/>
                  </a:lnTo>
                  <a:lnTo>
                    <a:pt x="2118" y="626"/>
                  </a:lnTo>
                  <a:lnTo>
                    <a:pt x="2104" y="626"/>
                  </a:lnTo>
                  <a:lnTo>
                    <a:pt x="2087" y="628"/>
                  </a:lnTo>
                  <a:lnTo>
                    <a:pt x="2071" y="631"/>
                  </a:lnTo>
                  <a:lnTo>
                    <a:pt x="2055" y="633"/>
                  </a:lnTo>
                  <a:lnTo>
                    <a:pt x="2051" y="633"/>
                  </a:lnTo>
                  <a:lnTo>
                    <a:pt x="2035" y="631"/>
                  </a:lnTo>
                  <a:lnTo>
                    <a:pt x="2018" y="631"/>
                  </a:lnTo>
                  <a:lnTo>
                    <a:pt x="2006" y="631"/>
                  </a:lnTo>
                  <a:lnTo>
                    <a:pt x="1996" y="635"/>
                  </a:lnTo>
                  <a:lnTo>
                    <a:pt x="1982" y="641"/>
                  </a:lnTo>
                  <a:lnTo>
                    <a:pt x="1966" y="650"/>
                  </a:lnTo>
                  <a:lnTo>
                    <a:pt x="1951" y="657"/>
                  </a:lnTo>
                  <a:lnTo>
                    <a:pt x="1944" y="660"/>
                  </a:lnTo>
                  <a:lnTo>
                    <a:pt x="1937" y="662"/>
                  </a:lnTo>
                  <a:lnTo>
                    <a:pt x="1933" y="662"/>
                  </a:lnTo>
                  <a:lnTo>
                    <a:pt x="1928" y="662"/>
                  </a:lnTo>
                  <a:lnTo>
                    <a:pt x="1922" y="660"/>
                  </a:lnTo>
                  <a:lnTo>
                    <a:pt x="1911" y="655"/>
                  </a:lnTo>
                  <a:lnTo>
                    <a:pt x="1891" y="642"/>
                  </a:lnTo>
                  <a:lnTo>
                    <a:pt x="1877" y="637"/>
                  </a:lnTo>
                  <a:lnTo>
                    <a:pt x="1862" y="631"/>
                  </a:lnTo>
                  <a:lnTo>
                    <a:pt x="1846" y="628"/>
                  </a:lnTo>
                  <a:lnTo>
                    <a:pt x="1831" y="628"/>
                  </a:lnTo>
                  <a:lnTo>
                    <a:pt x="1815" y="628"/>
                  </a:lnTo>
                  <a:lnTo>
                    <a:pt x="1799" y="630"/>
                  </a:lnTo>
                  <a:lnTo>
                    <a:pt x="1784" y="633"/>
                  </a:lnTo>
                  <a:lnTo>
                    <a:pt x="1770" y="637"/>
                  </a:lnTo>
                  <a:lnTo>
                    <a:pt x="1753" y="639"/>
                  </a:lnTo>
                  <a:lnTo>
                    <a:pt x="1742" y="639"/>
                  </a:lnTo>
                  <a:lnTo>
                    <a:pt x="1732" y="639"/>
                  </a:lnTo>
                  <a:lnTo>
                    <a:pt x="1722" y="635"/>
                  </a:lnTo>
                  <a:lnTo>
                    <a:pt x="1713" y="631"/>
                  </a:lnTo>
                  <a:lnTo>
                    <a:pt x="1702" y="628"/>
                  </a:lnTo>
                  <a:lnTo>
                    <a:pt x="1697" y="624"/>
                  </a:lnTo>
                  <a:lnTo>
                    <a:pt x="1692" y="624"/>
                  </a:lnTo>
                  <a:lnTo>
                    <a:pt x="1688" y="622"/>
                  </a:lnTo>
                  <a:lnTo>
                    <a:pt x="1683" y="622"/>
                  </a:lnTo>
                  <a:lnTo>
                    <a:pt x="1666" y="624"/>
                  </a:lnTo>
                  <a:lnTo>
                    <a:pt x="1648" y="626"/>
                  </a:lnTo>
                  <a:lnTo>
                    <a:pt x="1644" y="626"/>
                  </a:lnTo>
                  <a:lnTo>
                    <a:pt x="1637" y="624"/>
                  </a:lnTo>
                  <a:lnTo>
                    <a:pt x="1632" y="622"/>
                  </a:lnTo>
                  <a:lnTo>
                    <a:pt x="1626" y="619"/>
                  </a:lnTo>
                  <a:lnTo>
                    <a:pt x="1621" y="613"/>
                  </a:lnTo>
                  <a:lnTo>
                    <a:pt x="1612" y="604"/>
                  </a:lnTo>
                  <a:lnTo>
                    <a:pt x="1605" y="593"/>
                  </a:lnTo>
                  <a:lnTo>
                    <a:pt x="1601" y="588"/>
                  </a:lnTo>
                  <a:lnTo>
                    <a:pt x="1597" y="584"/>
                  </a:lnTo>
                  <a:lnTo>
                    <a:pt x="1594" y="581"/>
                  </a:lnTo>
                  <a:lnTo>
                    <a:pt x="1588" y="577"/>
                  </a:lnTo>
                  <a:lnTo>
                    <a:pt x="1583" y="575"/>
                  </a:lnTo>
                  <a:lnTo>
                    <a:pt x="1577" y="573"/>
                  </a:lnTo>
                  <a:lnTo>
                    <a:pt x="1572" y="573"/>
                  </a:lnTo>
                  <a:lnTo>
                    <a:pt x="1566" y="573"/>
                  </a:lnTo>
                  <a:lnTo>
                    <a:pt x="1552" y="573"/>
                  </a:lnTo>
                  <a:lnTo>
                    <a:pt x="1537" y="575"/>
                  </a:lnTo>
                  <a:lnTo>
                    <a:pt x="1526" y="577"/>
                  </a:lnTo>
                  <a:lnTo>
                    <a:pt x="1507" y="575"/>
                  </a:lnTo>
                  <a:lnTo>
                    <a:pt x="1496" y="573"/>
                  </a:lnTo>
                  <a:lnTo>
                    <a:pt x="1485" y="570"/>
                  </a:lnTo>
                  <a:lnTo>
                    <a:pt x="1472" y="566"/>
                  </a:lnTo>
                  <a:lnTo>
                    <a:pt x="1458" y="561"/>
                  </a:lnTo>
                  <a:lnTo>
                    <a:pt x="1445" y="555"/>
                  </a:lnTo>
                  <a:lnTo>
                    <a:pt x="1438" y="552"/>
                  </a:lnTo>
                  <a:lnTo>
                    <a:pt x="1430" y="552"/>
                  </a:lnTo>
                  <a:lnTo>
                    <a:pt x="1418" y="548"/>
                  </a:lnTo>
                  <a:lnTo>
                    <a:pt x="1412" y="546"/>
                  </a:lnTo>
                  <a:lnTo>
                    <a:pt x="1409" y="546"/>
                  </a:lnTo>
                  <a:lnTo>
                    <a:pt x="1407" y="544"/>
                  </a:lnTo>
                  <a:lnTo>
                    <a:pt x="1405" y="541"/>
                  </a:lnTo>
                  <a:lnTo>
                    <a:pt x="1405" y="539"/>
                  </a:lnTo>
                  <a:lnTo>
                    <a:pt x="1403" y="535"/>
                  </a:lnTo>
                  <a:lnTo>
                    <a:pt x="1405" y="526"/>
                  </a:lnTo>
                  <a:lnTo>
                    <a:pt x="1405" y="524"/>
                  </a:lnTo>
                  <a:lnTo>
                    <a:pt x="1403" y="521"/>
                  </a:lnTo>
                  <a:lnTo>
                    <a:pt x="1401" y="517"/>
                  </a:lnTo>
                  <a:lnTo>
                    <a:pt x="1399" y="513"/>
                  </a:lnTo>
                  <a:lnTo>
                    <a:pt x="1396" y="510"/>
                  </a:lnTo>
                  <a:lnTo>
                    <a:pt x="1390" y="506"/>
                  </a:lnTo>
                  <a:lnTo>
                    <a:pt x="1383" y="503"/>
                  </a:lnTo>
                  <a:lnTo>
                    <a:pt x="1378" y="503"/>
                  </a:lnTo>
                  <a:lnTo>
                    <a:pt x="1372" y="503"/>
                  </a:lnTo>
                  <a:lnTo>
                    <a:pt x="1365" y="503"/>
                  </a:lnTo>
                  <a:lnTo>
                    <a:pt x="1358" y="504"/>
                  </a:lnTo>
                  <a:lnTo>
                    <a:pt x="1349" y="508"/>
                  </a:lnTo>
                  <a:lnTo>
                    <a:pt x="1343" y="508"/>
                  </a:lnTo>
                  <a:lnTo>
                    <a:pt x="1340" y="508"/>
                  </a:lnTo>
                  <a:lnTo>
                    <a:pt x="1330" y="508"/>
                  </a:lnTo>
                  <a:lnTo>
                    <a:pt x="1321" y="504"/>
                  </a:lnTo>
                  <a:lnTo>
                    <a:pt x="1312" y="499"/>
                  </a:lnTo>
                  <a:lnTo>
                    <a:pt x="1305" y="494"/>
                  </a:lnTo>
                  <a:lnTo>
                    <a:pt x="1289" y="481"/>
                  </a:lnTo>
                  <a:lnTo>
                    <a:pt x="1278" y="470"/>
                  </a:lnTo>
                  <a:lnTo>
                    <a:pt x="1271" y="465"/>
                  </a:lnTo>
                  <a:lnTo>
                    <a:pt x="1267" y="463"/>
                  </a:lnTo>
                  <a:lnTo>
                    <a:pt x="1262" y="463"/>
                  </a:lnTo>
                  <a:lnTo>
                    <a:pt x="1276" y="34"/>
                  </a:lnTo>
                  <a:lnTo>
                    <a:pt x="752" y="5"/>
                  </a:lnTo>
                  <a:lnTo>
                    <a:pt x="752" y="0"/>
                  </a:lnTo>
                  <a:close/>
                </a:path>
              </a:pathLst>
            </a:custGeom>
            <a:solidFill>
              <a:srgbClr val="FFE600"/>
            </a:solidFill>
            <a:ln w="6350" cap="flat" cmpd="sng" algn="ctr">
              <a:solidFill>
                <a:srgbClr val="2E2E38"/>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646464"/>
                </a:solidFill>
                <a:effectLst/>
                <a:uLnTx/>
                <a:uFillTx/>
                <a:cs typeface="Times New Roman" panose="02020603050405020304" pitchFamily="18" charset="0"/>
              </a:endParaRPr>
            </a:p>
          </p:txBody>
        </p:sp>
        <p:sp>
          <p:nvSpPr>
            <p:cNvPr id="66" name="Freeform 143">
              <a:extLst>
                <a:ext uri="{FF2B5EF4-FFF2-40B4-BE49-F238E27FC236}">
                  <a16:creationId xmlns:a16="http://schemas.microsoft.com/office/drawing/2014/main" id="{69ED4564-3096-F64C-8EF1-F702EC00C07F}"/>
                </a:ext>
              </a:extLst>
            </p:cNvPr>
            <p:cNvSpPr>
              <a:spLocks/>
            </p:cNvSpPr>
            <p:nvPr/>
          </p:nvSpPr>
          <p:spPr bwMode="auto">
            <a:xfrm>
              <a:off x="6136772" y="4039292"/>
              <a:ext cx="478039" cy="419973"/>
            </a:xfrm>
            <a:custGeom>
              <a:avLst/>
              <a:gdLst/>
              <a:ahLst/>
              <a:cxnLst>
                <a:cxn ang="0">
                  <a:pos x="719" y="36"/>
                </a:cxn>
                <a:cxn ang="0">
                  <a:pos x="675" y="53"/>
                </a:cxn>
                <a:cxn ang="0">
                  <a:pos x="645" y="54"/>
                </a:cxn>
                <a:cxn ang="0">
                  <a:pos x="607" y="87"/>
                </a:cxn>
                <a:cxn ang="0">
                  <a:pos x="541" y="172"/>
                </a:cxn>
                <a:cxn ang="0">
                  <a:pos x="510" y="230"/>
                </a:cxn>
                <a:cxn ang="0">
                  <a:pos x="494" y="259"/>
                </a:cxn>
                <a:cxn ang="0">
                  <a:pos x="463" y="283"/>
                </a:cxn>
                <a:cxn ang="0">
                  <a:pos x="460" y="303"/>
                </a:cxn>
                <a:cxn ang="0">
                  <a:pos x="478" y="305"/>
                </a:cxn>
                <a:cxn ang="0">
                  <a:pos x="494" y="305"/>
                </a:cxn>
                <a:cxn ang="0">
                  <a:pos x="499" y="321"/>
                </a:cxn>
                <a:cxn ang="0">
                  <a:pos x="498" y="339"/>
                </a:cxn>
                <a:cxn ang="0">
                  <a:pos x="485" y="347"/>
                </a:cxn>
                <a:cxn ang="0">
                  <a:pos x="498" y="385"/>
                </a:cxn>
                <a:cxn ang="0">
                  <a:pos x="498" y="421"/>
                </a:cxn>
                <a:cxn ang="0">
                  <a:pos x="463" y="445"/>
                </a:cxn>
                <a:cxn ang="0">
                  <a:pos x="418" y="490"/>
                </a:cxn>
                <a:cxn ang="0">
                  <a:pos x="336" y="514"/>
                </a:cxn>
                <a:cxn ang="0">
                  <a:pos x="300" y="512"/>
                </a:cxn>
                <a:cxn ang="0">
                  <a:pos x="202" y="510"/>
                </a:cxn>
                <a:cxn ang="0">
                  <a:pos x="104" y="544"/>
                </a:cxn>
                <a:cxn ang="0">
                  <a:pos x="77" y="592"/>
                </a:cxn>
                <a:cxn ang="0">
                  <a:pos x="91" y="617"/>
                </a:cxn>
                <a:cxn ang="0">
                  <a:pos x="113" y="632"/>
                </a:cxn>
                <a:cxn ang="0">
                  <a:pos x="118" y="642"/>
                </a:cxn>
                <a:cxn ang="0">
                  <a:pos x="113" y="673"/>
                </a:cxn>
                <a:cxn ang="0">
                  <a:pos x="91" y="708"/>
                </a:cxn>
                <a:cxn ang="0">
                  <a:pos x="68" y="739"/>
                </a:cxn>
                <a:cxn ang="0">
                  <a:pos x="0" y="800"/>
                </a:cxn>
                <a:cxn ang="0">
                  <a:pos x="418" y="782"/>
                </a:cxn>
                <a:cxn ang="0">
                  <a:pos x="721" y="724"/>
                </a:cxn>
                <a:cxn ang="0">
                  <a:pos x="741" y="746"/>
                </a:cxn>
                <a:cxn ang="0">
                  <a:pos x="759" y="751"/>
                </a:cxn>
                <a:cxn ang="0">
                  <a:pos x="772" y="766"/>
                </a:cxn>
                <a:cxn ang="0">
                  <a:pos x="793" y="817"/>
                </a:cxn>
                <a:cxn ang="0">
                  <a:pos x="830" y="826"/>
                </a:cxn>
                <a:cxn ang="0">
                  <a:pos x="855" y="838"/>
                </a:cxn>
                <a:cxn ang="0">
                  <a:pos x="913" y="864"/>
                </a:cxn>
                <a:cxn ang="0">
                  <a:pos x="984" y="887"/>
                </a:cxn>
                <a:cxn ang="0">
                  <a:pos x="991" y="924"/>
                </a:cxn>
                <a:cxn ang="0">
                  <a:pos x="1006" y="929"/>
                </a:cxn>
                <a:cxn ang="0">
                  <a:pos x="1028" y="889"/>
                </a:cxn>
                <a:cxn ang="0">
                  <a:pos x="1022" y="857"/>
                </a:cxn>
                <a:cxn ang="0">
                  <a:pos x="1044" y="829"/>
                </a:cxn>
                <a:cxn ang="0">
                  <a:pos x="1037" y="806"/>
                </a:cxn>
                <a:cxn ang="0">
                  <a:pos x="1026" y="719"/>
                </a:cxn>
                <a:cxn ang="0">
                  <a:pos x="1004" y="635"/>
                </a:cxn>
                <a:cxn ang="0">
                  <a:pos x="988" y="387"/>
                </a:cxn>
                <a:cxn ang="0">
                  <a:pos x="959" y="307"/>
                </a:cxn>
                <a:cxn ang="0">
                  <a:pos x="940" y="299"/>
                </a:cxn>
                <a:cxn ang="0">
                  <a:pos x="928" y="240"/>
                </a:cxn>
                <a:cxn ang="0">
                  <a:pos x="915" y="180"/>
                </a:cxn>
                <a:cxn ang="0">
                  <a:pos x="917" y="154"/>
                </a:cxn>
                <a:cxn ang="0">
                  <a:pos x="915" y="123"/>
                </a:cxn>
                <a:cxn ang="0">
                  <a:pos x="904" y="102"/>
                </a:cxn>
                <a:cxn ang="0">
                  <a:pos x="897" y="67"/>
                </a:cxn>
                <a:cxn ang="0">
                  <a:pos x="881" y="34"/>
                </a:cxn>
                <a:cxn ang="0">
                  <a:pos x="881" y="5"/>
                </a:cxn>
              </a:cxnLst>
              <a:rect l="0" t="0" r="r" b="b"/>
              <a:pathLst>
                <a:path w="1046" h="940">
                  <a:moveTo>
                    <a:pt x="881" y="0"/>
                  </a:moveTo>
                  <a:lnTo>
                    <a:pt x="781" y="24"/>
                  </a:lnTo>
                  <a:lnTo>
                    <a:pt x="730" y="36"/>
                  </a:lnTo>
                  <a:lnTo>
                    <a:pt x="726" y="36"/>
                  </a:lnTo>
                  <a:lnTo>
                    <a:pt x="719" y="36"/>
                  </a:lnTo>
                  <a:lnTo>
                    <a:pt x="712" y="38"/>
                  </a:lnTo>
                  <a:lnTo>
                    <a:pt x="705" y="42"/>
                  </a:lnTo>
                  <a:lnTo>
                    <a:pt x="697" y="45"/>
                  </a:lnTo>
                  <a:lnTo>
                    <a:pt x="683" y="51"/>
                  </a:lnTo>
                  <a:lnTo>
                    <a:pt x="675" y="53"/>
                  </a:lnTo>
                  <a:lnTo>
                    <a:pt x="668" y="54"/>
                  </a:lnTo>
                  <a:lnTo>
                    <a:pt x="666" y="54"/>
                  </a:lnTo>
                  <a:lnTo>
                    <a:pt x="659" y="54"/>
                  </a:lnTo>
                  <a:lnTo>
                    <a:pt x="650" y="53"/>
                  </a:lnTo>
                  <a:lnTo>
                    <a:pt x="645" y="54"/>
                  </a:lnTo>
                  <a:lnTo>
                    <a:pt x="636" y="58"/>
                  </a:lnTo>
                  <a:lnTo>
                    <a:pt x="630" y="62"/>
                  </a:lnTo>
                  <a:lnTo>
                    <a:pt x="623" y="67"/>
                  </a:lnTo>
                  <a:lnTo>
                    <a:pt x="617" y="74"/>
                  </a:lnTo>
                  <a:lnTo>
                    <a:pt x="607" y="87"/>
                  </a:lnTo>
                  <a:lnTo>
                    <a:pt x="594" y="102"/>
                  </a:lnTo>
                  <a:lnTo>
                    <a:pt x="583" y="116"/>
                  </a:lnTo>
                  <a:lnTo>
                    <a:pt x="572" y="131"/>
                  </a:lnTo>
                  <a:lnTo>
                    <a:pt x="552" y="158"/>
                  </a:lnTo>
                  <a:lnTo>
                    <a:pt x="541" y="172"/>
                  </a:lnTo>
                  <a:lnTo>
                    <a:pt x="532" y="189"/>
                  </a:lnTo>
                  <a:lnTo>
                    <a:pt x="527" y="200"/>
                  </a:lnTo>
                  <a:lnTo>
                    <a:pt x="521" y="212"/>
                  </a:lnTo>
                  <a:lnTo>
                    <a:pt x="516" y="225"/>
                  </a:lnTo>
                  <a:lnTo>
                    <a:pt x="510" y="230"/>
                  </a:lnTo>
                  <a:lnTo>
                    <a:pt x="505" y="234"/>
                  </a:lnTo>
                  <a:lnTo>
                    <a:pt x="499" y="240"/>
                  </a:lnTo>
                  <a:lnTo>
                    <a:pt x="498" y="249"/>
                  </a:lnTo>
                  <a:lnTo>
                    <a:pt x="496" y="254"/>
                  </a:lnTo>
                  <a:lnTo>
                    <a:pt x="494" y="259"/>
                  </a:lnTo>
                  <a:lnTo>
                    <a:pt x="490" y="263"/>
                  </a:lnTo>
                  <a:lnTo>
                    <a:pt x="485" y="267"/>
                  </a:lnTo>
                  <a:lnTo>
                    <a:pt x="472" y="274"/>
                  </a:lnTo>
                  <a:lnTo>
                    <a:pt x="469" y="279"/>
                  </a:lnTo>
                  <a:lnTo>
                    <a:pt x="463" y="283"/>
                  </a:lnTo>
                  <a:lnTo>
                    <a:pt x="460" y="289"/>
                  </a:lnTo>
                  <a:lnTo>
                    <a:pt x="460" y="292"/>
                  </a:lnTo>
                  <a:lnTo>
                    <a:pt x="458" y="296"/>
                  </a:lnTo>
                  <a:lnTo>
                    <a:pt x="458" y="298"/>
                  </a:lnTo>
                  <a:lnTo>
                    <a:pt x="460" y="303"/>
                  </a:lnTo>
                  <a:lnTo>
                    <a:pt x="461" y="307"/>
                  </a:lnTo>
                  <a:lnTo>
                    <a:pt x="463" y="308"/>
                  </a:lnTo>
                  <a:lnTo>
                    <a:pt x="465" y="308"/>
                  </a:lnTo>
                  <a:lnTo>
                    <a:pt x="472" y="307"/>
                  </a:lnTo>
                  <a:lnTo>
                    <a:pt x="478" y="305"/>
                  </a:lnTo>
                  <a:lnTo>
                    <a:pt x="485" y="303"/>
                  </a:lnTo>
                  <a:lnTo>
                    <a:pt x="490" y="301"/>
                  </a:lnTo>
                  <a:lnTo>
                    <a:pt x="494" y="301"/>
                  </a:lnTo>
                  <a:lnTo>
                    <a:pt x="494" y="303"/>
                  </a:lnTo>
                  <a:lnTo>
                    <a:pt x="494" y="305"/>
                  </a:lnTo>
                  <a:lnTo>
                    <a:pt x="496" y="307"/>
                  </a:lnTo>
                  <a:lnTo>
                    <a:pt x="494" y="316"/>
                  </a:lnTo>
                  <a:lnTo>
                    <a:pt x="496" y="319"/>
                  </a:lnTo>
                  <a:lnTo>
                    <a:pt x="498" y="321"/>
                  </a:lnTo>
                  <a:lnTo>
                    <a:pt x="499" y="321"/>
                  </a:lnTo>
                  <a:lnTo>
                    <a:pt x="503" y="323"/>
                  </a:lnTo>
                  <a:lnTo>
                    <a:pt x="503" y="327"/>
                  </a:lnTo>
                  <a:lnTo>
                    <a:pt x="501" y="332"/>
                  </a:lnTo>
                  <a:lnTo>
                    <a:pt x="501" y="336"/>
                  </a:lnTo>
                  <a:lnTo>
                    <a:pt x="498" y="339"/>
                  </a:lnTo>
                  <a:lnTo>
                    <a:pt x="496" y="339"/>
                  </a:lnTo>
                  <a:lnTo>
                    <a:pt x="494" y="341"/>
                  </a:lnTo>
                  <a:lnTo>
                    <a:pt x="489" y="343"/>
                  </a:lnTo>
                  <a:lnTo>
                    <a:pt x="487" y="345"/>
                  </a:lnTo>
                  <a:lnTo>
                    <a:pt x="485" y="347"/>
                  </a:lnTo>
                  <a:lnTo>
                    <a:pt x="485" y="348"/>
                  </a:lnTo>
                  <a:lnTo>
                    <a:pt x="485" y="352"/>
                  </a:lnTo>
                  <a:lnTo>
                    <a:pt x="487" y="357"/>
                  </a:lnTo>
                  <a:lnTo>
                    <a:pt x="490" y="365"/>
                  </a:lnTo>
                  <a:lnTo>
                    <a:pt x="498" y="385"/>
                  </a:lnTo>
                  <a:lnTo>
                    <a:pt x="501" y="396"/>
                  </a:lnTo>
                  <a:lnTo>
                    <a:pt x="501" y="408"/>
                  </a:lnTo>
                  <a:lnTo>
                    <a:pt x="501" y="416"/>
                  </a:lnTo>
                  <a:lnTo>
                    <a:pt x="499" y="419"/>
                  </a:lnTo>
                  <a:lnTo>
                    <a:pt x="498" y="421"/>
                  </a:lnTo>
                  <a:lnTo>
                    <a:pt x="494" y="425"/>
                  </a:lnTo>
                  <a:lnTo>
                    <a:pt x="490" y="428"/>
                  </a:lnTo>
                  <a:lnTo>
                    <a:pt x="480" y="436"/>
                  </a:lnTo>
                  <a:lnTo>
                    <a:pt x="469" y="441"/>
                  </a:lnTo>
                  <a:lnTo>
                    <a:pt x="463" y="445"/>
                  </a:lnTo>
                  <a:lnTo>
                    <a:pt x="460" y="448"/>
                  </a:lnTo>
                  <a:lnTo>
                    <a:pt x="440" y="472"/>
                  </a:lnTo>
                  <a:lnTo>
                    <a:pt x="429" y="481"/>
                  </a:lnTo>
                  <a:lnTo>
                    <a:pt x="423" y="486"/>
                  </a:lnTo>
                  <a:lnTo>
                    <a:pt x="418" y="490"/>
                  </a:lnTo>
                  <a:lnTo>
                    <a:pt x="405" y="495"/>
                  </a:lnTo>
                  <a:lnTo>
                    <a:pt x="392" y="501"/>
                  </a:lnTo>
                  <a:lnTo>
                    <a:pt x="380" y="504"/>
                  </a:lnTo>
                  <a:lnTo>
                    <a:pt x="365" y="508"/>
                  </a:lnTo>
                  <a:lnTo>
                    <a:pt x="336" y="514"/>
                  </a:lnTo>
                  <a:lnTo>
                    <a:pt x="323" y="517"/>
                  </a:lnTo>
                  <a:lnTo>
                    <a:pt x="311" y="521"/>
                  </a:lnTo>
                  <a:lnTo>
                    <a:pt x="309" y="517"/>
                  </a:lnTo>
                  <a:lnTo>
                    <a:pt x="305" y="514"/>
                  </a:lnTo>
                  <a:lnTo>
                    <a:pt x="300" y="512"/>
                  </a:lnTo>
                  <a:lnTo>
                    <a:pt x="293" y="510"/>
                  </a:lnTo>
                  <a:lnTo>
                    <a:pt x="276" y="508"/>
                  </a:lnTo>
                  <a:lnTo>
                    <a:pt x="258" y="508"/>
                  </a:lnTo>
                  <a:lnTo>
                    <a:pt x="227" y="508"/>
                  </a:lnTo>
                  <a:lnTo>
                    <a:pt x="202" y="510"/>
                  </a:lnTo>
                  <a:lnTo>
                    <a:pt x="191" y="512"/>
                  </a:lnTo>
                  <a:lnTo>
                    <a:pt x="178" y="515"/>
                  </a:lnTo>
                  <a:lnTo>
                    <a:pt x="155" y="521"/>
                  </a:lnTo>
                  <a:lnTo>
                    <a:pt x="131" y="532"/>
                  </a:lnTo>
                  <a:lnTo>
                    <a:pt x="104" y="544"/>
                  </a:lnTo>
                  <a:lnTo>
                    <a:pt x="77" y="561"/>
                  </a:lnTo>
                  <a:lnTo>
                    <a:pt x="77" y="568"/>
                  </a:lnTo>
                  <a:lnTo>
                    <a:pt x="78" y="577"/>
                  </a:lnTo>
                  <a:lnTo>
                    <a:pt x="77" y="588"/>
                  </a:lnTo>
                  <a:lnTo>
                    <a:pt x="77" y="592"/>
                  </a:lnTo>
                  <a:lnTo>
                    <a:pt x="78" y="597"/>
                  </a:lnTo>
                  <a:lnTo>
                    <a:pt x="80" y="602"/>
                  </a:lnTo>
                  <a:lnTo>
                    <a:pt x="82" y="608"/>
                  </a:lnTo>
                  <a:lnTo>
                    <a:pt x="86" y="612"/>
                  </a:lnTo>
                  <a:lnTo>
                    <a:pt x="91" y="617"/>
                  </a:lnTo>
                  <a:lnTo>
                    <a:pt x="95" y="622"/>
                  </a:lnTo>
                  <a:lnTo>
                    <a:pt x="97" y="626"/>
                  </a:lnTo>
                  <a:lnTo>
                    <a:pt x="106" y="628"/>
                  </a:lnTo>
                  <a:lnTo>
                    <a:pt x="111" y="630"/>
                  </a:lnTo>
                  <a:lnTo>
                    <a:pt x="113" y="632"/>
                  </a:lnTo>
                  <a:lnTo>
                    <a:pt x="115" y="633"/>
                  </a:lnTo>
                  <a:lnTo>
                    <a:pt x="115" y="635"/>
                  </a:lnTo>
                  <a:lnTo>
                    <a:pt x="115" y="639"/>
                  </a:lnTo>
                  <a:lnTo>
                    <a:pt x="115" y="641"/>
                  </a:lnTo>
                  <a:lnTo>
                    <a:pt x="118" y="642"/>
                  </a:lnTo>
                  <a:lnTo>
                    <a:pt x="120" y="644"/>
                  </a:lnTo>
                  <a:lnTo>
                    <a:pt x="120" y="650"/>
                  </a:lnTo>
                  <a:lnTo>
                    <a:pt x="120" y="657"/>
                  </a:lnTo>
                  <a:lnTo>
                    <a:pt x="118" y="662"/>
                  </a:lnTo>
                  <a:lnTo>
                    <a:pt x="113" y="673"/>
                  </a:lnTo>
                  <a:lnTo>
                    <a:pt x="106" y="684"/>
                  </a:lnTo>
                  <a:lnTo>
                    <a:pt x="102" y="690"/>
                  </a:lnTo>
                  <a:lnTo>
                    <a:pt x="98" y="693"/>
                  </a:lnTo>
                  <a:lnTo>
                    <a:pt x="95" y="700"/>
                  </a:lnTo>
                  <a:lnTo>
                    <a:pt x="91" y="708"/>
                  </a:lnTo>
                  <a:lnTo>
                    <a:pt x="89" y="715"/>
                  </a:lnTo>
                  <a:lnTo>
                    <a:pt x="86" y="720"/>
                  </a:lnTo>
                  <a:lnTo>
                    <a:pt x="82" y="726"/>
                  </a:lnTo>
                  <a:lnTo>
                    <a:pt x="77" y="730"/>
                  </a:lnTo>
                  <a:lnTo>
                    <a:pt x="68" y="739"/>
                  </a:lnTo>
                  <a:lnTo>
                    <a:pt x="59" y="746"/>
                  </a:lnTo>
                  <a:lnTo>
                    <a:pt x="49" y="755"/>
                  </a:lnTo>
                  <a:lnTo>
                    <a:pt x="26" y="777"/>
                  </a:lnTo>
                  <a:lnTo>
                    <a:pt x="15" y="788"/>
                  </a:lnTo>
                  <a:lnTo>
                    <a:pt x="0" y="800"/>
                  </a:lnTo>
                  <a:lnTo>
                    <a:pt x="11" y="853"/>
                  </a:lnTo>
                  <a:lnTo>
                    <a:pt x="160" y="829"/>
                  </a:lnTo>
                  <a:lnTo>
                    <a:pt x="293" y="806"/>
                  </a:lnTo>
                  <a:lnTo>
                    <a:pt x="360" y="793"/>
                  </a:lnTo>
                  <a:lnTo>
                    <a:pt x="418" y="782"/>
                  </a:lnTo>
                  <a:lnTo>
                    <a:pt x="619" y="740"/>
                  </a:lnTo>
                  <a:lnTo>
                    <a:pt x="710" y="722"/>
                  </a:lnTo>
                  <a:lnTo>
                    <a:pt x="714" y="722"/>
                  </a:lnTo>
                  <a:lnTo>
                    <a:pt x="719" y="722"/>
                  </a:lnTo>
                  <a:lnTo>
                    <a:pt x="721" y="724"/>
                  </a:lnTo>
                  <a:lnTo>
                    <a:pt x="723" y="726"/>
                  </a:lnTo>
                  <a:lnTo>
                    <a:pt x="728" y="733"/>
                  </a:lnTo>
                  <a:lnTo>
                    <a:pt x="732" y="742"/>
                  </a:lnTo>
                  <a:lnTo>
                    <a:pt x="735" y="744"/>
                  </a:lnTo>
                  <a:lnTo>
                    <a:pt x="741" y="746"/>
                  </a:lnTo>
                  <a:lnTo>
                    <a:pt x="744" y="744"/>
                  </a:lnTo>
                  <a:lnTo>
                    <a:pt x="746" y="751"/>
                  </a:lnTo>
                  <a:lnTo>
                    <a:pt x="752" y="751"/>
                  </a:lnTo>
                  <a:lnTo>
                    <a:pt x="755" y="749"/>
                  </a:lnTo>
                  <a:lnTo>
                    <a:pt x="759" y="751"/>
                  </a:lnTo>
                  <a:lnTo>
                    <a:pt x="763" y="751"/>
                  </a:lnTo>
                  <a:lnTo>
                    <a:pt x="766" y="755"/>
                  </a:lnTo>
                  <a:lnTo>
                    <a:pt x="768" y="759"/>
                  </a:lnTo>
                  <a:lnTo>
                    <a:pt x="770" y="762"/>
                  </a:lnTo>
                  <a:lnTo>
                    <a:pt x="772" y="766"/>
                  </a:lnTo>
                  <a:lnTo>
                    <a:pt x="775" y="777"/>
                  </a:lnTo>
                  <a:lnTo>
                    <a:pt x="783" y="798"/>
                  </a:lnTo>
                  <a:lnTo>
                    <a:pt x="786" y="806"/>
                  </a:lnTo>
                  <a:lnTo>
                    <a:pt x="790" y="813"/>
                  </a:lnTo>
                  <a:lnTo>
                    <a:pt x="793" y="817"/>
                  </a:lnTo>
                  <a:lnTo>
                    <a:pt x="799" y="818"/>
                  </a:lnTo>
                  <a:lnTo>
                    <a:pt x="810" y="822"/>
                  </a:lnTo>
                  <a:lnTo>
                    <a:pt x="819" y="824"/>
                  </a:lnTo>
                  <a:lnTo>
                    <a:pt x="824" y="824"/>
                  </a:lnTo>
                  <a:lnTo>
                    <a:pt x="830" y="826"/>
                  </a:lnTo>
                  <a:lnTo>
                    <a:pt x="841" y="833"/>
                  </a:lnTo>
                  <a:lnTo>
                    <a:pt x="844" y="837"/>
                  </a:lnTo>
                  <a:lnTo>
                    <a:pt x="846" y="838"/>
                  </a:lnTo>
                  <a:lnTo>
                    <a:pt x="850" y="838"/>
                  </a:lnTo>
                  <a:lnTo>
                    <a:pt x="855" y="838"/>
                  </a:lnTo>
                  <a:lnTo>
                    <a:pt x="861" y="840"/>
                  </a:lnTo>
                  <a:lnTo>
                    <a:pt x="873" y="846"/>
                  </a:lnTo>
                  <a:lnTo>
                    <a:pt x="888" y="853"/>
                  </a:lnTo>
                  <a:lnTo>
                    <a:pt x="900" y="858"/>
                  </a:lnTo>
                  <a:lnTo>
                    <a:pt x="913" y="864"/>
                  </a:lnTo>
                  <a:lnTo>
                    <a:pt x="942" y="871"/>
                  </a:lnTo>
                  <a:lnTo>
                    <a:pt x="959" y="877"/>
                  </a:lnTo>
                  <a:lnTo>
                    <a:pt x="966" y="878"/>
                  </a:lnTo>
                  <a:lnTo>
                    <a:pt x="973" y="882"/>
                  </a:lnTo>
                  <a:lnTo>
                    <a:pt x="984" y="887"/>
                  </a:lnTo>
                  <a:lnTo>
                    <a:pt x="989" y="893"/>
                  </a:lnTo>
                  <a:lnTo>
                    <a:pt x="991" y="898"/>
                  </a:lnTo>
                  <a:lnTo>
                    <a:pt x="993" y="904"/>
                  </a:lnTo>
                  <a:lnTo>
                    <a:pt x="991" y="918"/>
                  </a:lnTo>
                  <a:lnTo>
                    <a:pt x="991" y="924"/>
                  </a:lnTo>
                  <a:lnTo>
                    <a:pt x="993" y="926"/>
                  </a:lnTo>
                  <a:lnTo>
                    <a:pt x="993" y="929"/>
                  </a:lnTo>
                  <a:lnTo>
                    <a:pt x="995" y="940"/>
                  </a:lnTo>
                  <a:lnTo>
                    <a:pt x="1004" y="931"/>
                  </a:lnTo>
                  <a:lnTo>
                    <a:pt x="1006" y="929"/>
                  </a:lnTo>
                  <a:lnTo>
                    <a:pt x="1011" y="922"/>
                  </a:lnTo>
                  <a:lnTo>
                    <a:pt x="1015" y="915"/>
                  </a:lnTo>
                  <a:lnTo>
                    <a:pt x="1017" y="907"/>
                  </a:lnTo>
                  <a:lnTo>
                    <a:pt x="1020" y="900"/>
                  </a:lnTo>
                  <a:lnTo>
                    <a:pt x="1028" y="889"/>
                  </a:lnTo>
                  <a:lnTo>
                    <a:pt x="1033" y="882"/>
                  </a:lnTo>
                  <a:lnTo>
                    <a:pt x="1037" y="877"/>
                  </a:lnTo>
                  <a:lnTo>
                    <a:pt x="1029" y="869"/>
                  </a:lnTo>
                  <a:lnTo>
                    <a:pt x="1020" y="862"/>
                  </a:lnTo>
                  <a:lnTo>
                    <a:pt x="1022" y="857"/>
                  </a:lnTo>
                  <a:lnTo>
                    <a:pt x="1024" y="851"/>
                  </a:lnTo>
                  <a:lnTo>
                    <a:pt x="1033" y="844"/>
                  </a:lnTo>
                  <a:lnTo>
                    <a:pt x="1038" y="838"/>
                  </a:lnTo>
                  <a:lnTo>
                    <a:pt x="1042" y="835"/>
                  </a:lnTo>
                  <a:lnTo>
                    <a:pt x="1044" y="829"/>
                  </a:lnTo>
                  <a:lnTo>
                    <a:pt x="1046" y="824"/>
                  </a:lnTo>
                  <a:lnTo>
                    <a:pt x="1046" y="822"/>
                  </a:lnTo>
                  <a:lnTo>
                    <a:pt x="1044" y="817"/>
                  </a:lnTo>
                  <a:lnTo>
                    <a:pt x="1040" y="811"/>
                  </a:lnTo>
                  <a:lnTo>
                    <a:pt x="1037" y="806"/>
                  </a:lnTo>
                  <a:lnTo>
                    <a:pt x="1035" y="800"/>
                  </a:lnTo>
                  <a:lnTo>
                    <a:pt x="1033" y="788"/>
                  </a:lnTo>
                  <a:lnTo>
                    <a:pt x="1031" y="773"/>
                  </a:lnTo>
                  <a:lnTo>
                    <a:pt x="1028" y="737"/>
                  </a:lnTo>
                  <a:lnTo>
                    <a:pt x="1026" y="719"/>
                  </a:lnTo>
                  <a:lnTo>
                    <a:pt x="1024" y="702"/>
                  </a:lnTo>
                  <a:lnTo>
                    <a:pt x="1015" y="671"/>
                  </a:lnTo>
                  <a:lnTo>
                    <a:pt x="1013" y="655"/>
                  </a:lnTo>
                  <a:lnTo>
                    <a:pt x="1011" y="639"/>
                  </a:lnTo>
                  <a:lnTo>
                    <a:pt x="1004" y="635"/>
                  </a:lnTo>
                  <a:lnTo>
                    <a:pt x="1011" y="485"/>
                  </a:lnTo>
                  <a:lnTo>
                    <a:pt x="1004" y="461"/>
                  </a:lnTo>
                  <a:lnTo>
                    <a:pt x="998" y="436"/>
                  </a:lnTo>
                  <a:lnTo>
                    <a:pt x="993" y="410"/>
                  </a:lnTo>
                  <a:lnTo>
                    <a:pt x="988" y="387"/>
                  </a:lnTo>
                  <a:lnTo>
                    <a:pt x="982" y="365"/>
                  </a:lnTo>
                  <a:lnTo>
                    <a:pt x="975" y="339"/>
                  </a:lnTo>
                  <a:lnTo>
                    <a:pt x="971" y="327"/>
                  </a:lnTo>
                  <a:lnTo>
                    <a:pt x="966" y="316"/>
                  </a:lnTo>
                  <a:lnTo>
                    <a:pt x="959" y="307"/>
                  </a:lnTo>
                  <a:lnTo>
                    <a:pt x="955" y="303"/>
                  </a:lnTo>
                  <a:lnTo>
                    <a:pt x="951" y="299"/>
                  </a:lnTo>
                  <a:lnTo>
                    <a:pt x="944" y="314"/>
                  </a:lnTo>
                  <a:lnTo>
                    <a:pt x="940" y="307"/>
                  </a:lnTo>
                  <a:lnTo>
                    <a:pt x="940" y="299"/>
                  </a:lnTo>
                  <a:lnTo>
                    <a:pt x="939" y="278"/>
                  </a:lnTo>
                  <a:lnTo>
                    <a:pt x="939" y="269"/>
                  </a:lnTo>
                  <a:lnTo>
                    <a:pt x="935" y="258"/>
                  </a:lnTo>
                  <a:lnTo>
                    <a:pt x="931" y="249"/>
                  </a:lnTo>
                  <a:lnTo>
                    <a:pt x="928" y="240"/>
                  </a:lnTo>
                  <a:lnTo>
                    <a:pt x="919" y="220"/>
                  </a:lnTo>
                  <a:lnTo>
                    <a:pt x="915" y="207"/>
                  </a:lnTo>
                  <a:lnTo>
                    <a:pt x="913" y="192"/>
                  </a:lnTo>
                  <a:lnTo>
                    <a:pt x="913" y="187"/>
                  </a:lnTo>
                  <a:lnTo>
                    <a:pt x="915" y="180"/>
                  </a:lnTo>
                  <a:lnTo>
                    <a:pt x="917" y="172"/>
                  </a:lnTo>
                  <a:lnTo>
                    <a:pt x="919" y="167"/>
                  </a:lnTo>
                  <a:lnTo>
                    <a:pt x="919" y="163"/>
                  </a:lnTo>
                  <a:lnTo>
                    <a:pt x="919" y="158"/>
                  </a:lnTo>
                  <a:lnTo>
                    <a:pt x="917" y="154"/>
                  </a:lnTo>
                  <a:lnTo>
                    <a:pt x="917" y="151"/>
                  </a:lnTo>
                  <a:lnTo>
                    <a:pt x="913" y="142"/>
                  </a:lnTo>
                  <a:lnTo>
                    <a:pt x="913" y="140"/>
                  </a:lnTo>
                  <a:lnTo>
                    <a:pt x="915" y="132"/>
                  </a:lnTo>
                  <a:lnTo>
                    <a:pt x="915" y="123"/>
                  </a:lnTo>
                  <a:lnTo>
                    <a:pt x="915" y="118"/>
                  </a:lnTo>
                  <a:lnTo>
                    <a:pt x="911" y="112"/>
                  </a:lnTo>
                  <a:lnTo>
                    <a:pt x="910" y="109"/>
                  </a:lnTo>
                  <a:lnTo>
                    <a:pt x="906" y="105"/>
                  </a:lnTo>
                  <a:lnTo>
                    <a:pt x="904" y="102"/>
                  </a:lnTo>
                  <a:lnTo>
                    <a:pt x="902" y="100"/>
                  </a:lnTo>
                  <a:lnTo>
                    <a:pt x="900" y="94"/>
                  </a:lnTo>
                  <a:lnTo>
                    <a:pt x="899" y="91"/>
                  </a:lnTo>
                  <a:lnTo>
                    <a:pt x="897" y="78"/>
                  </a:lnTo>
                  <a:lnTo>
                    <a:pt x="897" y="67"/>
                  </a:lnTo>
                  <a:lnTo>
                    <a:pt x="893" y="58"/>
                  </a:lnTo>
                  <a:lnTo>
                    <a:pt x="890" y="49"/>
                  </a:lnTo>
                  <a:lnTo>
                    <a:pt x="886" y="45"/>
                  </a:lnTo>
                  <a:lnTo>
                    <a:pt x="882" y="38"/>
                  </a:lnTo>
                  <a:lnTo>
                    <a:pt x="881" y="34"/>
                  </a:lnTo>
                  <a:lnTo>
                    <a:pt x="881" y="29"/>
                  </a:lnTo>
                  <a:lnTo>
                    <a:pt x="881" y="25"/>
                  </a:lnTo>
                  <a:lnTo>
                    <a:pt x="882" y="13"/>
                  </a:lnTo>
                  <a:lnTo>
                    <a:pt x="882" y="11"/>
                  </a:lnTo>
                  <a:lnTo>
                    <a:pt x="881" y="5"/>
                  </a:lnTo>
                  <a:lnTo>
                    <a:pt x="881" y="2"/>
                  </a:lnTo>
                  <a:lnTo>
                    <a:pt x="881" y="0"/>
                  </a:lnTo>
                  <a:close/>
                </a:path>
              </a:pathLst>
            </a:custGeom>
            <a:solidFill>
              <a:srgbClr val="747480"/>
            </a:solidFill>
            <a:ln w="6350" cap="flat" cmpd="sng" algn="ctr">
              <a:solidFill>
                <a:srgbClr val="2E2E38"/>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646464"/>
                </a:solidFill>
                <a:effectLst/>
                <a:uLnTx/>
                <a:uFillTx/>
                <a:cs typeface="Times New Roman" panose="02020603050405020304" pitchFamily="18" charset="0"/>
              </a:endParaRPr>
            </a:p>
          </p:txBody>
        </p:sp>
        <p:sp>
          <p:nvSpPr>
            <p:cNvPr id="67" name="Line 145">
              <a:extLst>
                <a:ext uri="{FF2B5EF4-FFF2-40B4-BE49-F238E27FC236}">
                  <a16:creationId xmlns:a16="http://schemas.microsoft.com/office/drawing/2014/main" id="{6CBDBC15-9C41-C68B-9C6E-6886B1C2C517}"/>
                </a:ext>
              </a:extLst>
            </p:cNvPr>
            <p:cNvSpPr>
              <a:spLocks noChangeShapeType="1"/>
            </p:cNvSpPr>
            <p:nvPr/>
          </p:nvSpPr>
          <p:spPr bwMode="auto">
            <a:xfrm>
              <a:off x="6475611" y="4365640"/>
              <a:ext cx="915" cy="894"/>
            </a:xfrm>
            <a:prstGeom prst="line">
              <a:avLst/>
            </a:prstGeom>
            <a:noFill/>
            <a:ln w="3175">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646464"/>
                </a:solidFill>
                <a:effectLst/>
                <a:uLnTx/>
                <a:uFillTx/>
                <a:cs typeface="Times New Roman" panose="02020603050405020304" pitchFamily="18" charset="0"/>
              </a:endParaRPr>
            </a:p>
          </p:txBody>
        </p:sp>
        <p:grpSp>
          <p:nvGrpSpPr>
            <p:cNvPr id="68" name="Group 67">
              <a:extLst>
                <a:ext uri="{FF2B5EF4-FFF2-40B4-BE49-F238E27FC236}">
                  <a16:creationId xmlns:a16="http://schemas.microsoft.com/office/drawing/2014/main" id="{BB89FD14-5D23-6152-C582-93E00FB0BCC5}"/>
                </a:ext>
              </a:extLst>
            </p:cNvPr>
            <p:cNvGrpSpPr/>
            <p:nvPr/>
          </p:nvGrpSpPr>
          <p:grpSpPr>
            <a:xfrm>
              <a:off x="2992893" y="3581869"/>
              <a:ext cx="536648" cy="383416"/>
              <a:chOff x="1349375" y="1296988"/>
              <a:chExt cx="930276" cy="682625"/>
            </a:xfrm>
          </p:grpSpPr>
          <p:sp>
            <p:nvSpPr>
              <p:cNvPr id="131" name="Freeform 146">
                <a:extLst>
                  <a:ext uri="{FF2B5EF4-FFF2-40B4-BE49-F238E27FC236}">
                    <a16:creationId xmlns:a16="http://schemas.microsoft.com/office/drawing/2014/main" id="{6B6A6297-F47A-BE40-DD2F-2194ECBAD60C}"/>
                  </a:ext>
                </a:extLst>
              </p:cNvPr>
              <p:cNvSpPr>
                <a:spLocks noEditPoints="1"/>
              </p:cNvSpPr>
              <p:nvPr/>
            </p:nvSpPr>
            <p:spPr bwMode="auto">
              <a:xfrm>
                <a:off x="1349375" y="1296988"/>
                <a:ext cx="930274" cy="682625"/>
              </a:xfrm>
              <a:custGeom>
                <a:avLst/>
                <a:gdLst/>
                <a:ahLst/>
                <a:cxnLst>
                  <a:cxn ang="0">
                    <a:pos x="344" y="34"/>
                  </a:cxn>
                  <a:cxn ang="0">
                    <a:pos x="368" y="60"/>
                  </a:cxn>
                  <a:cxn ang="0">
                    <a:pos x="368" y="81"/>
                  </a:cxn>
                  <a:cxn ang="0">
                    <a:pos x="363" y="121"/>
                  </a:cxn>
                  <a:cxn ang="0">
                    <a:pos x="344" y="116"/>
                  </a:cxn>
                  <a:cxn ang="0">
                    <a:pos x="359" y="169"/>
                  </a:cxn>
                  <a:cxn ang="0">
                    <a:pos x="335" y="185"/>
                  </a:cxn>
                  <a:cxn ang="0">
                    <a:pos x="357" y="181"/>
                  </a:cxn>
                  <a:cxn ang="0">
                    <a:pos x="366" y="230"/>
                  </a:cxn>
                  <a:cxn ang="0">
                    <a:pos x="334" y="268"/>
                  </a:cxn>
                  <a:cxn ang="0">
                    <a:pos x="326" y="310"/>
                  </a:cxn>
                  <a:cxn ang="0">
                    <a:pos x="314" y="325"/>
                  </a:cxn>
                  <a:cxn ang="0">
                    <a:pos x="303" y="368"/>
                  </a:cxn>
                  <a:cxn ang="0">
                    <a:pos x="294" y="385"/>
                  </a:cxn>
                  <a:cxn ang="0">
                    <a:pos x="254" y="403"/>
                  </a:cxn>
                  <a:cxn ang="0">
                    <a:pos x="228" y="386"/>
                  </a:cxn>
                  <a:cxn ang="0">
                    <a:pos x="225" y="374"/>
                  </a:cxn>
                  <a:cxn ang="0">
                    <a:pos x="245" y="339"/>
                  </a:cxn>
                  <a:cxn ang="0">
                    <a:pos x="257" y="350"/>
                  </a:cxn>
                  <a:cxn ang="0">
                    <a:pos x="263" y="370"/>
                  </a:cxn>
                  <a:cxn ang="0">
                    <a:pos x="297" y="330"/>
                  </a:cxn>
                  <a:cxn ang="0">
                    <a:pos x="288" y="303"/>
                  </a:cxn>
                  <a:cxn ang="0">
                    <a:pos x="317" y="268"/>
                  </a:cxn>
                  <a:cxn ang="0">
                    <a:pos x="310" y="239"/>
                  </a:cxn>
                  <a:cxn ang="0">
                    <a:pos x="283" y="276"/>
                  </a:cxn>
                  <a:cxn ang="0">
                    <a:pos x="266" y="248"/>
                  </a:cxn>
                  <a:cxn ang="0">
                    <a:pos x="274" y="267"/>
                  </a:cxn>
                  <a:cxn ang="0">
                    <a:pos x="299" y="243"/>
                  </a:cxn>
                  <a:cxn ang="0">
                    <a:pos x="292" y="196"/>
                  </a:cxn>
                  <a:cxn ang="0">
                    <a:pos x="288" y="181"/>
                  </a:cxn>
                  <a:cxn ang="0">
                    <a:pos x="275" y="199"/>
                  </a:cxn>
                  <a:cxn ang="0">
                    <a:pos x="254" y="179"/>
                  </a:cxn>
                  <a:cxn ang="0">
                    <a:pos x="216" y="158"/>
                  </a:cxn>
                  <a:cxn ang="0">
                    <a:pos x="194" y="152"/>
                  </a:cxn>
                  <a:cxn ang="0">
                    <a:pos x="138" y="127"/>
                  </a:cxn>
                  <a:cxn ang="0">
                    <a:pos x="40" y="47"/>
                  </a:cxn>
                  <a:cxn ang="0">
                    <a:pos x="29" y="81"/>
                  </a:cxn>
                  <a:cxn ang="0">
                    <a:pos x="30" y="116"/>
                  </a:cxn>
                  <a:cxn ang="0">
                    <a:pos x="20" y="130"/>
                  </a:cxn>
                  <a:cxn ang="0">
                    <a:pos x="32" y="252"/>
                  </a:cxn>
                  <a:cxn ang="0">
                    <a:pos x="34" y="323"/>
                  </a:cxn>
                  <a:cxn ang="0">
                    <a:pos x="41" y="361"/>
                  </a:cxn>
                  <a:cxn ang="0">
                    <a:pos x="65" y="388"/>
                  </a:cxn>
                  <a:cxn ang="0">
                    <a:pos x="30" y="386"/>
                  </a:cxn>
                  <a:cxn ang="0">
                    <a:pos x="30" y="432"/>
                  </a:cxn>
                  <a:cxn ang="0">
                    <a:pos x="38" y="446"/>
                  </a:cxn>
                  <a:cxn ang="0">
                    <a:pos x="14" y="492"/>
                  </a:cxn>
                  <a:cxn ang="0">
                    <a:pos x="0" y="504"/>
                  </a:cxn>
                  <a:cxn ang="0">
                    <a:pos x="34" y="530"/>
                  </a:cxn>
                  <a:cxn ang="0">
                    <a:pos x="79" y="557"/>
                  </a:cxn>
                  <a:cxn ang="0">
                    <a:pos x="156" y="615"/>
                  </a:cxn>
                  <a:cxn ang="0">
                    <a:pos x="154" y="708"/>
                  </a:cxn>
                  <a:cxn ang="0">
                    <a:pos x="232" y="746"/>
                  </a:cxn>
                  <a:cxn ang="0">
                    <a:pos x="361" y="767"/>
                  </a:cxn>
                  <a:cxn ang="0">
                    <a:pos x="461" y="778"/>
                  </a:cxn>
                  <a:cxn ang="0">
                    <a:pos x="539" y="793"/>
                  </a:cxn>
                  <a:cxn ang="0">
                    <a:pos x="709" y="789"/>
                  </a:cxn>
                  <a:cxn ang="0">
                    <a:pos x="1039" y="858"/>
                  </a:cxn>
                  <a:cxn ang="0">
                    <a:pos x="1039" y="773"/>
                  </a:cxn>
                  <a:cxn ang="0">
                    <a:pos x="1043" y="181"/>
                  </a:cxn>
                  <a:cxn ang="0">
                    <a:pos x="286" y="307"/>
                  </a:cxn>
                </a:cxnLst>
                <a:rect l="0" t="0" r="r" b="b"/>
                <a:pathLst>
                  <a:path w="1172" h="860">
                    <a:moveTo>
                      <a:pt x="357" y="0"/>
                    </a:moveTo>
                    <a:lnTo>
                      <a:pt x="355" y="0"/>
                    </a:lnTo>
                    <a:lnTo>
                      <a:pt x="354" y="2"/>
                    </a:lnTo>
                    <a:lnTo>
                      <a:pt x="352" y="5"/>
                    </a:lnTo>
                    <a:lnTo>
                      <a:pt x="352" y="9"/>
                    </a:lnTo>
                    <a:lnTo>
                      <a:pt x="350" y="14"/>
                    </a:lnTo>
                    <a:lnTo>
                      <a:pt x="348" y="18"/>
                    </a:lnTo>
                    <a:lnTo>
                      <a:pt x="343" y="29"/>
                    </a:lnTo>
                    <a:lnTo>
                      <a:pt x="343" y="31"/>
                    </a:lnTo>
                    <a:lnTo>
                      <a:pt x="344" y="34"/>
                    </a:lnTo>
                    <a:lnTo>
                      <a:pt x="346" y="40"/>
                    </a:lnTo>
                    <a:lnTo>
                      <a:pt x="352" y="51"/>
                    </a:lnTo>
                    <a:lnTo>
                      <a:pt x="352" y="52"/>
                    </a:lnTo>
                    <a:lnTo>
                      <a:pt x="352" y="56"/>
                    </a:lnTo>
                    <a:lnTo>
                      <a:pt x="352" y="62"/>
                    </a:lnTo>
                    <a:lnTo>
                      <a:pt x="352" y="63"/>
                    </a:lnTo>
                    <a:lnTo>
                      <a:pt x="354" y="63"/>
                    </a:lnTo>
                    <a:lnTo>
                      <a:pt x="359" y="62"/>
                    </a:lnTo>
                    <a:lnTo>
                      <a:pt x="366" y="60"/>
                    </a:lnTo>
                    <a:lnTo>
                      <a:pt x="368" y="60"/>
                    </a:lnTo>
                    <a:lnTo>
                      <a:pt x="375" y="60"/>
                    </a:lnTo>
                    <a:lnTo>
                      <a:pt x="377" y="62"/>
                    </a:lnTo>
                    <a:lnTo>
                      <a:pt x="379" y="63"/>
                    </a:lnTo>
                    <a:lnTo>
                      <a:pt x="379" y="65"/>
                    </a:lnTo>
                    <a:lnTo>
                      <a:pt x="379" y="67"/>
                    </a:lnTo>
                    <a:lnTo>
                      <a:pt x="375" y="69"/>
                    </a:lnTo>
                    <a:lnTo>
                      <a:pt x="373" y="71"/>
                    </a:lnTo>
                    <a:lnTo>
                      <a:pt x="370" y="72"/>
                    </a:lnTo>
                    <a:lnTo>
                      <a:pt x="370" y="76"/>
                    </a:lnTo>
                    <a:lnTo>
                      <a:pt x="368" y="81"/>
                    </a:lnTo>
                    <a:lnTo>
                      <a:pt x="370" y="92"/>
                    </a:lnTo>
                    <a:lnTo>
                      <a:pt x="372" y="101"/>
                    </a:lnTo>
                    <a:lnTo>
                      <a:pt x="373" y="105"/>
                    </a:lnTo>
                    <a:lnTo>
                      <a:pt x="373" y="107"/>
                    </a:lnTo>
                    <a:lnTo>
                      <a:pt x="372" y="111"/>
                    </a:lnTo>
                    <a:lnTo>
                      <a:pt x="370" y="111"/>
                    </a:lnTo>
                    <a:lnTo>
                      <a:pt x="366" y="111"/>
                    </a:lnTo>
                    <a:lnTo>
                      <a:pt x="364" y="112"/>
                    </a:lnTo>
                    <a:lnTo>
                      <a:pt x="364" y="116"/>
                    </a:lnTo>
                    <a:lnTo>
                      <a:pt x="363" y="121"/>
                    </a:lnTo>
                    <a:lnTo>
                      <a:pt x="361" y="123"/>
                    </a:lnTo>
                    <a:lnTo>
                      <a:pt x="359" y="127"/>
                    </a:lnTo>
                    <a:lnTo>
                      <a:pt x="357" y="127"/>
                    </a:lnTo>
                    <a:lnTo>
                      <a:pt x="354" y="127"/>
                    </a:lnTo>
                    <a:lnTo>
                      <a:pt x="352" y="125"/>
                    </a:lnTo>
                    <a:lnTo>
                      <a:pt x="352" y="121"/>
                    </a:lnTo>
                    <a:lnTo>
                      <a:pt x="352" y="120"/>
                    </a:lnTo>
                    <a:lnTo>
                      <a:pt x="350" y="116"/>
                    </a:lnTo>
                    <a:lnTo>
                      <a:pt x="348" y="114"/>
                    </a:lnTo>
                    <a:lnTo>
                      <a:pt x="344" y="116"/>
                    </a:lnTo>
                    <a:lnTo>
                      <a:pt x="344" y="118"/>
                    </a:lnTo>
                    <a:lnTo>
                      <a:pt x="344" y="123"/>
                    </a:lnTo>
                    <a:lnTo>
                      <a:pt x="344" y="125"/>
                    </a:lnTo>
                    <a:lnTo>
                      <a:pt x="344" y="129"/>
                    </a:lnTo>
                    <a:lnTo>
                      <a:pt x="346" y="132"/>
                    </a:lnTo>
                    <a:lnTo>
                      <a:pt x="348" y="138"/>
                    </a:lnTo>
                    <a:lnTo>
                      <a:pt x="354" y="149"/>
                    </a:lnTo>
                    <a:lnTo>
                      <a:pt x="359" y="160"/>
                    </a:lnTo>
                    <a:lnTo>
                      <a:pt x="359" y="167"/>
                    </a:lnTo>
                    <a:lnTo>
                      <a:pt x="359" y="169"/>
                    </a:lnTo>
                    <a:lnTo>
                      <a:pt x="357" y="169"/>
                    </a:lnTo>
                    <a:lnTo>
                      <a:pt x="354" y="169"/>
                    </a:lnTo>
                    <a:lnTo>
                      <a:pt x="348" y="167"/>
                    </a:lnTo>
                    <a:lnTo>
                      <a:pt x="344" y="167"/>
                    </a:lnTo>
                    <a:lnTo>
                      <a:pt x="343" y="169"/>
                    </a:lnTo>
                    <a:lnTo>
                      <a:pt x="341" y="170"/>
                    </a:lnTo>
                    <a:lnTo>
                      <a:pt x="337" y="174"/>
                    </a:lnTo>
                    <a:lnTo>
                      <a:pt x="335" y="179"/>
                    </a:lnTo>
                    <a:lnTo>
                      <a:pt x="335" y="183"/>
                    </a:lnTo>
                    <a:lnTo>
                      <a:pt x="335" y="185"/>
                    </a:lnTo>
                    <a:lnTo>
                      <a:pt x="335" y="189"/>
                    </a:lnTo>
                    <a:lnTo>
                      <a:pt x="339" y="194"/>
                    </a:lnTo>
                    <a:lnTo>
                      <a:pt x="343" y="196"/>
                    </a:lnTo>
                    <a:lnTo>
                      <a:pt x="344" y="194"/>
                    </a:lnTo>
                    <a:lnTo>
                      <a:pt x="344" y="190"/>
                    </a:lnTo>
                    <a:lnTo>
                      <a:pt x="348" y="183"/>
                    </a:lnTo>
                    <a:lnTo>
                      <a:pt x="350" y="179"/>
                    </a:lnTo>
                    <a:lnTo>
                      <a:pt x="352" y="178"/>
                    </a:lnTo>
                    <a:lnTo>
                      <a:pt x="355" y="179"/>
                    </a:lnTo>
                    <a:lnTo>
                      <a:pt x="357" y="181"/>
                    </a:lnTo>
                    <a:lnTo>
                      <a:pt x="359" y="183"/>
                    </a:lnTo>
                    <a:lnTo>
                      <a:pt x="361" y="185"/>
                    </a:lnTo>
                    <a:lnTo>
                      <a:pt x="361" y="187"/>
                    </a:lnTo>
                    <a:lnTo>
                      <a:pt x="359" y="194"/>
                    </a:lnTo>
                    <a:lnTo>
                      <a:pt x="357" y="199"/>
                    </a:lnTo>
                    <a:lnTo>
                      <a:pt x="359" y="207"/>
                    </a:lnTo>
                    <a:lnTo>
                      <a:pt x="361" y="212"/>
                    </a:lnTo>
                    <a:lnTo>
                      <a:pt x="366" y="223"/>
                    </a:lnTo>
                    <a:lnTo>
                      <a:pt x="368" y="228"/>
                    </a:lnTo>
                    <a:lnTo>
                      <a:pt x="366" y="230"/>
                    </a:lnTo>
                    <a:lnTo>
                      <a:pt x="364" y="232"/>
                    </a:lnTo>
                    <a:lnTo>
                      <a:pt x="361" y="236"/>
                    </a:lnTo>
                    <a:lnTo>
                      <a:pt x="355" y="236"/>
                    </a:lnTo>
                    <a:lnTo>
                      <a:pt x="352" y="238"/>
                    </a:lnTo>
                    <a:lnTo>
                      <a:pt x="350" y="241"/>
                    </a:lnTo>
                    <a:lnTo>
                      <a:pt x="348" y="247"/>
                    </a:lnTo>
                    <a:lnTo>
                      <a:pt x="344" y="256"/>
                    </a:lnTo>
                    <a:lnTo>
                      <a:pt x="341" y="263"/>
                    </a:lnTo>
                    <a:lnTo>
                      <a:pt x="335" y="267"/>
                    </a:lnTo>
                    <a:lnTo>
                      <a:pt x="334" y="268"/>
                    </a:lnTo>
                    <a:lnTo>
                      <a:pt x="332" y="272"/>
                    </a:lnTo>
                    <a:lnTo>
                      <a:pt x="330" y="277"/>
                    </a:lnTo>
                    <a:lnTo>
                      <a:pt x="330" y="281"/>
                    </a:lnTo>
                    <a:lnTo>
                      <a:pt x="328" y="287"/>
                    </a:lnTo>
                    <a:lnTo>
                      <a:pt x="324" y="290"/>
                    </a:lnTo>
                    <a:lnTo>
                      <a:pt x="323" y="294"/>
                    </a:lnTo>
                    <a:lnTo>
                      <a:pt x="321" y="297"/>
                    </a:lnTo>
                    <a:lnTo>
                      <a:pt x="321" y="299"/>
                    </a:lnTo>
                    <a:lnTo>
                      <a:pt x="324" y="305"/>
                    </a:lnTo>
                    <a:lnTo>
                      <a:pt x="326" y="310"/>
                    </a:lnTo>
                    <a:lnTo>
                      <a:pt x="326" y="317"/>
                    </a:lnTo>
                    <a:lnTo>
                      <a:pt x="326" y="319"/>
                    </a:lnTo>
                    <a:lnTo>
                      <a:pt x="326" y="321"/>
                    </a:lnTo>
                    <a:lnTo>
                      <a:pt x="324" y="321"/>
                    </a:lnTo>
                    <a:lnTo>
                      <a:pt x="323" y="319"/>
                    </a:lnTo>
                    <a:lnTo>
                      <a:pt x="321" y="317"/>
                    </a:lnTo>
                    <a:lnTo>
                      <a:pt x="317" y="316"/>
                    </a:lnTo>
                    <a:lnTo>
                      <a:pt x="315" y="317"/>
                    </a:lnTo>
                    <a:lnTo>
                      <a:pt x="314" y="319"/>
                    </a:lnTo>
                    <a:lnTo>
                      <a:pt x="314" y="325"/>
                    </a:lnTo>
                    <a:lnTo>
                      <a:pt x="314" y="328"/>
                    </a:lnTo>
                    <a:lnTo>
                      <a:pt x="314" y="330"/>
                    </a:lnTo>
                    <a:lnTo>
                      <a:pt x="314" y="337"/>
                    </a:lnTo>
                    <a:lnTo>
                      <a:pt x="314" y="339"/>
                    </a:lnTo>
                    <a:lnTo>
                      <a:pt x="314" y="348"/>
                    </a:lnTo>
                    <a:lnTo>
                      <a:pt x="314" y="357"/>
                    </a:lnTo>
                    <a:lnTo>
                      <a:pt x="312" y="365"/>
                    </a:lnTo>
                    <a:lnTo>
                      <a:pt x="308" y="368"/>
                    </a:lnTo>
                    <a:lnTo>
                      <a:pt x="306" y="368"/>
                    </a:lnTo>
                    <a:lnTo>
                      <a:pt x="303" y="368"/>
                    </a:lnTo>
                    <a:lnTo>
                      <a:pt x="297" y="366"/>
                    </a:lnTo>
                    <a:lnTo>
                      <a:pt x="295" y="368"/>
                    </a:lnTo>
                    <a:lnTo>
                      <a:pt x="295" y="370"/>
                    </a:lnTo>
                    <a:lnTo>
                      <a:pt x="297" y="375"/>
                    </a:lnTo>
                    <a:lnTo>
                      <a:pt x="299" y="379"/>
                    </a:lnTo>
                    <a:lnTo>
                      <a:pt x="299" y="381"/>
                    </a:lnTo>
                    <a:lnTo>
                      <a:pt x="299" y="383"/>
                    </a:lnTo>
                    <a:lnTo>
                      <a:pt x="297" y="385"/>
                    </a:lnTo>
                    <a:lnTo>
                      <a:pt x="297" y="386"/>
                    </a:lnTo>
                    <a:lnTo>
                      <a:pt x="294" y="385"/>
                    </a:lnTo>
                    <a:lnTo>
                      <a:pt x="290" y="381"/>
                    </a:lnTo>
                    <a:lnTo>
                      <a:pt x="285" y="377"/>
                    </a:lnTo>
                    <a:lnTo>
                      <a:pt x="281" y="375"/>
                    </a:lnTo>
                    <a:lnTo>
                      <a:pt x="279" y="375"/>
                    </a:lnTo>
                    <a:lnTo>
                      <a:pt x="275" y="377"/>
                    </a:lnTo>
                    <a:lnTo>
                      <a:pt x="272" y="379"/>
                    </a:lnTo>
                    <a:lnTo>
                      <a:pt x="265" y="390"/>
                    </a:lnTo>
                    <a:lnTo>
                      <a:pt x="259" y="395"/>
                    </a:lnTo>
                    <a:lnTo>
                      <a:pt x="256" y="401"/>
                    </a:lnTo>
                    <a:lnTo>
                      <a:pt x="254" y="403"/>
                    </a:lnTo>
                    <a:lnTo>
                      <a:pt x="250" y="403"/>
                    </a:lnTo>
                    <a:lnTo>
                      <a:pt x="245" y="405"/>
                    </a:lnTo>
                    <a:lnTo>
                      <a:pt x="241" y="405"/>
                    </a:lnTo>
                    <a:lnTo>
                      <a:pt x="237" y="403"/>
                    </a:lnTo>
                    <a:lnTo>
                      <a:pt x="236" y="399"/>
                    </a:lnTo>
                    <a:lnTo>
                      <a:pt x="236" y="397"/>
                    </a:lnTo>
                    <a:lnTo>
                      <a:pt x="234" y="392"/>
                    </a:lnTo>
                    <a:lnTo>
                      <a:pt x="234" y="388"/>
                    </a:lnTo>
                    <a:lnTo>
                      <a:pt x="230" y="386"/>
                    </a:lnTo>
                    <a:lnTo>
                      <a:pt x="228" y="386"/>
                    </a:lnTo>
                    <a:lnTo>
                      <a:pt x="226" y="386"/>
                    </a:lnTo>
                    <a:lnTo>
                      <a:pt x="225" y="386"/>
                    </a:lnTo>
                    <a:lnTo>
                      <a:pt x="223" y="386"/>
                    </a:lnTo>
                    <a:lnTo>
                      <a:pt x="219" y="383"/>
                    </a:lnTo>
                    <a:lnTo>
                      <a:pt x="219" y="381"/>
                    </a:lnTo>
                    <a:lnTo>
                      <a:pt x="219" y="379"/>
                    </a:lnTo>
                    <a:lnTo>
                      <a:pt x="219" y="375"/>
                    </a:lnTo>
                    <a:lnTo>
                      <a:pt x="221" y="374"/>
                    </a:lnTo>
                    <a:lnTo>
                      <a:pt x="221" y="372"/>
                    </a:lnTo>
                    <a:lnTo>
                      <a:pt x="225" y="374"/>
                    </a:lnTo>
                    <a:lnTo>
                      <a:pt x="226" y="375"/>
                    </a:lnTo>
                    <a:lnTo>
                      <a:pt x="228" y="375"/>
                    </a:lnTo>
                    <a:lnTo>
                      <a:pt x="230" y="372"/>
                    </a:lnTo>
                    <a:lnTo>
                      <a:pt x="230" y="363"/>
                    </a:lnTo>
                    <a:lnTo>
                      <a:pt x="230" y="361"/>
                    </a:lnTo>
                    <a:lnTo>
                      <a:pt x="230" y="356"/>
                    </a:lnTo>
                    <a:lnTo>
                      <a:pt x="236" y="345"/>
                    </a:lnTo>
                    <a:lnTo>
                      <a:pt x="239" y="341"/>
                    </a:lnTo>
                    <a:lnTo>
                      <a:pt x="243" y="337"/>
                    </a:lnTo>
                    <a:lnTo>
                      <a:pt x="245" y="339"/>
                    </a:lnTo>
                    <a:lnTo>
                      <a:pt x="246" y="341"/>
                    </a:lnTo>
                    <a:lnTo>
                      <a:pt x="245" y="348"/>
                    </a:lnTo>
                    <a:lnTo>
                      <a:pt x="245" y="356"/>
                    </a:lnTo>
                    <a:lnTo>
                      <a:pt x="245" y="357"/>
                    </a:lnTo>
                    <a:lnTo>
                      <a:pt x="246" y="359"/>
                    </a:lnTo>
                    <a:lnTo>
                      <a:pt x="248" y="359"/>
                    </a:lnTo>
                    <a:lnTo>
                      <a:pt x="250" y="359"/>
                    </a:lnTo>
                    <a:lnTo>
                      <a:pt x="252" y="356"/>
                    </a:lnTo>
                    <a:lnTo>
                      <a:pt x="256" y="352"/>
                    </a:lnTo>
                    <a:lnTo>
                      <a:pt x="257" y="350"/>
                    </a:lnTo>
                    <a:lnTo>
                      <a:pt x="259" y="348"/>
                    </a:lnTo>
                    <a:lnTo>
                      <a:pt x="263" y="345"/>
                    </a:lnTo>
                    <a:lnTo>
                      <a:pt x="265" y="343"/>
                    </a:lnTo>
                    <a:lnTo>
                      <a:pt x="266" y="345"/>
                    </a:lnTo>
                    <a:lnTo>
                      <a:pt x="266" y="348"/>
                    </a:lnTo>
                    <a:lnTo>
                      <a:pt x="263" y="354"/>
                    </a:lnTo>
                    <a:lnTo>
                      <a:pt x="261" y="357"/>
                    </a:lnTo>
                    <a:lnTo>
                      <a:pt x="259" y="363"/>
                    </a:lnTo>
                    <a:lnTo>
                      <a:pt x="261" y="366"/>
                    </a:lnTo>
                    <a:lnTo>
                      <a:pt x="263" y="370"/>
                    </a:lnTo>
                    <a:lnTo>
                      <a:pt x="265" y="370"/>
                    </a:lnTo>
                    <a:lnTo>
                      <a:pt x="266" y="372"/>
                    </a:lnTo>
                    <a:lnTo>
                      <a:pt x="270" y="370"/>
                    </a:lnTo>
                    <a:lnTo>
                      <a:pt x="274" y="368"/>
                    </a:lnTo>
                    <a:lnTo>
                      <a:pt x="275" y="363"/>
                    </a:lnTo>
                    <a:lnTo>
                      <a:pt x="279" y="359"/>
                    </a:lnTo>
                    <a:lnTo>
                      <a:pt x="286" y="343"/>
                    </a:lnTo>
                    <a:lnTo>
                      <a:pt x="292" y="337"/>
                    </a:lnTo>
                    <a:lnTo>
                      <a:pt x="295" y="334"/>
                    </a:lnTo>
                    <a:lnTo>
                      <a:pt x="297" y="330"/>
                    </a:lnTo>
                    <a:lnTo>
                      <a:pt x="299" y="323"/>
                    </a:lnTo>
                    <a:lnTo>
                      <a:pt x="299" y="321"/>
                    </a:lnTo>
                    <a:lnTo>
                      <a:pt x="299" y="310"/>
                    </a:lnTo>
                    <a:lnTo>
                      <a:pt x="299" y="308"/>
                    </a:lnTo>
                    <a:lnTo>
                      <a:pt x="295" y="307"/>
                    </a:lnTo>
                    <a:lnTo>
                      <a:pt x="294" y="307"/>
                    </a:lnTo>
                    <a:lnTo>
                      <a:pt x="292" y="307"/>
                    </a:lnTo>
                    <a:lnTo>
                      <a:pt x="290" y="307"/>
                    </a:lnTo>
                    <a:lnTo>
                      <a:pt x="290" y="305"/>
                    </a:lnTo>
                    <a:lnTo>
                      <a:pt x="288" y="303"/>
                    </a:lnTo>
                    <a:lnTo>
                      <a:pt x="288" y="301"/>
                    </a:lnTo>
                    <a:lnTo>
                      <a:pt x="290" y="292"/>
                    </a:lnTo>
                    <a:lnTo>
                      <a:pt x="292" y="287"/>
                    </a:lnTo>
                    <a:lnTo>
                      <a:pt x="294" y="283"/>
                    </a:lnTo>
                    <a:lnTo>
                      <a:pt x="295" y="279"/>
                    </a:lnTo>
                    <a:lnTo>
                      <a:pt x="303" y="276"/>
                    </a:lnTo>
                    <a:lnTo>
                      <a:pt x="310" y="274"/>
                    </a:lnTo>
                    <a:lnTo>
                      <a:pt x="315" y="272"/>
                    </a:lnTo>
                    <a:lnTo>
                      <a:pt x="317" y="270"/>
                    </a:lnTo>
                    <a:lnTo>
                      <a:pt x="317" y="268"/>
                    </a:lnTo>
                    <a:lnTo>
                      <a:pt x="319" y="263"/>
                    </a:lnTo>
                    <a:lnTo>
                      <a:pt x="319" y="258"/>
                    </a:lnTo>
                    <a:lnTo>
                      <a:pt x="319" y="254"/>
                    </a:lnTo>
                    <a:lnTo>
                      <a:pt x="317" y="247"/>
                    </a:lnTo>
                    <a:lnTo>
                      <a:pt x="317" y="243"/>
                    </a:lnTo>
                    <a:lnTo>
                      <a:pt x="317" y="241"/>
                    </a:lnTo>
                    <a:lnTo>
                      <a:pt x="315" y="238"/>
                    </a:lnTo>
                    <a:lnTo>
                      <a:pt x="314" y="238"/>
                    </a:lnTo>
                    <a:lnTo>
                      <a:pt x="312" y="238"/>
                    </a:lnTo>
                    <a:lnTo>
                      <a:pt x="310" y="239"/>
                    </a:lnTo>
                    <a:lnTo>
                      <a:pt x="308" y="247"/>
                    </a:lnTo>
                    <a:lnTo>
                      <a:pt x="306" y="254"/>
                    </a:lnTo>
                    <a:lnTo>
                      <a:pt x="305" y="258"/>
                    </a:lnTo>
                    <a:lnTo>
                      <a:pt x="303" y="259"/>
                    </a:lnTo>
                    <a:lnTo>
                      <a:pt x="299" y="261"/>
                    </a:lnTo>
                    <a:lnTo>
                      <a:pt x="295" y="261"/>
                    </a:lnTo>
                    <a:lnTo>
                      <a:pt x="292" y="263"/>
                    </a:lnTo>
                    <a:lnTo>
                      <a:pt x="288" y="267"/>
                    </a:lnTo>
                    <a:lnTo>
                      <a:pt x="285" y="270"/>
                    </a:lnTo>
                    <a:lnTo>
                      <a:pt x="283" y="276"/>
                    </a:lnTo>
                    <a:lnTo>
                      <a:pt x="279" y="279"/>
                    </a:lnTo>
                    <a:lnTo>
                      <a:pt x="274" y="281"/>
                    </a:lnTo>
                    <a:lnTo>
                      <a:pt x="268" y="283"/>
                    </a:lnTo>
                    <a:lnTo>
                      <a:pt x="254" y="285"/>
                    </a:lnTo>
                    <a:lnTo>
                      <a:pt x="246" y="283"/>
                    </a:lnTo>
                    <a:lnTo>
                      <a:pt x="246" y="281"/>
                    </a:lnTo>
                    <a:lnTo>
                      <a:pt x="246" y="277"/>
                    </a:lnTo>
                    <a:lnTo>
                      <a:pt x="250" y="272"/>
                    </a:lnTo>
                    <a:lnTo>
                      <a:pt x="257" y="259"/>
                    </a:lnTo>
                    <a:lnTo>
                      <a:pt x="266" y="248"/>
                    </a:lnTo>
                    <a:lnTo>
                      <a:pt x="270" y="245"/>
                    </a:lnTo>
                    <a:lnTo>
                      <a:pt x="272" y="243"/>
                    </a:lnTo>
                    <a:lnTo>
                      <a:pt x="274" y="245"/>
                    </a:lnTo>
                    <a:lnTo>
                      <a:pt x="275" y="247"/>
                    </a:lnTo>
                    <a:lnTo>
                      <a:pt x="275" y="248"/>
                    </a:lnTo>
                    <a:lnTo>
                      <a:pt x="274" y="254"/>
                    </a:lnTo>
                    <a:lnTo>
                      <a:pt x="272" y="261"/>
                    </a:lnTo>
                    <a:lnTo>
                      <a:pt x="270" y="265"/>
                    </a:lnTo>
                    <a:lnTo>
                      <a:pt x="272" y="267"/>
                    </a:lnTo>
                    <a:lnTo>
                      <a:pt x="274" y="267"/>
                    </a:lnTo>
                    <a:lnTo>
                      <a:pt x="275" y="267"/>
                    </a:lnTo>
                    <a:lnTo>
                      <a:pt x="277" y="265"/>
                    </a:lnTo>
                    <a:lnTo>
                      <a:pt x="281" y="258"/>
                    </a:lnTo>
                    <a:lnTo>
                      <a:pt x="285" y="252"/>
                    </a:lnTo>
                    <a:lnTo>
                      <a:pt x="288" y="247"/>
                    </a:lnTo>
                    <a:lnTo>
                      <a:pt x="292" y="245"/>
                    </a:lnTo>
                    <a:lnTo>
                      <a:pt x="294" y="243"/>
                    </a:lnTo>
                    <a:lnTo>
                      <a:pt x="295" y="243"/>
                    </a:lnTo>
                    <a:lnTo>
                      <a:pt x="297" y="243"/>
                    </a:lnTo>
                    <a:lnTo>
                      <a:pt x="299" y="243"/>
                    </a:lnTo>
                    <a:lnTo>
                      <a:pt x="301" y="243"/>
                    </a:lnTo>
                    <a:lnTo>
                      <a:pt x="303" y="241"/>
                    </a:lnTo>
                    <a:lnTo>
                      <a:pt x="303" y="238"/>
                    </a:lnTo>
                    <a:lnTo>
                      <a:pt x="301" y="228"/>
                    </a:lnTo>
                    <a:lnTo>
                      <a:pt x="299" y="221"/>
                    </a:lnTo>
                    <a:lnTo>
                      <a:pt x="295" y="216"/>
                    </a:lnTo>
                    <a:lnTo>
                      <a:pt x="294" y="209"/>
                    </a:lnTo>
                    <a:lnTo>
                      <a:pt x="290" y="201"/>
                    </a:lnTo>
                    <a:lnTo>
                      <a:pt x="290" y="198"/>
                    </a:lnTo>
                    <a:lnTo>
                      <a:pt x="292" y="196"/>
                    </a:lnTo>
                    <a:lnTo>
                      <a:pt x="294" y="192"/>
                    </a:lnTo>
                    <a:lnTo>
                      <a:pt x="295" y="192"/>
                    </a:lnTo>
                    <a:lnTo>
                      <a:pt x="299" y="190"/>
                    </a:lnTo>
                    <a:lnTo>
                      <a:pt x="301" y="189"/>
                    </a:lnTo>
                    <a:lnTo>
                      <a:pt x="301" y="187"/>
                    </a:lnTo>
                    <a:lnTo>
                      <a:pt x="299" y="183"/>
                    </a:lnTo>
                    <a:lnTo>
                      <a:pt x="299" y="181"/>
                    </a:lnTo>
                    <a:lnTo>
                      <a:pt x="297" y="181"/>
                    </a:lnTo>
                    <a:lnTo>
                      <a:pt x="294" y="181"/>
                    </a:lnTo>
                    <a:lnTo>
                      <a:pt x="288" y="181"/>
                    </a:lnTo>
                    <a:lnTo>
                      <a:pt x="285" y="183"/>
                    </a:lnTo>
                    <a:lnTo>
                      <a:pt x="279" y="187"/>
                    </a:lnTo>
                    <a:lnTo>
                      <a:pt x="279" y="192"/>
                    </a:lnTo>
                    <a:lnTo>
                      <a:pt x="283" y="199"/>
                    </a:lnTo>
                    <a:lnTo>
                      <a:pt x="283" y="205"/>
                    </a:lnTo>
                    <a:lnTo>
                      <a:pt x="281" y="205"/>
                    </a:lnTo>
                    <a:lnTo>
                      <a:pt x="279" y="205"/>
                    </a:lnTo>
                    <a:lnTo>
                      <a:pt x="277" y="205"/>
                    </a:lnTo>
                    <a:lnTo>
                      <a:pt x="277" y="203"/>
                    </a:lnTo>
                    <a:lnTo>
                      <a:pt x="275" y="199"/>
                    </a:lnTo>
                    <a:lnTo>
                      <a:pt x="275" y="196"/>
                    </a:lnTo>
                    <a:lnTo>
                      <a:pt x="274" y="192"/>
                    </a:lnTo>
                    <a:lnTo>
                      <a:pt x="272" y="190"/>
                    </a:lnTo>
                    <a:lnTo>
                      <a:pt x="272" y="189"/>
                    </a:lnTo>
                    <a:lnTo>
                      <a:pt x="268" y="189"/>
                    </a:lnTo>
                    <a:lnTo>
                      <a:pt x="266" y="189"/>
                    </a:lnTo>
                    <a:lnTo>
                      <a:pt x="265" y="189"/>
                    </a:lnTo>
                    <a:lnTo>
                      <a:pt x="263" y="187"/>
                    </a:lnTo>
                    <a:lnTo>
                      <a:pt x="257" y="185"/>
                    </a:lnTo>
                    <a:lnTo>
                      <a:pt x="254" y="179"/>
                    </a:lnTo>
                    <a:lnTo>
                      <a:pt x="252" y="174"/>
                    </a:lnTo>
                    <a:lnTo>
                      <a:pt x="248" y="169"/>
                    </a:lnTo>
                    <a:lnTo>
                      <a:pt x="246" y="165"/>
                    </a:lnTo>
                    <a:lnTo>
                      <a:pt x="243" y="165"/>
                    </a:lnTo>
                    <a:lnTo>
                      <a:pt x="237" y="165"/>
                    </a:lnTo>
                    <a:lnTo>
                      <a:pt x="232" y="167"/>
                    </a:lnTo>
                    <a:lnTo>
                      <a:pt x="230" y="167"/>
                    </a:lnTo>
                    <a:lnTo>
                      <a:pt x="228" y="165"/>
                    </a:lnTo>
                    <a:lnTo>
                      <a:pt x="223" y="161"/>
                    </a:lnTo>
                    <a:lnTo>
                      <a:pt x="216" y="158"/>
                    </a:lnTo>
                    <a:lnTo>
                      <a:pt x="214" y="158"/>
                    </a:lnTo>
                    <a:lnTo>
                      <a:pt x="212" y="158"/>
                    </a:lnTo>
                    <a:lnTo>
                      <a:pt x="210" y="158"/>
                    </a:lnTo>
                    <a:lnTo>
                      <a:pt x="208" y="156"/>
                    </a:lnTo>
                    <a:lnTo>
                      <a:pt x="207" y="152"/>
                    </a:lnTo>
                    <a:lnTo>
                      <a:pt x="205" y="152"/>
                    </a:lnTo>
                    <a:lnTo>
                      <a:pt x="203" y="152"/>
                    </a:lnTo>
                    <a:lnTo>
                      <a:pt x="199" y="152"/>
                    </a:lnTo>
                    <a:lnTo>
                      <a:pt x="196" y="152"/>
                    </a:lnTo>
                    <a:lnTo>
                      <a:pt x="194" y="152"/>
                    </a:lnTo>
                    <a:lnTo>
                      <a:pt x="190" y="152"/>
                    </a:lnTo>
                    <a:lnTo>
                      <a:pt x="188" y="150"/>
                    </a:lnTo>
                    <a:lnTo>
                      <a:pt x="187" y="149"/>
                    </a:lnTo>
                    <a:lnTo>
                      <a:pt x="185" y="147"/>
                    </a:lnTo>
                    <a:lnTo>
                      <a:pt x="181" y="143"/>
                    </a:lnTo>
                    <a:lnTo>
                      <a:pt x="170" y="140"/>
                    </a:lnTo>
                    <a:lnTo>
                      <a:pt x="165" y="136"/>
                    </a:lnTo>
                    <a:lnTo>
                      <a:pt x="158" y="132"/>
                    </a:lnTo>
                    <a:lnTo>
                      <a:pt x="145" y="129"/>
                    </a:lnTo>
                    <a:lnTo>
                      <a:pt x="138" y="127"/>
                    </a:lnTo>
                    <a:lnTo>
                      <a:pt x="132" y="123"/>
                    </a:lnTo>
                    <a:lnTo>
                      <a:pt x="127" y="121"/>
                    </a:lnTo>
                    <a:lnTo>
                      <a:pt x="121" y="118"/>
                    </a:lnTo>
                    <a:lnTo>
                      <a:pt x="116" y="112"/>
                    </a:lnTo>
                    <a:lnTo>
                      <a:pt x="110" y="109"/>
                    </a:lnTo>
                    <a:lnTo>
                      <a:pt x="90" y="91"/>
                    </a:lnTo>
                    <a:lnTo>
                      <a:pt x="69" y="72"/>
                    </a:lnTo>
                    <a:lnTo>
                      <a:pt x="58" y="62"/>
                    </a:lnTo>
                    <a:lnTo>
                      <a:pt x="43" y="51"/>
                    </a:lnTo>
                    <a:lnTo>
                      <a:pt x="40" y="47"/>
                    </a:lnTo>
                    <a:lnTo>
                      <a:pt x="36" y="47"/>
                    </a:lnTo>
                    <a:lnTo>
                      <a:pt x="34" y="47"/>
                    </a:lnTo>
                    <a:lnTo>
                      <a:pt x="34" y="49"/>
                    </a:lnTo>
                    <a:lnTo>
                      <a:pt x="34" y="54"/>
                    </a:lnTo>
                    <a:lnTo>
                      <a:pt x="36" y="60"/>
                    </a:lnTo>
                    <a:lnTo>
                      <a:pt x="36" y="62"/>
                    </a:lnTo>
                    <a:lnTo>
                      <a:pt x="38" y="69"/>
                    </a:lnTo>
                    <a:lnTo>
                      <a:pt x="38" y="71"/>
                    </a:lnTo>
                    <a:lnTo>
                      <a:pt x="34" y="76"/>
                    </a:lnTo>
                    <a:lnTo>
                      <a:pt x="29" y="81"/>
                    </a:lnTo>
                    <a:lnTo>
                      <a:pt x="23" y="89"/>
                    </a:lnTo>
                    <a:lnTo>
                      <a:pt x="23" y="91"/>
                    </a:lnTo>
                    <a:lnTo>
                      <a:pt x="21" y="94"/>
                    </a:lnTo>
                    <a:lnTo>
                      <a:pt x="21" y="96"/>
                    </a:lnTo>
                    <a:lnTo>
                      <a:pt x="23" y="100"/>
                    </a:lnTo>
                    <a:lnTo>
                      <a:pt x="25" y="101"/>
                    </a:lnTo>
                    <a:lnTo>
                      <a:pt x="29" y="105"/>
                    </a:lnTo>
                    <a:lnTo>
                      <a:pt x="30" y="109"/>
                    </a:lnTo>
                    <a:lnTo>
                      <a:pt x="32" y="112"/>
                    </a:lnTo>
                    <a:lnTo>
                      <a:pt x="30" y="116"/>
                    </a:lnTo>
                    <a:lnTo>
                      <a:pt x="30" y="121"/>
                    </a:lnTo>
                    <a:lnTo>
                      <a:pt x="29" y="121"/>
                    </a:lnTo>
                    <a:lnTo>
                      <a:pt x="27" y="121"/>
                    </a:lnTo>
                    <a:lnTo>
                      <a:pt x="25" y="120"/>
                    </a:lnTo>
                    <a:lnTo>
                      <a:pt x="21" y="118"/>
                    </a:lnTo>
                    <a:lnTo>
                      <a:pt x="20" y="120"/>
                    </a:lnTo>
                    <a:lnTo>
                      <a:pt x="18" y="121"/>
                    </a:lnTo>
                    <a:lnTo>
                      <a:pt x="18" y="125"/>
                    </a:lnTo>
                    <a:lnTo>
                      <a:pt x="18" y="127"/>
                    </a:lnTo>
                    <a:lnTo>
                      <a:pt x="20" y="130"/>
                    </a:lnTo>
                    <a:lnTo>
                      <a:pt x="20" y="132"/>
                    </a:lnTo>
                    <a:lnTo>
                      <a:pt x="23" y="145"/>
                    </a:lnTo>
                    <a:lnTo>
                      <a:pt x="27" y="158"/>
                    </a:lnTo>
                    <a:lnTo>
                      <a:pt x="30" y="170"/>
                    </a:lnTo>
                    <a:lnTo>
                      <a:pt x="32" y="185"/>
                    </a:lnTo>
                    <a:lnTo>
                      <a:pt x="36" y="205"/>
                    </a:lnTo>
                    <a:lnTo>
                      <a:pt x="38" y="225"/>
                    </a:lnTo>
                    <a:lnTo>
                      <a:pt x="36" y="238"/>
                    </a:lnTo>
                    <a:lnTo>
                      <a:pt x="34" y="245"/>
                    </a:lnTo>
                    <a:lnTo>
                      <a:pt x="32" y="252"/>
                    </a:lnTo>
                    <a:lnTo>
                      <a:pt x="30" y="263"/>
                    </a:lnTo>
                    <a:lnTo>
                      <a:pt x="29" y="268"/>
                    </a:lnTo>
                    <a:lnTo>
                      <a:pt x="29" y="274"/>
                    </a:lnTo>
                    <a:lnTo>
                      <a:pt x="29" y="277"/>
                    </a:lnTo>
                    <a:lnTo>
                      <a:pt x="30" y="285"/>
                    </a:lnTo>
                    <a:lnTo>
                      <a:pt x="32" y="294"/>
                    </a:lnTo>
                    <a:lnTo>
                      <a:pt x="34" y="301"/>
                    </a:lnTo>
                    <a:lnTo>
                      <a:pt x="34" y="308"/>
                    </a:lnTo>
                    <a:lnTo>
                      <a:pt x="36" y="312"/>
                    </a:lnTo>
                    <a:lnTo>
                      <a:pt x="34" y="323"/>
                    </a:lnTo>
                    <a:lnTo>
                      <a:pt x="32" y="334"/>
                    </a:lnTo>
                    <a:lnTo>
                      <a:pt x="30" y="345"/>
                    </a:lnTo>
                    <a:lnTo>
                      <a:pt x="29" y="356"/>
                    </a:lnTo>
                    <a:lnTo>
                      <a:pt x="29" y="357"/>
                    </a:lnTo>
                    <a:lnTo>
                      <a:pt x="29" y="361"/>
                    </a:lnTo>
                    <a:lnTo>
                      <a:pt x="30" y="361"/>
                    </a:lnTo>
                    <a:lnTo>
                      <a:pt x="34" y="361"/>
                    </a:lnTo>
                    <a:lnTo>
                      <a:pt x="38" y="359"/>
                    </a:lnTo>
                    <a:lnTo>
                      <a:pt x="40" y="359"/>
                    </a:lnTo>
                    <a:lnTo>
                      <a:pt x="41" y="361"/>
                    </a:lnTo>
                    <a:lnTo>
                      <a:pt x="45" y="366"/>
                    </a:lnTo>
                    <a:lnTo>
                      <a:pt x="49" y="370"/>
                    </a:lnTo>
                    <a:lnTo>
                      <a:pt x="52" y="374"/>
                    </a:lnTo>
                    <a:lnTo>
                      <a:pt x="61" y="379"/>
                    </a:lnTo>
                    <a:lnTo>
                      <a:pt x="67" y="381"/>
                    </a:lnTo>
                    <a:lnTo>
                      <a:pt x="69" y="383"/>
                    </a:lnTo>
                    <a:lnTo>
                      <a:pt x="69" y="385"/>
                    </a:lnTo>
                    <a:lnTo>
                      <a:pt x="69" y="386"/>
                    </a:lnTo>
                    <a:lnTo>
                      <a:pt x="67" y="388"/>
                    </a:lnTo>
                    <a:lnTo>
                      <a:pt x="65" y="388"/>
                    </a:lnTo>
                    <a:lnTo>
                      <a:pt x="60" y="388"/>
                    </a:lnTo>
                    <a:lnTo>
                      <a:pt x="56" y="386"/>
                    </a:lnTo>
                    <a:lnTo>
                      <a:pt x="50" y="386"/>
                    </a:lnTo>
                    <a:lnTo>
                      <a:pt x="43" y="388"/>
                    </a:lnTo>
                    <a:lnTo>
                      <a:pt x="38" y="392"/>
                    </a:lnTo>
                    <a:lnTo>
                      <a:pt x="32" y="394"/>
                    </a:lnTo>
                    <a:lnTo>
                      <a:pt x="32" y="392"/>
                    </a:lnTo>
                    <a:lnTo>
                      <a:pt x="32" y="390"/>
                    </a:lnTo>
                    <a:lnTo>
                      <a:pt x="32" y="388"/>
                    </a:lnTo>
                    <a:lnTo>
                      <a:pt x="30" y="386"/>
                    </a:lnTo>
                    <a:lnTo>
                      <a:pt x="29" y="386"/>
                    </a:lnTo>
                    <a:lnTo>
                      <a:pt x="27" y="386"/>
                    </a:lnTo>
                    <a:lnTo>
                      <a:pt x="25" y="390"/>
                    </a:lnTo>
                    <a:lnTo>
                      <a:pt x="25" y="392"/>
                    </a:lnTo>
                    <a:lnTo>
                      <a:pt x="21" y="408"/>
                    </a:lnTo>
                    <a:lnTo>
                      <a:pt x="20" y="421"/>
                    </a:lnTo>
                    <a:lnTo>
                      <a:pt x="20" y="424"/>
                    </a:lnTo>
                    <a:lnTo>
                      <a:pt x="21" y="428"/>
                    </a:lnTo>
                    <a:lnTo>
                      <a:pt x="25" y="430"/>
                    </a:lnTo>
                    <a:lnTo>
                      <a:pt x="30" y="432"/>
                    </a:lnTo>
                    <a:lnTo>
                      <a:pt x="40" y="430"/>
                    </a:lnTo>
                    <a:lnTo>
                      <a:pt x="49" y="428"/>
                    </a:lnTo>
                    <a:lnTo>
                      <a:pt x="49" y="430"/>
                    </a:lnTo>
                    <a:lnTo>
                      <a:pt x="50" y="432"/>
                    </a:lnTo>
                    <a:lnTo>
                      <a:pt x="52" y="434"/>
                    </a:lnTo>
                    <a:lnTo>
                      <a:pt x="50" y="435"/>
                    </a:lnTo>
                    <a:lnTo>
                      <a:pt x="47" y="437"/>
                    </a:lnTo>
                    <a:lnTo>
                      <a:pt x="41" y="439"/>
                    </a:lnTo>
                    <a:lnTo>
                      <a:pt x="40" y="443"/>
                    </a:lnTo>
                    <a:lnTo>
                      <a:pt x="38" y="446"/>
                    </a:lnTo>
                    <a:lnTo>
                      <a:pt x="36" y="454"/>
                    </a:lnTo>
                    <a:lnTo>
                      <a:pt x="36" y="464"/>
                    </a:lnTo>
                    <a:lnTo>
                      <a:pt x="36" y="472"/>
                    </a:lnTo>
                    <a:lnTo>
                      <a:pt x="34" y="473"/>
                    </a:lnTo>
                    <a:lnTo>
                      <a:pt x="32" y="475"/>
                    </a:lnTo>
                    <a:lnTo>
                      <a:pt x="29" y="477"/>
                    </a:lnTo>
                    <a:lnTo>
                      <a:pt x="23" y="479"/>
                    </a:lnTo>
                    <a:lnTo>
                      <a:pt x="18" y="477"/>
                    </a:lnTo>
                    <a:lnTo>
                      <a:pt x="16" y="486"/>
                    </a:lnTo>
                    <a:lnTo>
                      <a:pt x="14" y="492"/>
                    </a:lnTo>
                    <a:lnTo>
                      <a:pt x="11" y="495"/>
                    </a:lnTo>
                    <a:lnTo>
                      <a:pt x="11" y="493"/>
                    </a:lnTo>
                    <a:lnTo>
                      <a:pt x="9" y="492"/>
                    </a:lnTo>
                    <a:lnTo>
                      <a:pt x="9" y="488"/>
                    </a:lnTo>
                    <a:lnTo>
                      <a:pt x="11" y="477"/>
                    </a:lnTo>
                    <a:lnTo>
                      <a:pt x="9" y="475"/>
                    </a:lnTo>
                    <a:lnTo>
                      <a:pt x="7" y="475"/>
                    </a:lnTo>
                    <a:lnTo>
                      <a:pt x="5" y="477"/>
                    </a:lnTo>
                    <a:lnTo>
                      <a:pt x="3" y="486"/>
                    </a:lnTo>
                    <a:lnTo>
                      <a:pt x="0" y="504"/>
                    </a:lnTo>
                    <a:lnTo>
                      <a:pt x="0" y="508"/>
                    </a:lnTo>
                    <a:lnTo>
                      <a:pt x="1" y="512"/>
                    </a:lnTo>
                    <a:lnTo>
                      <a:pt x="3" y="515"/>
                    </a:lnTo>
                    <a:lnTo>
                      <a:pt x="9" y="522"/>
                    </a:lnTo>
                    <a:lnTo>
                      <a:pt x="12" y="526"/>
                    </a:lnTo>
                    <a:lnTo>
                      <a:pt x="16" y="530"/>
                    </a:lnTo>
                    <a:lnTo>
                      <a:pt x="20" y="530"/>
                    </a:lnTo>
                    <a:lnTo>
                      <a:pt x="23" y="532"/>
                    </a:lnTo>
                    <a:lnTo>
                      <a:pt x="32" y="530"/>
                    </a:lnTo>
                    <a:lnTo>
                      <a:pt x="34" y="530"/>
                    </a:lnTo>
                    <a:lnTo>
                      <a:pt x="47" y="532"/>
                    </a:lnTo>
                    <a:lnTo>
                      <a:pt x="58" y="535"/>
                    </a:lnTo>
                    <a:lnTo>
                      <a:pt x="61" y="539"/>
                    </a:lnTo>
                    <a:lnTo>
                      <a:pt x="67" y="542"/>
                    </a:lnTo>
                    <a:lnTo>
                      <a:pt x="70" y="546"/>
                    </a:lnTo>
                    <a:lnTo>
                      <a:pt x="72" y="548"/>
                    </a:lnTo>
                    <a:lnTo>
                      <a:pt x="72" y="550"/>
                    </a:lnTo>
                    <a:lnTo>
                      <a:pt x="72" y="552"/>
                    </a:lnTo>
                    <a:lnTo>
                      <a:pt x="76" y="553"/>
                    </a:lnTo>
                    <a:lnTo>
                      <a:pt x="79" y="557"/>
                    </a:lnTo>
                    <a:lnTo>
                      <a:pt x="85" y="562"/>
                    </a:lnTo>
                    <a:lnTo>
                      <a:pt x="90" y="570"/>
                    </a:lnTo>
                    <a:lnTo>
                      <a:pt x="96" y="575"/>
                    </a:lnTo>
                    <a:lnTo>
                      <a:pt x="112" y="581"/>
                    </a:lnTo>
                    <a:lnTo>
                      <a:pt x="128" y="590"/>
                    </a:lnTo>
                    <a:lnTo>
                      <a:pt x="136" y="593"/>
                    </a:lnTo>
                    <a:lnTo>
                      <a:pt x="143" y="599"/>
                    </a:lnTo>
                    <a:lnTo>
                      <a:pt x="150" y="604"/>
                    </a:lnTo>
                    <a:lnTo>
                      <a:pt x="154" y="610"/>
                    </a:lnTo>
                    <a:lnTo>
                      <a:pt x="156" y="615"/>
                    </a:lnTo>
                    <a:lnTo>
                      <a:pt x="158" y="620"/>
                    </a:lnTo>
                    <a:lnTo>
                      <a:pt x="159" y="626"/>
                    </a:lnTo>
                    <a:lnTo>
                      <a:pt x="159" y="631"/>
                    </a:lnTo>
                    <a:lnTo>
                      <a:pt x="158" y="646"/>
                    </a:lnTo>
                    <a:lnTo>
                      <a:pt x="156" y="660"/>
                    </a:lnTo>
                    <a:lnTo>
                      <a:pt x="152" y="675"/>
                    </a:lnTo>
                    <a:lnTo>
                      <a:pt x="150" y="688"/>
                    </a:lnTo>
                    <a:lnTo>
                      <a:pt x="150" y="689"/>
                    </a:lnTo>
                    <a:lnTo>
                      <a:pt x="152" y="702"/>
                    </a:lnTo>
                    <a:lnTo>
                      <a:pt x="154" y="708"/>
                    </a:lnTo>
                    <a:lnTo>
                      <a:pt x="156" y="711"/>
                    </a:lnTo>
                    <a:lnTo>
                      <a:pt x="159" y="718"/>
                    </a:lnTo>
                    <a:lnTo>
                      <a:pt x="163" y="720"/>
                    </a:lnTo>
                    <a:lnTo>
                      <a:pt x="167" y="722"/>
                    </a:lnTo>
                    <a:lnTo>
                      <a:pt x="181" y="729"/>
                    </a:lnTo>
                    <a:lnTo>
                      <a:pt x="192" y="733"/>
                    </a:lnTo>
                    <a:lnTo>
                      <a:pt x="201" y="738"/>
                    </a:lnTo>
                    <a:lnTo>
                      <a:pt x="207" y="742"/>
                    </a:lnTo>
                    <a:lnTo>
                      <a:pt x="216" y="744"/>
                    </a:lnTo>
                    <a:lnTo>
                      <a:pt x="232" y="746"/>
                    </a:lnTo>
                    <a:lnTo>
                      <a:pt x="250" y="746"/>
                    </a:lnTo>
                    <a:lnTo>
                      <a:pt x="268" y="742"/>
                    </a:lnTo>
                    <a:lnTo>
                      <a:pt x="290" y="738"/>
                    </a:lnTo>
                    <a:lnTo>
                      <a:pt x="295" y="738"/>
                    </a:lnTo>
                    <a:lnTo>
                      <a:pt x="306" y="738"/>
                    </a:lnTo>
                    <a:lnTo>
                      <a:pt x="312" y="740"/>
                    </a:lnTo>
                    <a:lnTo>
                      <a:pt x="317" y="742"/>
                    </a:lnTo>
                    <a:lnTo>
                      <a:pt x="328" y="748"/>
                    </a:lnTo>
                    <a:lnTo>
                      <a:pt x="341" y="753"/>
                    </a:lnTo>
                    <a:lnTo>
                      <a:pt x="361" y="767"/>
                    </a:lnTo>
                    <a:lnTo>
                      <a:pt x="381" y="778"/>
                    </a:lnTo>
                    <a:lnTo>
                      <a:pt x="390" y="782"/>
                    </a:lnTo>
                    <a:lnTo>
                      <a:pt x="399" y="786"/>
                    </a:lnTo>
                    <a:lnTo>
                      <a:pt x="406" y="787"/>
                    </a:lnTo>
                    <a:lnTo>
                      <a:pt x="413" y="787"/>
                    </a:lnTo>
                    <a:lnTo>
                      <a:pt x="424" y="786"/>
                    </a:lnTo>
                    <a:lnTo>
                      <a:pt x="437" y="782"/>
                    </a:lnTo>
                    <a:lnTo>
                      <a:pt x="444" y="782"/>
                    </a:lnTo>
                    <a:lnTo>
                      <a:pt x="451" y="780"/>
                    </a:lnTo>
                    <a:lnTo>
                      <a:pt x="461" y="778"/>
                    </a:lnTo>
                    <a:lnTo>
                      <a:pt x="470" y="778"/>
                    </a:lnTo>
                    <a:lnTo>
                      <a:pt x="475" y="778"/>
                    </a:lnTo>
                    <a:lnTo>
                      <a:pt x="481" y="780"/>
                    </a:lnTo>
                    <a:lnTo>
                      <a:pt x="486" y="782"/>
                    </a:lnTo>
                    <a:lnTo>
                      <a:pt x="495" y="787"/>
                    </a:lnTo>
                    <a:lnTo>
                      <a:pt x="500" y="789"/>
                    </a:lnTo>
                    <a:lnTo>
                      <a:pt x="508" y="791"/>
                    </a:lnTo>
                    <a:lnTo>
                      <a:pt x="515" y="793"/>
                    </a:lnTo>
                    <a:lnTo>
                      <a:pt x="526" y="795"/>
                    </a:lnTo>
                    <a:lnTo>
                      <a:pt x="539" y="793"/>
                    </a:lnTo>
                    <a:lnTo>
                      <a:pt x="555" y="791"/>
                    </a:lnTo>
                    <a:lnTo>
                      <a:pt x="593" y="784"/>
                    </a:lnTo>
                    <a:lnTo>
                      <a:pt x="629" y="780"/>
                    </a:lnTo>
                    <a:lnTo>
                      <a:pt x="633" y="780"/>
                    </a:lnTo>
                    <a:lnTo>
                      <a:pt x="642" y="782"/>
                    </a:lnTo>
                    <a:lnTo>
                      <a:pt x="653" y="784"/>
                    </a:lnTo>
                    <a:lnTo>
                      <a:pt x="673" y="791"/>
                    </a:lnTo>
                    <a:lnTo>
                      <a:pt x="687" y="791"/>
                    </a:lnTo>
                    <a:lnTo>
                      <a:pt x="698" y="791"/>
                    </a:lnTo>
                    <a:lnTo>
                      <a:pt x="709" y="789"/>
                    </a:lnTo>
                    <a:lnTo>
                      <a:pt x="731" y="786"/>
                    </a:lnTo>
                    <a:lnTo>
                      <a:pt x="791" y="800"/>
                    </a:lnTo>
                    <a:lnTo>
                      <a:pt x="863" y="818"/>
                    </a:lnTo>
                    <a:lnTo>
                      <a:pt x="943" y="836"/>
                    </a:lnTo>
                    <a:lnTo>
                      <a:pt x="985" y="847"/>
                    </a:lnTo>
                    <a:lnTo>
                      <a:pt x="1025" y="856"/>
                    </a:lnTo>
                    <a:lnTo>
                      <a:pt x="1030" y="858"/>
                    </a:lnTo>
                    <a:lnTo>
                      <a:pt x="1038" y="860"/>
                    </a:lnTo>
                    <a:lnTo>
                      <a:pt x="1039" y="860"/>
                    </a:lnTo>
                    <a:lnTo>
                      <a:pt x="1039" y="858"/>
                    </a:lnTo>
                    <a:lnTo>
                      <a:pt x="1039" y="849"/>
                    </a:lnTo>
                    <a:lnTo>
                      <a:pt x="1041" y="847"/>
                    </a:lnTo>
                    <a:lnTo>
                      <a:pt x="1043" y="835"/>
                    </a:lnTo>
                    <a:lnTo>
                      <a:pt x="1045" y="822"/>
                    </a:lnTo>
                    <a:lnTo>
                      <a:pt x="1045" y="820"/>
                    </a:lnTo>
                    <a:lnTo>
                      <a:pt x="1045" y="811"/>
                    </a:lnTo>
                    <a:lnTo>
                      <a:pt x="1041" y="800"/>
                    </a:lnTo>
                    <a:lnTo>
                      <a:pt x="1039" y="791"/>
                    </a:lnTo>
                    <a:lnTo>
                      <a:pt x="1038" y="782"/>
                    </a:lnTo>
                    <a:lnTo>
                      <a:pt x="1039" y="773"/>
                    </a:lnTo>
                    <a:lnTo>
                      <a:pt x="1041" y="767"/>
                    </a:lnTo>
                    <a:lnTo>
                      <a:pt x="1043" y="762"/>
                    </a:lnTo>
                    <a:lnTo>
                      <a:pt x="1050" y="735"/>
                    </a:lnTo>
                    <a:lnTo>
                      <a:pt x="1061" y="686"/>
                    </a:lnTo>
                    <a:lnTo>
                      <a:pt x="1094" y="542"/>
                    </a:lnTo>
                    <a:lnTo>
                      <a:pt x="1134" y="375"/>
                    </a:lnTo>
                    <a:lnTo>
                      <a:pt x="1170" y="227"/>
                    </a:lnTo>
                    <a:lnTo>
                      <a:pt x="1172" y="212"/>
                    </a:lnTo>
                    <a:lnTo>
                      <a:pt x="1127" y="203"/>
                    </a:lnTo>
                    <a:lnTo>
                      <a:pt x="1043" y="181"/>
                    </a:lnTo>
                    <a:lnTo>
                      <a:pt x="804" y="121"/>
                    </a:lnTo>
                    <a:lnTo>
                      <a:pt x="675" y="89"/>
                    </a:lnTo>
                    <a:lnTo>
                      <a:pt x="557" y="56"/>
                    </a:lnTo>
                    <a:lnTo>
                      <a:pt x="459" y="29"/>
                    </a:lnTo>
                    <a:lnTo>
                      <a:pt x="421" y="18"/>
                    </a:lnTo>
                    <a:lnTo>
                      <a:pt x="393" y="11"/>
                    </a:lnTo>
                    <a:lnTo>
                      <a:pt x="363" y="0"/>
                    </a:lnTo>
                    <a:lnTo>
                      <a:pt x="357" y="0"/>
                    </a:lnTo>
                    <a:close/>
                    <a:moveTo>
                      <a:pt x="286" y="308"/>
                    </a:moveTo>
                    <a:lnTo>
                      <a:pt x="286" y="307"/>
                    </a:lnTo>
                    <a:lnTo>
                      <a:pt x="286" y="308"/>
                    </a:lnTo>
                    <a:close/>
                  </a:path>
                </a:pathLst>
              </a:custGeom>
              <a:solidFill>
                <a:srgbClr val="2E2E38"/>
              </a:solidFill>
              <a:ln w="3175" cap="flat" cmpd="sng" algn="ctr">
                <a:solidFill>
                  <a:srgbClr val="747480"/>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646464"/>
                  </a:solidFill>
                  <a:effectLst/>
                  <a:uLnTx/>
                  <a:uFillTx/>
                  <a:cs typeface="Times New Roman" panose="02020603050405020304" pitchFamily="18" charset="0"/>
                </a:endParaRPr>
              </a:p>
            </p:txBody>
          </p:sp>
          <p:sp>
            <p:nvSpPr>
              <p:cNvPr id="132" name="Freeform 150">
                <a:extLst>
                  <a:ext uri="{FF2B5EF4-FFF2-40B4-BE49-F238E27FC236}">
                    <a16:creationId xmlns:a16="http://schemas.microsoft.com/office/drawing/2014/main" id="{78B7407F-5B03-11D2-22BE-F7E34E642293}"/>
                  </a:ext>
                </a:extLst>
              </p:cNvPr>
              <p:cNvSpPr>
                <a:spLocks/>
              </p:cNvSpPr>
              <p:nvPr/>
            </p:nvSpPr>
            <p:spPr bwMode="auto">
              <a:xfrm>
                <a:off x="1633538" y="1296988"/>
                <a:ext cx="646113" cy="620714"/>
              </a:xfrm>
              <a:custGeom>
                <a:avLst/>
                <a:gdLst/>
                <a:ahLst/>
                <a:cxnLst>
                  <a:cxn ang="0">
                    <a:pos x="681" y="782"/>
                  </a:cxn>
                  <a:cxn ang="0">
                    <a:pos x="682" y="773"/>
                  </a:cxn>
                  <a:cxn ang="0">
                    <a:pos x="684" y="767"/>
                  </a:cxn>
                  <a:cxn ang="0">
                    <a:pos x="686" y="762"/>
                  </a:cxn>
                  <a:cxn ang="0">
                    <a:pos x="693" y="735"/>
                  </a:cxn>
                  <a:cxn ang="0">
                    <a:pos x="704" y="686"/>
                  </a:cxn>
                  <a:cxn ang="0">
                    <a:pos x="737" y="542"/>
                  </a:cxn>
                  <a:cxn ang="0">
                    <a:pos x="777" y="375"/>
                  </a:cxn>
                  <a:cxn ang="0">
                    <a:pos x="813" y="227"/>
                  </a:cxn>
                  <a:cxn ang="0">
                    <a:pos x="815" y="212"/>
                  </a:cxn>
                  <a:cxn ang="0">
                    <a:pos x="770" y="203"/>
                  </a:cxn>
                  <a:cxn ang="0">
                    <a:pos x="686" y="181"/>
                  </a:cxn>
                  <a:cxn ang="0">
                    <a:pos x="447" y="121"/>
                  </a:cxn>
                  <a:cxn ang="0">
                    <a:pos x="318" y="89"/>
                  </a:cxn>
                  <a:cxn ang="0">
                    <a:pos x="200" y="56"/>
                  </a:cxn>
                  <a:cxn ang="0">
                    <a:pos x="102" y="29"/>
                  </a:cxn>
                  <a:cxn ang="0">
                    <a:pos x="64" y="18"/>
                  </a:cxn>
                  <a:cxn ang="0">
                    <a:pos x="36" y="11"/>
                  </a:cxn>
                  <a:cxn ang="0">
                    <a:pos x="6" y="0"/>
                  </a:cxn>
                  <a:cxn ang="0">
                    <a:pos x="0" y="0"/>
                  </a:cxn>
                </a:cxnLst>
                <a:rect l="0" t="0" r="r" b="b"/>
                <a:pathLst>
                  <a:path w="815" h="782">
                    <a:moveTo>
                      <a:pt x="681" y="782"/>
                    </a:moveTo>
                    <a:lnTo>
                      <a:pt x="682" y="773"/>
                    </a:lnTo>
                    <a:lnTo>
                      <a:pt x="684" y="767"/>
                    </a:lnTo>
                    <a:lnTo>
                      <a:pt x="686" y="762"/>
                    </a:lnTo>
                    <a:lnTo>
                      <a:pt x="693" y="735"/>
                    </a:lnTo>
                    <a:lnTo>
                      <a:pt x="704" y="686"/>
                    </a:lnTo>
                    <a:lnTo>
                      <a:pt x="737" y="542"/>
                    </a:lnTo>
                    <a:lnTo>
                      <a:pt x="777" y="375"/>
                    </a:lnTo>
                    <a:lnTo>
                      <a:pt x="813" y="227"/>
                    </a:lnTo>
                    <a:lnTo>
                      <a:pt x="815" y="212"/>
                    </a:lnTo>
                    <a:lnTo>
                      <a:pt x="770" y="203"/>
                    </a:lnTo>
                    <a:lnTo>
                      <a:pt x="686" y="181"/>
                    </a:lnTo>
                    <a:lnTo>
                      <a:pt x="447" y="121"/>
                    </a:lnTo>
                    <a:lnTo>
                      <a:pt x="318" y="89"/>
                    </a:lnTo>
                    <a:lnTo>
                      <a:pt x="200" y="56"/>
                    </a:lnTo>
                    <a:lnTo>
                      <a:pt x="102" y="29"/>
                    </a:lnTo>
                    <a:lnTo>
                      <a:pt x="64" y="18"/>
                    </a:lnTo>
                    <a:lnTo>
                      <a:pt x="36" y="11"/>
                    </a:lnTo>
                    <a:lnTo>
                      <a:pt x="6" y="0"/>
                    </a:lnTo>
                    <a:lnTo>
                      <a:pt x="0" y="0"/>
                    </a:lnTo>
                  </a:path>
                </a:pathLst>
              </a:custGeom>
              <a:solidFill>
                <a:srgbClr val="2E2E38"/>
              </a:solidFill>
              <a:ln w="3175" cap="flat" cmpd="sng" algn="ctr">
                <a:solidFill>
                  <a:srgbClr val="747480"/>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646464"/>
                  </a:solidFill>
                  <a:effectLst/>
                  <a:uLnTx/>
                  <a:uFillTx/>
                  <a:cs typeface="Times New Roman" panose="02020603050405020304" pitchFamily="18" charset="0"/>
                </a:endParaRPr>
              </a:p>
            </p:txBody>
          </p:sp>
        </p:grpSp>
        <p:sp>
          <p:nvSpPr>
            <p:cNvPr id="69" name="Freeform 153">
              <a:extLst>
                <a:ext uri="{FF2B5EF4-FFF2-40B4-BE49-F238E27FC236}">
                  <a16:creationId xmlns:a16="http://schemas.microsoft.com/office/drawing/2014/main" id="{6BB1E6B8-ADED-C4D8-4976-023D763D6F5F}"/>
                </a:ext>
              </a:extLst>
            </p:cNvPr>
            <p:cNvSpPr>
              <a:spLocks/>
            </p:cNvSpPr>
            <p:nvPr/>
          </p:nvSpPr>
          <p:spPr bwMode="auto">
            <a:xfrm>
              <a:off x="2788673" y="4212274"/>
              <a:ext cx="639215" cy="1076237"/>
            </a:xfrm>
            <a:custGeom>
              <a:avLst/>
              <a:gdLst/>
              <a:ahLst/>
              <a:cxnLst>
                <a:cxn ang="0">
                  <a:pos x="122" y="47"/>
                </a:cxn>
                <a:cxn ang="0">
                  <a:pos x="131" y="79"/>
                </a:cxn>
                <a:cxn ang="0">
                  <a:pos x="111" y="172"/>
                </a:cxn>
                <a:cxn ang="0">
                  <a:pos x="87" y="217"/>
                </a:cxn>
                <a:cxn ang="0">
                  <a:pos x="82" y="255"/>
                </a:cxn>
                <a:cxn ang="0">
                  <a:pos x="62" y="261"/>
                </a:cxn>
                <a:cxn ang="0">
                  <a:pos x="33" y="292"/>
                </a:cxn>
                <a:cxn ang="0">
                  <a:pos x="6" y="348"/>
                </a:cxn>
                <a:cxn ang="0">
                  <a:pos x="17" y="393"/>
                </a:cxn>
                <a:cxn ang="0">
                  <a:pos x="31" y="419"/>
                </a:cxn>
                <a:cxn ang="0">
                  <a:pos x="42" y="453"/>
                </a:cxn>
                <a:cxn ang="0">
                  <a:pos x="51" y="508"/>
                </a:cxn>
                <a:cxn ang="0">
                  <a:pos x="38" y="562"/>
                </a:cxn>
                <a:cxn ang="0">
                  <a:pos x="31" y="611"/>
                </a:cxn>
                <a:cxn ang="0">
                  <a:pos x="27" y="664"/>
                </a:cxn>
                <a:cxn ang="0">
                  <a:pos x="22" y="700"/>
                </a:cxn>
                <a:cxn ang="0">
                  <a:pos x="93" y="880"/>
                </a:cxn>
                <a:cxn ang="0">
                  <a:pos x="98" y="934"/>
                </a:cxn>
                <a:cxn ang="0">
                  <a:pos x="145" y="970"/>
                </a:cxn>
                <a:cxn ang="0">
                  <a:pos x="165" y="950"/>
                </a:cxn>
                <a:cxn ang="0">
                  <a:pos x="174" y="914"/>
                </a:cxn>
                <a:cxn ang="0">
                  <a:pos x="200" y="940"/>
                </a:cxn>
                <a:cxn ang="0">
                  <a:pos x="169" y="958"/>
                </a:cxn>
                <a:cxn ang="0">
                  <a:pos x="180" y="1005"/>
                </a:cxn>
                <a:cxn ang="0">
                  <a:pos x="194" y="1074"/>
                </a:cxn>
                <a:cxn ang="0">
                  <a:pos x="167" y="1010"/>
                </a:cxn>
                <a:cxn ang="0">
                  <a:pos x="145" y="985"/>
                </a:cxn>
                <a:cxn ang="0">
                  <a:pos x="135" y="1070"/>
                </a:cxn>
                <a:cxn ang="0">
                  <a:pos x="147" y="1168"/>
                </a:cxn>
                <a:cxn ang="0">
                  <a:pos x="202" y="1197"/>
                </a:cxn>
                <a:cxn ang="0">
                  <a:pos x="191" y="1252"/>
                </a:cxn>
                <a:cxn ang="0">
                  <a:pos x="154" y="1297"/>
                </a:cxn>
                <a:cxn ang="0">
                  <a:pos x="191" y="1382"/>
                </a:cxn>
                <a:cxn ang="0">
                  <a:pos x="231" y="1497"/>
                </a:cxn>
                <a:cxn ang="0">
                  <a:pos x="254" y="1544"/>
                </a:cxn>
                <a:cxn ang="0">
                  <a:pos x="267" y="1593"/>
                </a:cxn>
                <a:cxn ang="0">
                  <a:pos x="269" y="1627"/>
                </a:cxn>
                <a:cxn ang="0">
                  <a:pos x="298" y="1635"/>
                </a:cxn>
                <a:cxn ang="0">
                  <a:pos x="280" y="1704"/>
                </a:cxn>
                <a:cxn ang="0">
                  <a:pos x="271" y="1763"/>
                </a:cxn>
                <a:cxn ang="0">
                  <a:pos x="331" y="1803"/>
                </a:cxn>
                <a:cxn ang="0">
                  <a:pos x="436" y="1840"/>
                </a:cxn>
                <a:cxn ang="0">
                  <a:pos x="492" y="1894"/>
                </a:cxn>
                <a:cxn ang="0">
                  <a:pos x="530" y="1943"/>
                </a:cxn>
                <a:cxn ang="0">
                  <a:pos x="612" y="1978"/>
                </a:cxn>
                <a:cxn ang="0">
                  <a:pos x="626" y="2043"/>
                </a:cxn>
                <a:cxn ang="0">
                  <a:pos x="654" y="2048"/>
                </a:cxn>
                <a:cxn ang="0">
                  <a:pos x="721" y="2106"/>
                </a:cxn>
                <a:cxn ang="0">
                  <a:pos x="775" y="2230"/>
                </a:cxn>
                <a:cxn ang="0">
                  <a:pos x="790" y="2310"/>
                </a:cxn>
                <a:cxn ang="0">
                  <a:pos x="782" y="2357"/>
                </a:cxn>
                <a:cxn ang="0">
                  <a:pos x="1260" y="2411"/>
                </a:cxn>
                <a:cxn ang="0">
                  <a:pos x="1281" y="2362"/>
                </a:cxn>
                <a:cxn ang="0">
                  <a:pos x="1254" y="2315"/>
                </a:cxn>
                <a:cxn ang="0">
                  <a:pos x="1289" y="2250"/>
                </a:cxn>
                <a:cxn ang="0">
                  <a:pos x="1310" y="2188"/>
                </a:cxn>
                <a:cxn ang="0">
                  <a:pos x="1339" y="2126"/>
                </a:cxn>
                <a:cxn ang="0">
                  <a:pos x="1396" y="2087"/>
                </a:cxn>
                <a:cxn ang="0">
                  <a:pos x="1368" y="2023"/>
                </a:cxn>
                <a:cxn ang="0">
                  <a:pos x="1347" y="1914"/>
                </a:cxn>
                <a:cxn ang="0">
                  <a:pos x="768" y="319"/>
                </a:cxn>
              </a:cxnLst>
              <a:rect l="0" t="0" r="r" b="b"/>
              <a:pathLst>
                <a:path w="1396" h="2415">
                  <a:moveTo>
                    <a:pt x="135" y="0"/>
                  </a:moveTo>
                  <a:lnTo>
                    <a:pt x="136" y="5"/>
                  </a:lnTo>
                  <a:lnTo>
                    <a:pt x="136" y="12"/>
                  </a:lnTo>
                  <a:lnTo>
                    <a:pt x="136" y="16"/>
                  </a:lnTo>
                  <a:lnTo>
                    <a:pt x="136" y="21"/>
                  </a:lnTo>
                  <a:lnTo>
                    <a:pt x="133" y="29"/>
                  </a:lnTo>
                  <a:lnTo>
                    <a:pt x="124" y="43"/>
                  </a:lnTo>
                  <a:lnTo>
                    <a:pt x="122" y="47"/>
                  </a:lnTo>
                  <a:lnTo>
                    <a:pt x="120" y="50"/>
                  </a:lnTo>
                  <a:lnTo>
                    <a:pt x="122" y="54"/>
                  </a:lnTo>
                  <a:lnTo>
                    <a:pt x="122" y="56"/>
                  </a:lnTo>
                  <a:lnTo>
                    <a:pt x="125" y="61"/>
                  </a:lnTo>
                  <a:lnTo>
                    <a:pt x="129" y="65"/>
                  </a:lnTo>
                  <a:lnTo>
                    <a:pt x="129" y="68"/>
                  </a:lnTo>
                  <a:lnTo>
                    <a:pt x="131" y="72"/>
                  </a:lnTo>
                  <a:lnTo>
                    <a:pt x="131" y="79"/>
                  </a:lnTo>
                  <a:lnTo>
                    <a:pt x="129" y="92"/>
                  </a:lnTo>
                  <a:lnTo>
                    <a:pt x="127" y="107"/>
                  </a:lnTo>
                  <a:lnTo>
                    <a:pt x="125" y="130"/>
                  </a:lnTo>
                  <a:lnTo>
                    <a:pt x="122" y="143"/>
                  </a:lnTo>
                  <a:lnTo>
                    <a:pt x="118" y="154"/>
                  </a:lnTo>
                  <a:lnTo>
                    <a:pt x="115" y="163"/>
                  </a:lnTo>
                  <a:lnTo>
                    <a:pt x="113" y="168"/>
                  </a:lnTo>
                  <a:lnTo>
                    <a:pt x="111" y="172"/>
                  </a:lnTo>
                  <a:lnTo>
                    <a:pt x="107" y="176"/>
                  </a:lnTo>
                  <a:lnTo>
                    <a:pt x="104" y="179"/>
                  </a:lnTo>
                  <a:lnTo>
                    <a:pt x="100" y="181"/>
                  </a:lnTo>
                  <a:lnTo>
                    <a:pt x="96" y="185"/>
                  </a:lnTo>
                  <a:lnTo>
                    <a:pt x="93" y="192"/>
                  </a:lnTo>
                  <a:lnTo>
                    <a:pt x="89" y="197"/>
                  </a:lnTo>
                  <a:lnTo>
                    <a:pt x="87" y="212"/>
                  </a:lnTo>
                  <a:lnTo>
                    <a:pt x="87" y="217"/>
                  </a:lnTo>
                  <a:lnTo>
                    <a:pt x="86" y="223"/>
                  </a:lnTo>
                  <a:lnTo>
                    <a:pt x="84" y="230"/>
                  </a:lnTo>
                  <a:lnTo>
                    <a:pt x="80" y="235"/>
                  </a:lnTo>
                  <a:lnTo>
                    <a:pt x="78" y="239"/>
                  </a:lnTo>
                  <a:lnTo>
                    <a:pt x="78" y="243"/>
                  </a:lnTo>
                  <a:lnTo>
                    <a:pt x="78" y="246"/>
                  </a:lnTo>
                  <a:lnTo>
                    <a:pt x="80" y="252"/>
                  </a:lnTo>
                  <a:lnTo>
                    <a:pt x="82" y="255"/>
                  </a:lnTo>
                  <a:lnTo>
                    <a:pt x="84" y="259"/>
                  </a:lnTo>
                  <a:lnTo>
                    <a:pt x="82" y="261"/>
                  </a:lnTo>
                  <a:lnTo>
                    <a:pt x="80" y="263"/>
                  </a:lnTo>
                  <a:lnTo>
                    <a:pt x="75" y="261"/>
                  </a:lnTo>
                  <a:lnTo>
                    <a:pt x="69" y="259"/>
                  </a:lnTo>
                  <a:lnTo>
                    <a:pt x="67" y="259"/>
                  </a:lnTo>
                  <a:lnTo>
                    <a:pt x="64" y="259"/>
                  </a:lnTo>
                  <a:lnTo>
                    <a:pt x="62" y="261"/>
                  </a:lnTo>
                  <a:lnTo>
                    <a:pt x="58" y="268"/>
                  </a:lnTo>
                  <a:lnTo>
                    <a:pt x="55" y="275"/>
                  </a:lnTo>
                  <a:lnTo>
                    <a:pt x="53" y="279"/>
                  </a:lnTo>
                  <a:lnTo>
                    <a:pt x="49" y="281"/>
                  </a:lnTo>
                  <a:lnTo>
                    <a:pt x="47" y="283"/>
                  </a:lnTo>
                  <a:lnTo>
                    <a:pt x="46" y="283"/>
                  </a:lnTo>
                  <a:lnTo>
                    <a:pt x="40" y="284"/>
                  </a:lnTo>
                  <a:lnTo>
                    <a:pt x="33" y="292"/>
                  </a:lnTo>
                  <a:lnTo>
                    <a:pt x="27" y="297"/>
                  </a:lnTo>
                  <a:lnTo>
                    <a:pt x="20" y="304"/>
                  </a:lnTo>
                  <a:lnTo>
                    <a:pt x="15" y="312"/>
                  </a:lnTo>
                  <a:lnTo>
                    <a:pt x="11" y="317"/>
                  </a:lnTo>
                  <a:lnTo>
                    <a:pt x="8" y="326"/>
                  </a:lnTo>
                  <a:lnTo>
                    <a:pt x="6" y="333"/>
                  </a:lnTo>
                  <a:lnTo>
                    <a:pt x="6" y="341"/>
                  </a:lnTo>
                  <a:lnTo>
                    <a:pt x="6" y="348"/>
                  </a:lnTo>
                  <a:lnTo>
                    <a:pt x="4" y="355"/>
                  </a:lnTo>
                  <a:lnTo>
                    <a:pt x="2" y="361"/>
                  </a:lnTo>
                  <a:lnTo>
                    <a:pt x="0" y="366"/>
                  </a:lnTo>
                  <a:lnTo>
                    <a:pt x="0" y="370"/>
                  </a:lnTo>
                  <a:lnTo>
                    <a:pt x="4" y="377"/>
                  </a:lnTo>
                  <a:lnTo>
                    <a:pt x="8" y="384"/>
                  </a:lnTo>
                  <a:lnTo>
                    <a:pt x="13" y="388"/>
                  </a:lnTo>
                  <a:lnTo>
                    <a:pt x="17" y="393"/>
                  </a:lnTo>
                  <a:lnTo>
                    <a:pt x="18" y="399"/>
                  </a:lnTo>
                  <a:lnTo>
                    <a:pt x="20" y="402"/>
                  </a:lnTo>
                  <a:lnTo>
                    <a:pt x="22" y="404"/>
                  </a:lnTo>
                  <a:lnTo>
                    <a:pt x="24" y="406"/>
                  </a:lnTo>
                  <a:lnTo>
                    <a:pt x="26" y="408"/>
                  </a:lnTo>
                  <a:lnTo>
                    <a:pt x="29" y="413"/>
                  </a:lnTo>
                  <a:lnTo>
                    <a:pt x="31" y="415"/>
                  </a:lnTo>
                  <a:lnTo>
                    <a:pt x="31" y="419"/>
                  </a:lnTo>
                  <a:lnTo>
                    <a:pt x="31" y="422"/>
                  </a:lnTo>
                  <a:lnTo>
                    <a:pt x="31" y="426"/>
                  </a:lnTo>
                  <a:lnTo>
                    <a:pt x="35" y="431"/>
                  </a:lnTo>
                  <a:lnTo>
                    <a:pt x="38" y="439"/>
                  </a:lnTo>
                  <a:lnTo>
                    <a:pt x="40" y="442"/>
                  </a:lnTo>
                  <a:lnTo>
                    <a:pt x="40" y="446"/>
                  </a:lnTo>
                  <a:lnTo>
                    <a:pt x="40" y="450"/>
                  </a:lnTo>
                  <a:lnTo>
                    <a:pt x="42" y="453"/>
                  </a:lnTo>
                  <a:lnTo>
                    <a:pt x="46" y="468"/>
                  </a:lnTo>
                  <a:lnTo>
                    <a:pt x="47" y="475"/>
                  </a:lnTo>
                  <a:lnTo>
                    <a:pt x="51" y="480"/>
                  </a:lnTo>
                  <a:lnTo>
                    <a:pt x="53" y="486"/>
                  </a:lnTo>
                  <a:lnTo>
                    <a:pt x="53" y="491"/>
                  </a:lnTo>
                  <a:lnTo>
                    <a:pt x="53" y="499"/>
                  </a:lnTo>
                  <a:lnTo>
                    <a:pt x="51" y="506"/>
                  </a:lnTo>
                  <a:lnTo>
                    <a:pt x="51" y="508"/>
                  </a:lnTo>
                  <a:lnTo>
                    <a:pt x="53" y="513"/>
                  </a:lnTo>
                  <a:lnTo>
                    <a:pt x="53" y="517"/>
                  </a:lnTo>
                  <a:lnTo>
                    <a:pt x="55" y="526"/>
                  </a:lnTo>
                  <a:lnTo>
                    <a:pt x="53" y="533"/>
                  </a:lnTo>
                  <a:lnTo>
                    <a:pt x="49" y="546"/>
                  </a:lnTo>
                  <a:lnTo>
                    <a:pt x="47" y="551"/>
                  </a:lnTo>
                  <a:lnTo>
                    <a:pt x="44" y="557"/>
                  </a:lnTo>
                  <a:lnTo>
                    <a:pt x="38" y="562"/>
                  </a:lnTo>
                  <a:lnTo>
                    <a:pt x="37" y="568"/>
                  </a:lnTo>
                  <a:lnTo>
                    <a:pt x="31" y="580"/>
                  </a:lnTo>
                  <a:lnTo>
                    <a:pt x="31" y="586"/>
                  </a:lnTo>
                  <a:lnTo>
                    <a:pt x="31" y="593"/>
                  </a:lnTo>
                  <a:lnTo>
                    <a:pt x="33" y="597"/>
                  </a:lnTo>
                  <a:lnTo>
                    <a:pt x="33" y="602"/>
                  </a:lnTo>
                  <a:lnTo>
                    <a:pt x="33" y="607"/>
                  </a:lnTo>
                  <a:lnTo>
                    <a:pt x="31" y="611"/>
                  </a:lnTo>
                  <a:lnTo>
                    <a:pt x="31" y="618"/>
                  </a:lnTo>
                  <a:lnTo>
                    <a:pt x="31" y="622"/>
                  </a:lnTo>
                  <a:lnTo>
                    <a:pt x="31" y="629"/>
                  </a:lnTo>
                  <a:lnTo>
                    <a:pt x="31" y="640"/>
                  </a:lnTo>
                  <a:lnTo>
                    <a:pt x="29" y="653"/>
                  </a:lnTo>
                  <a:lnTo>
                    <a:pt x="29" y="656"/>
                  </a:lnTo>
                  <a:lnTo>
                    <a:pt x="27" y="660"/>
                  </a:lnTo>
                  <a:lnTo>
                    <a:pt x="27" y="664"/>
                  </a:lnTo>
                  <a:lnTo>
                    <a:pt x="26" y="664"/>
                  </a:lnTo>
                  <a:lnTo>
                    <a:pt x="18" y="667"/>
                  </a:lnTo>
                  <a:lnTo>
                    <a:pt x="15" y="669"/>
                  </a:lnTo>
                  <a:lnTo>
                    <a:pt x="13" y="673"/>
                  </a:lnTo>
                  <a:lnTo>
                    <a:pt x="13" y="678"/>
                  </a:lnTo>
                  <a:lnTo>
                    <a:pt x="13" y="682"/>
                  </a:lnTo>
                  <a:lnTo>
                    <a:pt x="15" y="687"/>
                  </a:lnTo>
                  <a:lnTo>
                    <a:pt x="22" y="700"/>
                  </a:lnTo>
                  <a:lnTo>
                    <a:pt x="29" y="711"/>
                  </a:lnTo>
                  <a:lnTo>
                    <a:pt x="37" y="722"/>
                  </a:lnTo>
                  <a:lnTo>
                    <a:pt x="49" y="745"/>
                  </a:lnTo>
                  <a:lnTo>
                    <a:pt x="60" y="771"/>
                  </a:lnTo>
                  <a:lnTo>
                    <a:pt x="71" y="794"/>
                  </a:lnTo>
                  <a:lnTo>
                    <a:pt x="78" y="822"/>
                  </a:lnTo>
                  <a:lnTo>
                    <a:pt x="87" y="851"/>
                  </a:lnTo>
                  <a:lnTo>
                    <a:pt x="93" y="880"/>
                  </a:lnTo>
                  <a:lnTo>
                    <a:pt x="95" y="887"/>
                  </a:lnTo>
                  <a:lnTo>
                    <a:pt x="95" y="892"/>
                  </a:lnTo>
                  <a:lnTo>
                    <a:pt x="95" y="903"/>
                  </a:lnTo>
                  <a:lnTo>
                    <a:pt x="93" y="914"/>
                  </a:lnTo>
                  <a:lnTo>
                    <a:pt x="93" y="920"/>
                  </a:lnTo>
                  <a:lnTo>
                    <a:pt x="95" y="927"/>
                  </a:lnTo>
                  <a:lnTo>
                    <a:pt x="96" y="930"/>
                  </a:lnTo>
                  <a:lnTo>
                    <a:pt x="98" y="934"/>
                  </a:lnTo>
                  <a:lnTo>
                    <a:pt x="104" y="941"/>
                  </a:lnTo>
                  <a:lnTo>
                    <a:pt x="109" y="950"/>
                  </a:lnTo>
                  <a:lnTo>
                    <a:pt x="116" y="958"/>
                  </a:lnTo>
                  <a:lnTo>
                    <a:pt x="124" y="963"/>
                  </a:lnTo>
                  <a:lnTo>
                    <a:pt x="133" y="969"/>
                  </a:lnTo>
                  <a:lnTo>
                    <a:pt x="140" y="972"/>
                  </a:lnTo>
                  <a:lnTo>
                    <a:pt x="142" y="972"/>
                  </a:lnTo>
                  <a:lnTo>
                    <a:pt x="145" y="970"/>
                  </a:lnTo>
                  <a:lnTo>
                    <a:pt x="147" y="969"/>
                  </a:lnTo>
                  <a:lnTo>
                    <a:pt x="147" y="965"/>
                  </a:lnTo>
                  <a:lnTo>
                    <a:pt x="149" y="958"/>
                  </a:lnTo>
                  <a:lnTo>
                    <a:pt x="151" y="956"/>
                  </a:lnTo>
                  <a:lnTo>
                    <a:pt x="153" y="954"/>
                  </a:lnTo>
                  <a:lnTo>
                    <a:pt x="154" y="954"/>
                  </a:lnTo>
                  <a:lnTo>
                    <a:pt x="160" y="952"/>
                  </a:lnTo>
                  <a:lnTo>
                    <a:pt x="165" y="950"/>
                  </a:lnTo>
                  <a:lnTo>
                    <a:pt x="167" y="949"/>
                  </a:lnTo>
                  <a:lnTo>
                    <a:pt x="167" y="947"/>
                  </a:lnTo>
                  <a:lnTo>
                    <a:pt x="167" y="940"/>
                  </a:lnTo>
                  <a:lnTo>
                    <a:pt x="165" y="936"/>
                  </a:lnTo>
                  <a:lnTo>
                    <a:pt x="167" y="927"/>
                  </a:lnTo>
                  <a:lnTo>
                    <a:pt x="169" y="920"/>
                  </a:lnTo>
                  <a:lnTo>
                    <a:pt x="173" y="916"/>
                  </a:lnTo>
                  <a:lnTo>
                    <a:pt x="174" y="914"/>
                  </a:lnTo>
                  <a:lnTo>
                    <a:pt x="178" y="914"/>
                  </a:lnTo>
                  <a:lnTo>
                    <a:pt x="182" y="914"/>
                  </a:lnTo>
                  <a:lnTo>
                    <a:pt x="184" y="916"/>
                  </a:lnTo>
                  <a:lnTo>
                    <a:pt x="187" y="918"/>
                  </a:lnTo>
                  <a:lnTo>
                    <a:pt x="193" y="923"/>
                  </a:lnTo>
                  <a:lnTo>
                    <a:pt x="198" y="932"/>
                  </a:lnTo>
                  <a:lnTo>
                    <a:pt x="200" y="936"/>
                  </a:lnTo>
                  <a:lnTo>
                    <a:pt x="200" y="940"/>
                  </a:lnTo>
                  <a:lnTo>
                    <a:pt x="200" y="941"/>
                  </a:lnTo>
                  <a:lnTo>
                    <a:pt x="198" y="945"/>
                  </a:lnTo>
                  <a:lnTo>
                    <a:pt x="194" y="947"/>
                  </a:lnTo>
                  <a:lnTo>
                    <a:pt x="193" y="949"/>
                  </a:lnTo>
                  <a:lnTo>
                    <a:pt x="184" y="952"/>
                  </a:lnTo>
                  <a:lnTo>
                    <a:pt x="174" y="954"/>
                  </a:lnTo>
                  <a:lnTo>
                    <a:pt x="171" y="956"/>
                  </a:lnTo>
                  <a:lnTo>
                    <a:pt x="169" y="958"/>
                  </a:lnTo>
                  <a:lnTo>
                    <a:pt x="171" y="961"/>
                  </a:lnTo>
                  <a:lnTo>
                    <a:pt x="173" y="963"/>
                  </a:lnTo>
                  <a:lnTo>
                    <a:pt x="176" y="969"/>
                  </a:lnTo>
                  <a:lnTo>
                    <a:pt x="176" y="972"/>
                  </a:lnTo>
                  <a:lnTo>
                    <a:pt x="176" y="974"/>
                  </a:lnTo>
                  <a:lnTo>
                    <a:pt x="176" y="987"/>
                  </a:lnTo>
                  <a:lnTo>
                    <a:pt x="178" y="996"/>
                  </a:lnTo>
                  <a:lnTo>
                    <a:pt x="180" y="1005"/>
                  </a:lnTo>
                  <a:lnTo>
                    <a:pt x="182" y="1012"/>
                  </a:lnTo>
                  <a:lnTo>
                    <a:pt x="189" y="1028"/>
                  </a:lnTo>
                  <a:lnTo>
                    <a:pt x="196" y="1043"/>
                  </a:lnTo>
                  <a:lnTo>
                    <a:pt x="198" y="1050"/>
                  </a:lnTo>
                  <a:lnTo>
                    <a:pt x="198" y="1059"/>
                  </a:lnTo>
                  <a:lnTo>
                    <a:pt x="198" y="1070"/>
                  </a:lnTo>
                  <a:lnTo>
                    <a:pt x="196" y="1072"/>
                  </a:lnTo>
                  <a:lnTo>
                    <a:pt x="194" y="1074"/>
                  </a:lnTo>
                  <a:lnTo>
                    <a:pt x="191" y="1072"/>
                  </a:lnTo>
                  <a:lnTo>
                    <a:pt x="184" y="1067"/>
                  </a:lnTo>
                  <a:lnTo>
                    <a:pt x="180" y="1063"/>
                  </a:lnTo>
                  <a:lnTo>
                    <a:pt x="178" y="1058"/>
                  </a:lnTo>
                  <a:lnTo>
                    <a:pt x="174" y="1048"/>
                  </a:lnTo>
                  <a:lnTo>
                    <a:pt x="171" y="1039"/>
                  </a:lnTo>
                  <a:lnTo>
                    <a:pt x="169" y="1019"/>
                  </a:lnTo>
                  <a:lnTo>
                    <a:pt x="167" y="1010"/>
                  </a:lnTo>
                  <a:lnTo>
                    <a:pt x="165" y="1001"/>
                  </a:lnTo>
                  <a:lnTo>
                    <a:pt x="162" y="992"/>
                  </a:lnTo>
                  <a:lnTo>
                    <a:pt x="158" y="987"/>
                  </a:lnTo>
                  <a:lnTo>
                    <a:pt x="156" y="985"/>
                  </a:lnTo>
                  <a:lnTo>
                    <a:pt x="154" y="985"/>
                  </a:lnTo>
                  <a:lnTo>
                    <a:pt x="151" y="983"/>
                  </a:lnTo>
                  <a:lnTo>
                    <a:pt x="149" y="983"/>
                  </a:lnTo>
                  <a:lnTo>
                    <a:pt x="145" y="985"/>
                  </a:lnTo>
                  <a:lnTo>
                    <a:pt x="140" y="992"/>
                  </a:lnTo>
                  <a:lnTo>
                    <a:pt x="136" y="999"/>
                  </a:lnTo>
                  <a:lnTo>
                    <a:pt x="133" y="1009"/>
                  </a:lnTo>
                  <a:lnTo>
                    <a:pt x="131" y="1019"/>
                  </a:lnTo>
                  <a:lnTo>
                    <a:pt x="131" y="1030"/>
                  </a:lnTo>
                  <a:lnTo>
                    <a:pt x="131" y="1045"/>
                  </a:lnTo>
                  <a:lnTo>
                    <a:pt x="133" y="1058"/>
                  </a:lnTo>
                  <a:lnTo>
                    <a:pt x="135" y="1070"/>
                  </a:lnTo>
                  <a:lnTo>
                    <a:pt x="135" y="1085"/>
                  </a:lnTo>
                  <a:lnTo>
                    <a:pt x="135" y="1096"/>
                  </a:lnTo>
                  <a:lnTo>
                    <a:pt x="131" y="1114"/>
                  </a:lnTo>
                  <a:lnTo>
                    <a:pt x="131" y="1130"/>
                  </a:lnTo>
                  <a:lnTo>
                    <a:pt x="131" y="1139"/>
                  </a:lnTo>
                  <a:lnTo>
                    <a:pt x="135" y="1148"/>
                  </a:lnTo>
                  <a:lnTo>
                    <a:pt x="140" y="1159"/>
                  </a:lnTo>
                  <a:lnTo>
                    <a:pt x="147" y="1168"/>
                  </a:lnTo>
                  <a:lnTo>
                    <a:pt x="154" y="1174"/>
                  </a:lnTo>
                  <a:lnTo>
                    <a:pt x="160" y="1177"/>
                  </a:lnTo>
                  <a:lnTo>
                    <a:pt x="165" y="1179"/>
                  </a:lnTo>
                  <a:lnTo>
                    <a:pt x="173" y="1181"/>
                  </a:lnTo>
                  <a:lnTo>
                    <a:pt x="185" y="1185"/>
                  </a:lnTo>
                  <a:lnTo>
                    <a:pt x="191" y="1188"/>
                  </a:lnTo>
                  <a:lnTo>
                    <a:pt x="196" y="1192"/>
                  </a:lnTo>
                  <a:lnTo>
                    <a:pt x="202" y="1197"/>
                  </a:lnTo>
                  <a:lnTo>
                    <a:pt x="203" y="1203"/>
                  </a:lnTo>
                  <a:lnTo>
                    <a:pt x="205" y="1208"/>
                  </a:lnTo>
                  <a:lnTo>
                    <a:pt x="205" y="1214"/>
                  </a:lnTo>
                  <a:lnTo>
                    <a:pt x="205" y="1224"/>
                  </a:lnTo>
                  <a:lnTo>
                    <a:pt x="203" y="1230"/>
                  </a:lnTo>
                  <a:lnTo>
                    <a:pt x="202" y="1235"/>
                  </a:lnTo>
                  <a:lnTo>
                    <a:pt x="196" y="1244"/>
                  </a:lnTo>
                  <a:lnTo>
                    <a:pt x="191" y="1252"/>
                  </a:lnTo>
                  <a:lnTo>
                    <a:pt x="187" y="1255"/>
                  </a:lnTo>
                  <a:lnTo>
                    <a:pt x="184" y="1257"/>
                  </a:lnTo>
                  <a:lnTo>
                    <a:pt x="176" y="1263"/>
                  </a:lnTo>
                  <a:lnTo>
                    <a:pt x="165" y="1268"/>
                  </a:lnTo>
                  <a:lnTo>
                    <a:pt x="162" y="1273"/>
                  </a:lnTo>
                  <a:lnTo>
                    <a:pt x="158" y="1279"/>
                  </a:lnTo>
                  <a:lnTo>
                    <a:pt x="156" y="1286"/>
                  </a:lnTo>
                  <a:lnTo>
                    <a:pt x="154" y="1297"/>
                  </a:lnTo>
                  <a:lnTo>
                    <a:pt x="156" y="1304"/>
                  </a:lnTo>
                  <a:lnTo>
                    <a:pt x="156" y="1310"/>
                  </a:lnTo>
                  <a:lnTo>
                    <a:pt x="160" y="1322"/>
                  </a:lnTo>
                  <a:lnTo>
                    <a:pt x="165" y="1333"/>
                  </a:lnTo>
                  <a:lnTo>
                    <a:pt x="171" y="1344"/>
                  </a:lnTo>
                  <a:lnTo>
                    <a:pt x="184" y="1366"/>
                  </a:lnTo>
                  <a:lnTo>
                    <a:pt x="189" y="1377"/>
                  </a:lnTo>
                  <a:lnTo>
                    <a:pt x="191" y="1382"/>
                  </a:lnTo>
                  <a:lnTo>
                    <a:pt x="193" y="1390"/>
                  </a:lnTo>
                  <a:lnTo>
                    <a:pt x="205" y="1431"/>
                  </a:lnTo>
                  <a:lnTo>
                    <a:pt x="213" y="1451"/>
                  </a:lnTo>
                  <a:lnTo>
                    <a:pt x="216" y="1462"/>
                  </a:lnTo>
                  <a:lnTo>
                    <a:pt x="218" y="1473"/>
                  </a:lnTo>
                  <a:lnTo>
                    <a:pt x="222" y="1482"/>
                  </a:lnTo>
                  <a:lnTo>
                    <a:pt x="225" y="1489"/>
                  </a:lnTo>
                  <a:lnTo>
                    <a:pt x="231" y="1497"/>
                  </a:lnTo>
                  <a:lnTo>
                    <a:pt x="236" y="1504"/>
                  </a:lnTo>
                  <a:lnTo>
                    <a:pt x="238" y="1508"/>
                  </a:lnTo>
                  <a:lnTo>
                    <a:pt x="240" y="1511"/>
                  </a:lnTo>
                  <a:lnTo>
                    <a:pt x="242" y="1518"/>
                  </a:lnTo>
                  <a:lnTo>
                    <a:pt x="243" y="1526"/>
                  </a:lnTo>
                  <a:lnTo>
                    <a:pt x="247" y="1533"/>
                  </a:lnTo>
                  <a:lnTo>
                    <a:pt x="251" y="1538"/>
                  </a:lnTo>
                  <a:lnTo>
                    <a:pt x="254" y="1544"/>
                  </a:lnTo>
                  <a:lnTo>
                    <a:pt x="263" y="1553"/>
                  </a:lnTo>
                  <a:lnTo>
                    <a:pt x="272" y="1560"/>
                  </a:lnTo>
                  <a:lnTo>
                    <a:pt x="274" y="1566"/>
                  </a:lnTo>
                  <a:lnTo>
                    <a:pt x="276" y="1571"/>
                  </a:lnTo>
                  <a:lnTo>
                    <a:pt x="276" y="1577"/>
                  </a:lnTo>
                  <a:lnTo>
                    <a:pt x="274" y="1582"/>
                  </a:lnTo>
                  <a:lnTo>
                    <a:pt x="271" y="1589"/>
                  </a:lnTo>
                  <a:lnTo>
                    <a:pt x="267" y="1593"/>
                  </a:lnTo>
                  <a:lnTo>
                    <a:pt x="263" y="1598"/>
                  </a:lnTo>
                  <a:lnTo>
                    <a:pt x="263" y="1602"/>
                  </a:lnTo>
                  <a:lnTo>
                    <a:pt x="263" y="1606"/>
                  </a:lnTo>
                  <a:lnTo>
                    <a:pt x="263" y="1607"/>
                  </a:lnTo>
                  <a:lnTo>
                    <a:pt x="263" y="1615"/>
                  </a:lnTo>
                  <a:lnTo>
                    <a:pt x="265" y="1622"/>
                  </a:lnTo>
                  <a:lnTo>
                    <a:pt x="267" y="1626"/>
                  </a:lnTo>
                  <a:lnTo>
                    <a:pt x="269" y="1627"/>
                  </a:lnTo>
                  <a:lnTo>
                    <a:pt x="272" y="1629"/>
                  </a:lnTo>
                  <a:lnTo>
                    <a:pt x="278" y="1629"/>
                  </a:lnTo>
                  <a:lnTo>
                    <a:pt x="280" y="1629"/>
                  </a:lnTo>
                  <a:lnTo>
                    <a:pt x="285" y="1629"/>
                  </a:lnTo>
                  <a:lnTo>
                    <a:pt x="291" y="1629"/>
                  </a:lnTo>
                  <a:lnTo>
                    <a:pt x="294" y="1631"/>
                  </a:lnTo>
                  <a:lnTo>
                    <a:pt x="296" y="1633"/>
                  </a:lnTo>
                  <a:lnTo>
                    <a:pt x="298" y="1635"/>
                  </a:lnTo>
                  <a:lnTo>
                    <a:pt x="298" y="1638"/>
                  </a:lnTo>
                  <a:lnTo>
                    <a:pt x="300" y="1644"/>
                  </a:lnTo>
                  <a:lnTo>
                    <a:pt x="298" y="1651"/>
                  </a:lnTo>
                  <a:lnTo>
                    <a:pt x="296" y="1660"/>
                  </a:lnTo>
                  <a:lnTo>
                    <a:pt x="289" y="1678"/>
                  </a:lnTo>
                  <a:lnTo>
                    <a:pt x="283" y="1695"/>
                  </a:lnTo>
                  <a:lnTo>
                    <a:pt x="282" y="1700"/>
                  </a:lnTo>
                  <a:lnTo>
                    <a:pt x="280" y="1704"/>
                  </a:lnTo>
                  <a:lnTo>
                    <a:pt x="280" y="1707"/>
                  </a:lnTo>
                  <a:lnTo>
                    <a:pt x="280" y="1724"/>
                  </a:lnTo>
                  <a:lnTo>
                    <a:pt x="280" y="1733"/>
                  </a:lnTo>
                  <a:lnTo>
                    <a:pt x="278" y="1740"/>
                  </a:lnTo>
                  <a:lnTo>
                    <a:pt x="274" y="1745"/>
                  </a:lnTo>
                  <a:lnTo>
                    <a:pt x="272" y="1753"/>
                  </a:lnTo>
                  <a:lnTo>
                    <a:pt x="271" y="1758"/>
                  </a:lnTo>
                  <a:lnTo>
                    <a:pt x="271" y="1763"/>
                  </a:lnTo>
                  <a:lnTo>
                    <a:pt x="272" y="1769"/>
                  </a:lnTo>
                  <a:lnTo>
                    <a:pt x="280" y="1782"/>
                  </a:lnTo>
                  <a:lnTo>
                    <a:pt x="285" y="1787"/>
                  </a:lnTo>
                  <a:lnTo>
                    <a:pt x="291" y="1791"/>
                  </a:lnTo>
                  <a:lnTo>
                    <a:pt x="300" y="1798"/>
                  </a:lnTo>
                  <a:lnTo>
                    <a:pt x="307" y="1802"/>
                  </a:lnTo>
                  <a:lnTo>
                    <a:pt x="314" y="1803"/>
                  </a:lnTo>
                  <a:lnTo>
                    <a:pt x="331" y="1803"/>
                  </a:lnTo>
                  <a:lnTo>
                    <a:pt x="349" y="1805"/>
                  </a:lnTo>
                  <a:lnTo>
                    <a:pt x="356" y="1807"/>
                  </a:lnTo>
                  <a:lnTo>
                    <a:pt x="363" y="1809"/>
                  </a:lnTo>
                  <a:lnTo>
                    <a:pt x="385" y="1820"/>
                  </a:lnTo>
                  <a:lnTo>
                    <a:pt x="396" y="1825"/>
                  </a:lnTo>
                  <a:lnTo>
                    <a:pt x="407" y="1829"/>
                  </a:lnTo>
                  <a:lnTo>
                    <a:pt x="427" y="1836"/>
                  </a:lnTo>
                  <a:lnTo>
                    <a:pt x="436" y="1840"/>
                  </a:lnTo>
                  <a:lnTo>
                    <a:pt x="445" y="1847"/>
                  </a:lnTo>
                  <a:lnTo>
                    <a:pt x="452" y="1851"/>
                  </a:lnTo>
                  <a:lnTo>
                    <a:pt x="458" y="1858"/>
                  </a:lnTo>
                  <a:lnTo>
                    <a:pt x="465" y="1863"/>
                  </a:lnTo>
                  <a:lnTo>
                    <a:pt x="472" y="1871"/>
                  </a:lnTo>
                  <a:lnTo>
                    <a:pt x="479" y="1880"/>
                  </a:lnTo>
                  <a:lnTo>
                    <a:pt x="487" y="1887"/>
                  </a:lnTo>
                  <a:lnTo>
                    <a:pt x="492" y="1894"/>
                  </a:lnTo>
                  <a:lnTo>
                    <a:pt x="496" y="1901"/>
                  </a:lnTo>
                  <a:lnTo>
                    <a:pt x="501" y="1914"/>
                  </a:lnTo>
                  <a:lnTo>
                    <a:pt x="505" y="1920"/>
                  </a:lnTo>
                  <a:lnTo>
                    <a:pt x="507" y="1925"/>
                  </a:lnTo>
                  <a:lnTo>
                    <a:pt x="510" y="1930"/>
                  </a:lnTo>
                  <a:lnTo>
                    <a:pt x="516" y="1934"/>
                  </a:lnTo>
                  <a:lnTo>
                    <a:pt x="523" y="1940"/>
                  </a:lnTo>
                  <a:lnTo>
                    <a:pt x="530" y="1943"/>
                  </a:lnTo>
                  <a:lnTo>
                    <a:pt x="539" y="1947"/>
                  </a:lnTo>
                  <a:lnTo>
                    <a:pt x="550" y="1950"/>
                  </a:lnTo>
                  <a:lnTo>
                    <a:pt x="570" y="1956"/>
                  </a:lnTo>
                  <a:lnTo>
                    <a:pt x="581" y="1958"/>
                  </a:lnTo>
                  <a:lnTo>
                    <a:pt x="590" y="1963"/>
                  </a:lnTo>
                  <a:lnTo>
                    <a:pt x="599" y="1967"/>
                  </a:lnTo>
                  <a:lnTo>
                    <a:pt x="606" y="1972"/>
                  </a:lnTo>
                  <a:lnTo>
                    <a:pt x="612" y="1978"/>
                  </a:lnTo>
                  <a:lnTo>
                    <a:pt x="615" y="1983"/>
                  </a:lnTo>
                  <a:lnTo>
                    <a:pt x="619" y="1990"/>
                  </a:lnTo>
                  <a:lnTo>
                    <a:pt x="621" y="1996"/>
                  </a:lnTo>
                  <a:lnTo>
                    <a:pt x="623" y="2008"/>
                  </a:lnTo>
                  <a:lnTo>
                    <a:pt x="624" y="2023"/>
                  </a:lnTo>
                  <a:lnTo>
                    <a:pt x="624" y="2030"/>
                  </a:lnTo>
                  <a:lnTo>
                    <a:pt x="624" y="2039"/>
                  </a:lnTo>
                  <a:lnTo>
                    <a:pt x="626" y="2043"/>
                  </a:lnTo>
                  <a:lnTo>
                    <a:pt x="628" y="2047"/>
                  </a:lnTo>
                  <a:lnTo>
                    <a:pt x="630" y="2050"/>
                  </a:lnTo>
                  <a:lnTo>
                    <a:pt x="632" y="2052"/>
                  </a:lnTo>
                  <a:lnTo>
                    <a:pt x="637" y="2054"/>
                  </a:lnTo>
                  <a:lnTo>
                    <a:pt x="641" y="2054"/>
                  </a:lnTo>
                  <a:lnTo>
                    <a:pt x="644" y="2052"/>
                  </a:lnTo>
                  <a:lnTo>
                    <a:pt x="650" y="2050"/>
                  </a:lnTo>
                  <a:lnTo>
                    <a:pt x="654" y="2048"/>
                  </a:lnTo>
                  <a:lnTo>
                    <a:pt x="661" y="2050"/>
                  </a:lnTo>
                  <a:lnTo>
                    <a:pt x="668" y="2052"/>
                  </a:lnTo>
                  <a:lnTo>
                    <a:pt x="673" y="2057"/>
                  </a:lnTo>
                  <a:lnTo>
                    <a:pt x="681" y="2061"/>
                  </a:lnTo>
                  <a:lnTo>
                    <a:pt x="692" y="2074"/>
                  </a:lnTo>
                  <a:lnTo>
                    <a:pt x="703" y="2085"/>
                  </a:lnTo>
                  <a:lnTo>
                    <a:pt x="715" y="2099"/>
                  </a:lnTo>
                  <a:lnTo>
                    <a:pt x="721" y="2106"/>
                  </a:lnTo>
                  <a:lnTo>
                    <a:pt x="726" y="2116"/>
                  </a:lnTo>
                  <a:lnTo>
                    <a:pt x="739" y="2134"/>
                  </a:lnTo>
                  <a:lnTo>
                    <a:pt x="748" y="2152"/>
                  </a:lnTo>
                  <a:lnTo>
                    <a:pt x="757" y="2172"/>
                  </a:lnTo>
                  <a:lnTo>
                    <a:pt x="761" y="2181"/>
                  </a:lnTo>
                  <a:lnTo>
                    <a:pt x="764" y="2192"/>
                  </a:lnTo>
                  <a:lnTo>
                    <a:pt x="770" y="2210"/>
                  </a:lnTo>
                  <a:lnTo>
                    <a:pt x="775" y="2230"/>
                  </a:lnTo>
                  <a:lnTo>
                    <a:pt x="777" y="2246"/>
                  </a:lnTo>
                  <a:lnTo>
                    <a:pt x="777" y="2263"/>
                  </a:lnTo>
                  <a:lnTo>
                    <a:pt x="779" y="2277"/>
                  </a:lnTo>
                  <a:lnTo>
                    <a:pt x="779" y="2286"/>
                  </a:lnTo>
                  <a:lnTo>
                    <a:pt x="782" y="2293"/>
                  </a:lnTo>
                  <a:lnTo>
                    <a:pt x="782" y="2297"/>
                  </a:lnTo>
                  <a:lnTo>
                    <a:pt x="784" y="2302"/>
                  </a:lnTo>
                  <a:lnTo>
                    <a:pt x="790" y="2310"/>
                  </a:lnTo>
                  <a:lnTo>
                    <a:pt x="793" y="2319"/>
                  </a:lnTo>
                  <a:lnTo>
                    <a:pt x="795" y="2322"/>
                  </a:lnTo>
                  <a:lnTo>
                    <a:pt x="795" y="2326"/>
                  </a:lnTo>
                  <a:lnTo>
                    <a:pt x="795" y="2330"/>
                  </a:lnTo>
                  <a:lnTo>
                    <a:pt x="793" y="2335"/>
                  </a:lnTo>
                  <a:lnTo>
                    <a:pt x="790" y="2342"/>
                  </a:lnTo>
                  <a:lnTo>
                    <a:pt x="784" y="2350"/>
                  </a:lnTo>
                  <a:lnTo>
                    <a:pt x="782" y="2357"/>
                  </a:lnTo>
                  <a:lnTo>
                    <a:pt x="795" y="2359"/>
                  </a:lnTo>
                  <a:lnTo>
                    <a:pt x="1231" y="2411"/>
                  </a:lnTo>
                  <a:lnTo>
                    <a:pt x="1234" y="2413"/>
                  </a:lnTo>
                  <a:lnTo>
                    <a:pt x="1238" y="2413"/>
                  </a:lnTo>
                  <a:lnTo>
                    <a:pt x="1245" y="2415"/>
                  </a:lnTo>
                  <a:lnTo>
                    <a:pt x="1247" y="2415"/>
                  </a:lnTo>
                  <a:lnTo>
                    <a:pt x="1254" y="2413"/>
                  </a:lnTo>
                  <a:lnTo>
                    <a:pt x="1260" y="2411"/>
                  </a:lnTo>
                  <a:lnTo>
                    <a:pt x="1267" y="2406"/>
                  </a:lnTo>
                  <a:lnTo>
                    <a:pt x="1272" y="2400"/>
                  </a:lnTo>
                  <a:lnTo>
                    <a:pt x="1276" y="2393"/>
                  </a:lnTo>
                  <a:lnTo>
                    <a:pt x="1280" y="2386"/>
                  </a:lnTo>
                  <a:lnTo>
                    <a:pt x="1283" y="2379"/>
                  </a:lnTo>
                  <a:lnTo>
                    <a:pt x="1283" y="2370"/>
                  </a:lnTo>
                  <a:lnTo>
                    <a:pt x="1283" y="2366"/>
                  </a:lnTo>
                  <a:lnTo>
                    <a:pt x="1281" y="2362"/>
                  </a:lnTo>
                  <a:lnTo>
                    <a:pt x="1281" y="2361"/>
                  </a:lnTo>
                  <a:lnTo>
                    <a:pt x="1278" y="2359"/>
                  </a:lnTo>
                  <a:lnTo>
                    <a:pt x="1274" y="2355"/>
                  </a:lnTo>
                  <a:lnTo>
                    <a:pt x="1267" y="2350"/>
                  </a:lnTo>
                  <a:lnTo>
                    <a:pt x="1261" y="2342"/>
                  </a:lnTo>
                  <a:lnTo>
                    <a:pt x="1258" y="2335"/>
                  </a:lnTo>
                  <a:lnTo>
                    <a:pt x="1254" y="2324"/>
                  </a:lnTo>
                  <a:lnTo>
                    <a:pt x="1254" y="2315"/>
                  </a:lnTo>
                  <a:lnTo>
                    <a:pt x="1254" y="2310"/>
                  </a:lnTo>
                  <a:lnTo>
                    <a:pt x="1256" y="2290"/>
                  </a:lnTo>
                  <a:lnTo>
                    <a:pt x="1258" y="2281"/>
                  </a:lnTo>
                  <a:lnTo>
                    <a:pt x="1261" y="2272"/>
                  </a:lnTo>
                  <a:lnTo>
                    <a:pt x="1267" y="2264"/>
                  </a:lnTo>
                  <a:lnTo>
                    <a:pt x="1274" y="2259"/>
                  </a:lnTo>
                  <a:lnTo>
                    <a:pt x="1281" y="2255"/>
                  </a:lnTo>
                  <a:lnTo>
                    <a:pt x="1289" y="2250"/>
                  </a:lnTo>
                  <a:lnTo>
                    <a:pt x="1292" y="2246"/>
                  </a:lnTo>
                  <a:lnTo>
                    <a:pt x="1294" y="2243"/>
                  </a:lnTo>
                  <a:lnTo>
                    <a:pt x="1300" y="2237"/>
                  </a:lnTo>
                  <a:lnTo>
                    <a:pt x="1303" y="2230"/>
                  </a:lnTo>
                  <a:lnTo>
                    <a:pt x="1305" y="2221"/>
                  </a:lnTo>
                  <a:lnTo>
                    <a:pt x="1307" y="2214"/>
                  </a:lnTo>
                  <a:lnTo>
                    <a:pt x="1309" y="2206"/>
                  </a:lnTo>
                  <a:lnTo>
                    <a:pt x="1310" y="2188"/>
                  </a:lnTo>
                  <a:lnTo>
                    <a:pt x="1314" y="2174"/>
                  </a:lnTo>
                  <a:lnTo>
                    <a:pt x="1316" y="2165"/>
                  </a:lnTo>
                  <a:lnTo>
                    <a:pt x="1318" y="2157"/>
                  </a:lnTo>
                  <a:lnTo>
                    <a:pt x="1319" y="2150"/>
                  </a:lnTo>
                  <a:lnTo>
                    <a:pt x="1323" y="2143"/>
                  </a:lnTo>
                  <a:lnTo>
                    <a:pt x="1327" y="2137"/>
                  </a:lnTo>
                  <a:lnTo>
                    <a:pt x="1332" y="2132"/>
                  </a:lnTo>
                  <a:lnTo>
                    <a:pt x="1339" y="2126"/>
                  </a:lnTo>
                  <a:lnTo>
                    <a:pt x="1347" y="2123"/>
                  </a:lnTo>
                  <a:lnTo>
                    <a:pt x="1356" y="2119"/>
                  </a:lnTo>
                  <a:lnTo>
                    <a:pt x="1363" y="2117"/>
                  </a:lnTo>
                  <a:lnTo>
                    <a:pt x="1378" y="2112"/>
                  </a:lnTo>
                  <a:lnTo>
                    <a:pt x="1385" y="2106"/>
                  </a:lnTo>
                  <a:lnTo>
                    <a:pt x="1390" y="2101"/>
                  </a:lnTo>
                  <a:lnTo>
                    <a:pt x="1394" y="2094"/>
                  </a:lnTo>
                  <a:lnTo>
                    <a:pt x="1396" y="2087"/>
                  </a:lnTo>
                  <a:lnTo>
                    <a:pt x="1396" y="2083"/>
                  </a:lnTo>
                  <a:lnTo>
                    <a:pt x="1394" y="2079"/>
                  </a:lnTo>
                  <a:lnTo>
                    <a:pt x="1390" y="2072"/>
                  </a:lnTo>
                  <a:lnTo>
                    <a:pt x="1381" y="2056"/>
                  </a:lnTo>
                  <a:lnTo>
                    <a:pt x="1378" y="2050"/>
                  </a:lnTo>
                  <a:lnTo>
                    <a:pt x="1374" y="2045"/>
                  </a:lnTo>
                  <a:lnTo>
                    <a:pt x="1370" y="2034"/>
                  </a:lnTo>
                  <a:lnTo>
                    <a:pt x="1368" y="2023"/>
                  </a:lnTo>
                  <a:lnTo>
                    <a:pt x="1365" y="2012"/>
                  </a:lnTo>
                  <a:lnTo>
                    <a:pt x="1361" y="1998"/>
                  </a:lnTo>
                  <a:lnTo>
                    <a:pt x="1356" y="1983"/>
                  </a:lnTo>
                  <a:lnTo>
                    <a:pt x="1347" y="1956"/>
                  </a:lnTo>
                  <a:lnTo>
                    <a:pt x="1345" y="1949"/>
                  </a:lnTo>
                  <a:lnTo>
                    <a:pt x="1343" y="1940"/>
                  </a:lnTo>
                  <a:lnTo>
                    <a:pt x="1345" y="1925"/>
                  </a:lnTo>
                  <a:lnTo>
                    <a:pt x="1347" y="1914"/>
                  </a:lnTo>
                  <a:lnTo>
                    <a:pt x="1327" y="1885"/>
                  </a:lnTo>
                  <a:lnTo>
                    <a:pt x="1294" y="1838"/>
                  </a:lnTo>
                  <a:lnTo>
                    <a:pt x="1202" y="1704"/>
                  </a:lnTo>
                  <a:lnTo>
                    <a:pt x="1085" y="1529"/>
                  </a:lnTo>
                  <a:lnTo>
                    <a:pt x="958" y="1337"/>
                  </a:lnTo>
                  <a:lnTo>
                    <a:pt x="630" y="834"/>
                  </a:lnTo>
                  <a:lnTo>
                    <a:pt x="710" y="537"/>
                  </a:lnTo>
                  <a:lnTo>
                    <a:pt x="768" y="319"/>
                  </a:lnTo>
                  <a:lnTo>
                    <a:pt x="801" y="194"/>
                  </a:lnTo>
                  <a:lnTo>
                    <a:pt x="744" y="179"/>
                  </a:lnTo>
                  <a:lnTo>
                    <a:pt x="681" y="161"/>
                  </a:lnTo>
                  <a:lnTo>
                    <a:pt x="523" y="117"/>
                  </a:lnTo>
                  <a:lnTo>
                    <a:pt x="338" y="63"/>
                  </a:lnTo>
                  <a:lnTo>
                    <a:pt x="135" y="0"/>
                  </a:lnTo>
                  <a:close/>
                </a:path>
              </a:pathLst>
            </a:custGeom>
            <a:solidFill>
              <a:srgbClr val="747480"/>
            </a:solidFill>
            <a:ln w="6350" cap="flat" cmpd="sng" algn="ctr">
              <a:solidFill>
                <a:srgbClr val="2E2E38"/>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646464"/>
                </a:solidFill>
                <a:effectLst/>
                <a:uLnTx/>
                <a:uFillTx/>
                <a:cs typeface="Times New Roman" panose="02020603050405020304" pitchFamily="18" charset="0"/>
              </a:endParaRPr>
            </a:p>
          </p:txBody>
        </p:sp>
        <p:sp>
          <p:nvSpPr>
            <p:cNvPr id="70" name="Line 158">
              <a:extLst>
                <a:ext uri="{FF2B5EF4-FFF2-40B4-BE49-F238E27FC236}">
                  <a16:creationId xmlns:a16="http://schemas.microsoft.com/office/drawing/2014/main" id="{07B905CC-5937-7F3B-68E5-8CC7AEB9F0E4}"/>
                </a:ext>
              </a:extLst>
            </p:cNvPr>
            <p:cNvSpPr>
              <a:spLocks noChangeShapeType="1"/>
            </p:cNvSpPr>
            <p:nvPr/>
          </p:nvSpPr>
          <p:spPr bwMode="auto">
            <a:xfrm>
              <a:off x="3843653" y="4196224"/>
              <a:ext cx="915" cy="894"/>
            </a:xfrm>
            <a:prstGeom prst="line">
              <a:avLst/>
            </a:prstGeom>
            <a:noFill/>
            <a:ln w="3175">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646464"/>
                </a:solidFill>
                <a:effectLst/>
                <a:uLnTx/>
                <a:uFillTx/>
                <a:cs typeface="Times New Roman" panose="02020603050405020304" pitchFamily="18" charset="0"/>
              </a:endParaRPr>
            </a:p>
          </p:txBody>
        </p:sp>
        <p:sp>
          <p:nvSpPr>
            <p:cNvPr id="71" name="Freeform 159">
              <a:extLst>
                <a:ext uri="{FF2B5EF4-FFF2-40B4-BE49-F238E27FC236}">
                  <a16:creationId xmlns:a16="http://schemas.microsoft.com/office/drawing/2014/main" id="{E4FE4611-E508-8ED3-0966-3D37CBF1173D}"/>
                </a:ext>
              </a:extLst>
            </p:cNvPr>
            <p:cNvSpPr>
              <a:spLocks/>
            </p:cNvSpPr>
            <p:nvPr/>
          </p:nvSpPr>
          <p:spPr bwMode="auto">
            <a:xfrm>
              <a:off x="2846366" y="3820835"/>
              <a:ext cx="643794" cy="527864"/>
            </a:xfrm>
            <a:custGeom>
              <a:avLst/>
              <a:gdLst/>
              <a:ahLst/>
              <a:cxnLst>
                <a:cxn ang="0">
                  <a:pos x="322" y="29"/>
                </a:cxn>
                <a:cxn ang="0">
                  <a:pos x="307" y="56"/>
                </a:cxn>
                <a:cxn ang="0">
                  <a:pos x="305" y="78"/>
                </a:cxn>
                <a:cxn ang="0">
                  <a:pos x="300" y="104"/>
                </a:cxn>
                <a:cxn ang="0">
                  <a:pos x="291" y="125"/>
                </a:cxn>
                <a:cxn ang="0">
                  <a:pos x="293" y="151"/>
                </a:cxn>
                <a:cxn ang="0">
                  <a:pos x="291" y="165"/>
                </a:cxn>
                <a:cxn ang="0">
                  <a:pos x="278" y="160"/>
                </a:cxn>
                <a:cxn ang="0">
                  <a:pos x="262" y="207"/>
                </a:cxn>
                <a:cxn ang="0">
                  <a:pos x="238" y="265"/>
                </a:cxn>
                <a:cxn ang="0">
                  <a:pos x="222" y="294"/>
                </a:cxn>
                <a:cxn ang="0">
                  <a:pos x="204" y="345"/>
                </a:cxn>
                <a:cxn ang="0">
                  <a:pos x="169" y="427"/>
                </a:cxn>
                <a:cxn ang="0">
                  <a:pos x="158" y="467"/>
                </a:cxn>
                <a:cxn ang="0">
                  <a:pos x="149" y="485"/>
                </a:cxn>
                <a:cxn ang="0">
                  <a:pos x="140" y="516"/>
                </a:cxn>
                <a:cxn ang="0">
                  <a:pos x="135" y="528"/>
                </a:cxn>
                <a:cxn ang="0">
                  <a:pos x="117" y="541"/>
                </a:cxn>
                <a:cxn ang="0">
                  <a:pos x="93" y="583"/>
                </a:cxn>
                <a:cxn ang="0">
                  <a:pos x="77" y="588"/>
                </a:cxn>
                <a:cxn ang="0">
                  <a:pos x="59" y="637"/>
                </a:cxn>
                <a:cxn ang="0">
                  <a:pos x="19" y="684"/>
                </a:cxn>
                <a:cxn ang="0">
                  <a:pos x="24" y="733"/>
                </a:cxn>
                <a:cxn ang="0">
                  <a:pos x="11" y="775"/>
                </a:cxn>
                <a:cxn ang="0">
                  <a:pos x="0" y="846"/>
                </a:cxn>
                <a:cxn ang="0">
                  <a:pos x="398" y="996"/>
                </a:cxn>
                <a:cxn ang="0">
                  <a:pos x="884" y="1124"/>
                </a:cxn>
                <a:cxn ang="0">
                  <a:pos x="1175" y="1075"/>
                </a:cxn>
                <a:cxn ang="0">
                  <a:pos x="1225" y="828"/>
                </a:cxn>
                <a:cxn ang="0">
                  <a:pos x="1245" y="770"/>
                </a:cxn>
                <a:cxn ang="0">
                  <a:pos x="1271" y="730"/>
                </a:cxn>
                <a:cxn ang="0">
                  <a:pos x="1263" y="708"/>
                </a:cxn>
                <a:cxn ang="0">
                  <a:pos x="1231" y="668"/>
                </a:cxn>
                <a:cxn ang="0">
                  <a:pos x="1240" y="643"/>
                </a:cxn>
                <a:cxn ang="0">
                  <a:pos x="1265" y="610"/>
                </a:cxn>
                <a:cxn ang="0">
                  <a:pos x="1365" y="474"/>
                </a:cxn>
                <a:cxn ang="0">
                  <a:pos x="1401" y="434"/>
                </a:cxn>
                <a:cxn ang="0">
                  <a:pos x="1401" y="394"/>
                </a:cxn>
                <a:cxn ang="0">
                  <a:pos x="1361" y="340"/>
                </a:cxn>
                <a:cxn ang="0">
                  <a:pos x="1115" y="267"/>
                </a:cxn>
                <a:cxn ang="0">
                  <a:pos x="995" y="256"/>
                </a:cxn>
                <a:cxn ang="0">
                  <a:pos x="915" y="249"/>
                </a:cxn>
                <a:cxn ang="0">
                  <a:pos x="830" y="256"/>
                </a:cxn>
                <a:cxn ang="0">
                  <a:pos x="783" y="243"/>
                </a:cxn>
                <a:cxn ang="0">
                  <a:pos x="721" y="251"/>
                </a:cxn>
                <a:cxn ang="0">
                  <a:pos x="650" y="213"/>
                </a:cxn>
                <a:cxn ang="0">
                  <a:pos x="572" y="211"/>
                </a:cxn>
                <a:cxn ang="0">
                  <a:pos x="514" y="198"/>
                </a:cxn>
                <a:cxn ang="0">
                  <a:pos x="474" y="167"/>
                </a:cxn>
                <a:cxn ang="0">
                  <a:pos x="481" y="96"/>
                </a:cxn>
                <a:cxn ang="0">
                  <a:pos x="458" y="58"/>
                </a:cxn>
                <a:cxn ang="0">
                  <a:pos x="401" y="22"/>
                </a:cxn>
                <a:cxn ang="0">
                  <a:pos x="365" y="18"/>
                </a:cxn>
                <a:cxn ang="0">
                  <a:pos x="345" y="9"/>
                </a:cxn>
                <a:cxn ang="0">
                  <a:pos x="323" y="0"/>
                </a:cxn>
              </a:cxnLst>
              <a:rect l="0" t="0" r="r" b="b"/>
              <a:pathLst>
                <a:path w="1407" h="1185">
                  <a:moveTo>
                    <a:pt x="322" y="0"/>
                  </a:moveTo>
                  <a:lnTo>
                    <a:pt x="320" y="0"/>
                  </a:lnTo>
                  <a:lnTo>
                    <a:pt x="320" y="4"/>
                  </a:lnTo>
                  <a:lnTo>
                    <a:pt x="320" y="13"/>
                  </a:lnTo>
                  <a:lnTo>
                    <a:pt x="322" y="18"/>
                  </a:lnTo>
                  <a:lnTo>
                    <a:pt x="322" y="29"/>
                  </a:lnTo>
                  <a:lnTo>
                    <a:pt x="322" y="35"/>
                  </a:lnTo>
                  <a:lnTo>
                    <a:pt x="322" y="40"/>
                  </a:lnTo>
                  <a:lnTo>
                    <a:pt x="320" y="44"/>
                  </a:lnTo>
                  <a:lnTo>
                    <a:pt x="316" y="49"/>
                  </a:lnTo>
                  <a:lnTo>
                    <a:pt x="311" y="53"/>
                  </a:lnTo>
                  <a:lnTo>
                    <a:pt x="307" y="56"/>
                  </a:lnTo>
                  <a:lnTo>
                    <a:pt x="305" y="58"/>
                  </a:lnTo>
                  <a:lnTo>
                    <a:pt x="305" y="62"/>
                  </a:lnTo>
                  <a:lnTo>
                    <a:pt x="305" y="69"/>
                  </a:lnTo>
                  <a:lnTo>
                    <a:pt x="305" y="73"/>
                  </a:lnTo>
                  <a:lnTo>
                    <a:pt x="305" y="76"/>
                  </a:lnTo>
                  <a:lnTo>
                    <a:pt x="305" y="78"/>
                  </a:lnTo>
                  <a:lnTo>
                    <a:pt x="302" y="84"/>
                  </a:lnTo>
                  <a:lnTo>
                    <a:pt x="298" y="89"/>
                  </a:lnTo>
                  <a:lnTo>
                    <a:pt x="298" y="93"/>
                  </a:lnTo>
                  <a:lnTo>
                    <a:pt x="296" y="96"/>
                  </a:lnTo>
                  <a:lnTo>
                    <a:pt x="298" y="100"/>
                  </a:lnTo>
                  <a:lnTo>
                    <a:pt x="300" y="104"/>
                  </a:lnTo>
                  <a:lnTo>
                    <a:pt x="302" y="107"/>
                  </a:lnTo>
                  <a:lnTo>
                    <a:pt x="302" y="111"/>
                  </a:lnTo>
                  <a:lnTo>
                    <a:pt x="302" y="115"/>
                  </a:lnTo>
                  <a:lnTo>
                    <a:pt x="300" y="116"/>
                  </a:lnTo>
                  <a:lnTo>
                    <a:pt x="294" y="118"/>
                  </a:lnTo>
                  <a:lnTo>
                    <a:pt x="291" y="125"/>
                  </a:lnTo>
                  <a:lnTo>
                    <a:pt x="289" y="131"/>
                  </a:lnTo>
                  <a:lnTo>
                    <a:pt x="287" y="136"/>
                  </a:lnTo>
                  <a:lnTo>
                    <a:pt x="285" y="140"/>
                  </a:lnTo>
                  <a:lnTo>
                    <a:pt x="287" y="144"/>
                  </a:lnTo>
                  <a:lnTo>
                    <a:pt x="289" y="147"/>
                  </a:lnTo>
                  <a:lnTo>
                    <a:pt x="293" y="151"/>
                  </a:lnTo>
                  <a:lnTo>
                    <a:pt x="293" y="154"/>
                  </a:lnTo>
                  <a:lnTo>
                    <a:pt x="293" y="158"/>
                  </a:lnTo>
                  <a:lnTo>
                    <a:pt x="293" y="160"/>
                  </a:lnTo>
                  <a:lnTo>
                    <a:pt x="293" y="162"/>
                  </a:lnTo>
                  <a:lnTo>
                    <a:pt x="293" y="164"/>
                  </a:lnTo>
                  <a:lnTo>
                    <a:pt x="291" y="165"/>
                  </a:lnTo>
                  <a:lnTo>
                    <a:pt x="289" y="165"/>
                  </a:lnTo>
                  <a:lnTo>
                    <a:pt x="287" y="165"/>
                  </a:lnTo>
                  <a:lnTo>
                    <a:pt x="285" y="164"/>
                  </a:lnTo>
                  <a:lnTo>
                    <a:pt x="284" y="160"/>
                  </a:lnTo>
                  <a:lnTo>
                    <a:pt x="282" y="158"/>
                  </a:lnTo>
                  <a:lnTo>
                    <a:pt x="278" y="160"/>
                  </a:lnTo>
                  <a:lnTo>
                    <a:pt x="273" y="173"/>
                  </a:lnTo>
                  <a:lnTo>
                    <a:pt x="265" y="183"/>
                  </a:lnTo>
                  <a:lnTo>
                    <a:pt x="264" y="191"/>
                  </a:lnTo>
                  <a:lnTo>
                    <a:pt x="264" y="196"/>
                  </a:lnTo>
                  <a:lnTo>
                    <a:pt x="264" y="203"/>
                  </a:lnTo>
                  <a:lnTo>
                    <a:pt x="262" y="207"/>
                  </a:lnTo>
                  <a:lnTo>
                    <a:pt x="262" y="211"/>
                  </a:lnTo>
                  <a:lnTo>
                    <a:pt x="255" y="225"/>
                  </a:lnTo>
                  <a:lnTo>
                    <a:pt x="247" y="240"/>
                  </a:lnTo>
                  <a:lnTo>
                    <a:pt x="244" y="249"/>
                  </a:lnTo>
                  <a:lnTo>
                    <a:pt x="242" y="256"/>
                  </a:lnTo>
                  <a:lnTo>
                    <a:pt x="238" y="265"/>
                  </a:lnTo>
                  <a:lnTo>
                    <a:pt x="233" y="272"/>
                  </a:lnTo>
                  <a:lnTo>
                    <a:pt x="231" y="276"/>
                  </a:lnTo>
                  <a:lnTo>
                    <a:pt x="229" y="280"/>
                  </a:lnTo>
                  <a:lnTo>
                    <a:pt x="227" y="287"/>
                  </a:lnTo>
                  <a:lnTo>
                    <a:pt x="225" y="291"/>
                  </a:lnTo>
                  <a:lnTo>
                    <a:pt x="222" y="294"/>
                  </a:lnTo>
                  <a:lnTo>
                    <a:pt x="218" y="300"/>
                  </a:lnTo>
                  <a:lnTo>
                    <a:pt x="215" y="307"/>
                  </a:lnTo>
                  <a:lnTo>
                    <a:pt x="213" y="316"/>
                  </a:lnTo>
                  <a:lnTo>
                    <a:pt x="211" y="323"/>
                  </a:lnTo>
                  <a:lnTo>
                    <a:pt x="209" y="332"/>
                  </a:lnTo>
                  <a:lnTo>
                    <a:pt x="204" y="345"/>
                  </a:lnTo>
                  <a:lnTo>
                    <a:pt x="200" y="359"/>
                  </a:lnTo>
                  <a:lnTo>
                    <a:pt x="195" y="372"/>
                  </a:lnTo>
                  <a:lnTo>
                    <a:pt x="189" y="383"/>
                  </a:lnTo>
                  <a:lnTo>
                    <a:pt x="176" y="405"/>
                  </a:lnTo>
                  <a:lnTo>
                    <a:pt x="171" y="416"/>
                  </a:lnTo>
                  <a:lnTo>
                    <a:pt x="169" y="427"/>
                  </a:lnTo>
                  <a:lnTo>
                    <a:pt x="166" y="438"/>
                  </a:lnTo>
                  <a:lnTo>
                    <a:pt x="164" y="448"/>
                  </a:lnTo>
                  <a:lnTo>
                    <a:pt x="160" y="456"/>
                  </a:lnTo>
                  <a:lnTo>
                    <a:pt x="158" y="459"/>
                  </a:lnTo>
                  <a:lnTo>
                    <a:pt x="158" y="465"/>
                  </a:lnTo>
                  <a:lnTo>
                    <a:pt x="158" y="467"/>
                  </a:lnTo>
                  <a:lnTo>
                    <a:pt x="160" y="468"/>
                  </a:lnTo>
                  <a:lnTo>
                    <a:pt x="158" y="468"/>
                  </a:lnTo>
                  <a:lnTo>
                    <a:pt x="157" y="468"/>
                  </a:lnTo>
                  <a:lnTo>
                    <a:pt x="155" y="470"/>
                  </a:lnTo>
                  <a:lnTo>
                    <a:pt x="151" y="474"/>
                  </a:lnTo>
                  <a:lnTo>
                    <a:pt x="149" y="485"/>
                  </a:lnTo>
                  <a:lnTo>
                    <a:pt x="146" y="496"/>
                  </a:lnTo>
                  <a:lnTo>
                    <a:pt x="142" y="501"/>
                  </a:lnTo>
                  <a:lnTo>
                    <a:pt x="138" y="506"/>
                  </a:lnTo>
                  <a:lnTo>
                    <a:pt x="138" y="508"/>
                  </a:lnTo>
                  <a:lnTo>
                    <a:pt x="140" y="512"/>
                  </a:lnTo>
                  <a:lnTo>
                    <a:pt x="140" y="516"/>
                  </a:lnTo>
                  <a:lnTo>
                    <a:pt x="142" y="519"/>
                  </a:lnTo>
                  <a:lnTo>
                    <a:pt x="142" y="523"/>
                  </a:lnTo>
                  <a:lnTo>
                    <a:pt x="142" y="525"/>
                  </a:lnTo>
                  <a:lnTo>
                    <a:pt x="140" y="526"/>
                  </a:lnTo>
                  <a:lnTo>
                    <a:pt x="138" y="526"/>
                  </a:lnTo>
                  <a:lnTo>
                    <a:pt x="135" y="528"/>
                  </a:lnTo>
                  <a:lnTo>
                    <a:pt x="131" y="526"/>
                  </a:lnTo>
                  <a:lnTo>
                    <a:pt x="127" y="526"/>
                  </a:lnTo>
                  <a:lnTo>
                    <a:pt x="126" y="528"/>
                  </a:lnTo>
                  <a:lnTo>
                    <a:pt x="124" y="530"/>
                  </a:lnTo>
                  <a:lnTo>
                    <a:pt x="120" y="536"/>
                  </a:lnTo>
                  <a:lnTo>
                    <a:pt x="117" y="541"/>
                  </a:lnTo>
                  <a:lnTo>
                    <a:pt x="111" y="554"/>
                  </a:lnTo>
                  <a:lnTo>
                    <a:pt x="106" y="563"/>
                  </a:lnTo>
                  <a:lnTo>
                    <a:pt x="102" y="568"/>
                  </a:lnTo>
                  <a:lnTo>
                    <a:pt x="100" y="572"/>
                  </a:lnTo>
                  <a:lnTo>
                    <a:pt x="97" y="577"/>
                  </a:lnTo>
                  <a:lnTo>
                    <a:pt x="93" y="583"/>
                  </a:lnTo>
                  <a:lnTo>
                    <a:pt x="89" y="586"/>
                  </a:lnTo>
                  <a:lnTo>
                    <a:pt x="84" y="588"/>
                  </a:lnTo>
                  <a:lnTo>
                    <a:pt x="82" y="588"/>
                  </a:lnTo>
                  <a:lnTo>
                    <a:pt x="80" y="588"/>
                  </a:lnTo>
                  <a:lnTo>
                    <a:pt x="78" y="588"/>
                  </a:lnTo>
                  <a:lnTo>
                    <a:pt x="77" y="588"/>
                  </a:lnTo>
                  <a:lnTo>
                    <a:pt x="73" y="592"/>
                  </a:lnTo>
                  <a:lnTo>
                    <a:pt x="71" y="597"/>
                  </a:lnTo>
                  <a:lnTo>
                    <a:pt x="68" y="606"/>
                  </a:lnTo>
                  <a:lnTo>
                    <a:pt x="62" y="623"/>
                  </a:lnTo>
                  <a:lnTo>
                    <a:pt x="60" y="634"/>
                  </a:lnTo>
                  <a:lnTo>
                    <a:pt x="59" y="637"/>
                  </a:lnTo>
                  <a:lnTo>
                    <a:pt x="51" y="643"/>
                  </a:lnTo>
                  <a:lnTo>
                    <a:pt x="48" y="650"/>
                  </a:lnTo>
                  <a:lnTo>
                    <a:pt x="39" y="664"/>
                  </a:lnTo>
                  <a:lnTo>
                    <a:pt x="31" y="672"/>
                  </a:lnTo>
                  <a:lnTo>
                    <a:pt x="26" y="677"/>
                  </a:lnTo>
                  <a:lnTo>
                    <a:pt x="19" y="684"/>
                  </a:lnTo>
                  <a:lnTo>
                    <a:pt x="17" y="690"/>
                  </a:lnTo>
                  <a:lnTo>
                    <a:pt x="17" y="693"/>
                  </a:lnTo>
                  <a:lnTo>
                    <a:pt x="15" y="699"/>
                  </a:lnTo>
                  <a:lnTo>
                    <a:pt x="17" y="710"/>
                  </a:lnTo>
                  <a:lnTo>
                    <a:pt x="20" y="722"/>
                  </a:lnTo>
                  <a:lnTo>
                    <a:pt x="24" y="733"/>
                  </a:lnTo>
                  <a:lnTo>
                    <a:pt x="26" y="746"/>
                  </a:lnTo>
                  <a:lnTo>
                    <a:pt x="24" y="755"/>
                  </a:lnTo>
                  <a:lnTo>
                    <a:pt x="22" y="757"/>
                  </a:lnTo>
                  <a:lnTo>
                    <a:pt x="20" y="761"/>
                  </a:lnTo>
                  <a:lnTo>
                    <a:pt x="17" y="764"/>
                  </a:lnTo>
                  <a:lnTo>
                    <a:pt x="11" y="775"/>
                  </a:lnTo>
                  <a:lnTo>
                    <a:pt x="11" y="781"/>
                  </a:lnTo>
                  <a:lnTo>
                    <a:pt x="10" y="788"/>
                  </a:lnTo>
                  <a:lnTo>
                    <a:pt x="6" y="806"/>
                  </a:lnTo>
                  <a:lnTo>
                    <a:pt x="2" y="826"/>
                  </a:lnTo>
                  <a:lnTo>
                    <a:pt x="0" y="835"/>
                  </a:lnTo>
                  <a:lnTo>
                    <a:pt x="0" y="846"/>
                  </a:lnTo>
                  <a:lnTo>
                    <a:pt x="2" y="862"/>
                  </a:lnTo>
                  <a:lnTo>
                    <a:pt x="2" y="868"/>
                  </a:lnTo>
                  <a:lnTo>
                    <a:pt x="4" y="871"/>
                  </a:lnTo>
                  <a:lnTo>
                    <a:pt x="10" y="879"/>
                  </a:lnTo>
                  <a:lnTo>
                    <a:pt x="213" y="942"/>
                  </a:lnTo>
                  <a:lnTo>
                    <a:pt x="398" y="996"/>
                  </a:lnTo>
                  <a:lnTo>
                    <a:pt x="481" y="1020"/>
                  </a:lnTo>
                  <a:lnTo>
                    <a:pt x="556" y="1040"/>
                  </a:lnTo>
                  <a:lnTo>
                    <a:pt x="619" y="1058"/>
                  </a:lnTo>
                  <a:lnTo>
                    <a:pt x="676" y="1073"/>
                  </a:lnTo>
                  <a:lnTo>
                    <a:pt x="783" y="1100"/>
                  </a:lnTo>
                  <a:lnTo>
                    <a:pt x="884" y="1124"/>
                  </a:lnTo>
                  <a:lnTo>
                    <a:pt x="984" y="1147"/>
                  </a:lnTo>
                  <a:lnTo>
                    <a:pt x="1096" y="1173"/>
                  </a:lnTo>
                  <a:lnTo>
                    <a:pt x="1151" y="1185"/>
                  </a:lnTo>
                  <a:lnTo>
                    <a:pt x="1164" y="1129"/>
                  </a:lnTo>
                  <a:lnTo>
                    <a:pt x="1171" y="1091"/>
                  </a:lnTo>
                  <a:lnTo>
                    <a:pt x="1175" y="1075"/>
                  </a:lnTo>
                  <a:lnTo>
                    <a:pt x="1176" y="1058"/>
                  </a:lnTo>
                  <a:lnTo>
                    <a:pt x="1184" y="1013"/>
                  </a:lnTo>
                  <a:lnTo>
                    <a:pt x="1193" y="967"/>
                  </a:lnTo>
                  <a:lnTo>
                    <a:pt x="1204" y="917"/>
                  </a:lnTo>
                  <a:lnTo>
                    <a:pt x="1218" y="864"/>
                  </a:lnTo>
                  <a:lnTo>
                    <a:pt x="1225" y="828"/>
                  </a:lnTo>
                  <a:lnTo>
                    <a:pt x="1229" y="808"/>
                  </a:lnTo>
                  <a:lnTo>
                    <a:pt x="1233" y="800"/>
                  </a:lnTo>
                  <a:lnTo>
                    <a:pt x="1234" y="793"/>
                  </a:lnTo>
                  <a:lnTo>
                    <a:pt x="1240" y="781"/>
                  </a:lnTo>
                  <a:lnTo>
                    <a:pt x="1242" y="775"/>
                  </a:lnTo>
                  <a:lnTo>
                    <a:pt x="1245" y="770"/>
                  </a:lnTo>
                  <a:lnTo>
                    <a:pt x="1249" y="762"/>
                  </a:lnTo>
                  <a:lnTo>
                    <a:pt x="1254" y="755"/>
                  </a:lnTo>
                  <a:lnTo>
                    <a:pt x="1260" y="750"/>
                  </a:lnTo>
                  <a:lnTo>
                    <a:pt x="1263" y="742"/>
                  </a:lnTo>
                  <a:lnTo>
                    <a:pt x="1267" y="735"/>
                  </a:lnTo>
                  <a:lnTo>
                    <a:pt x="1271" y="730"/>
                  </a:lnTo>
                  <a:lnTo>
                    <a:pt x="1273" y="724"/>
                  </a:lnTo>
                  <a:lnTo>
                    <a:pt x="1273" y="721"/>
                  </a:lnTo>
                  <a:lnTo>
                    <a:pt x="1273" y="717"/>
                  </a:lnTo>
                  <a:lnTo>
                    <a:pt x="1271" y="713"/>
                  </a:lnTo>
                  <a:lnTo>
                    <a:pt x="1269" y="712"/>
                  </a:lnTo>
                  <a:lnTo>
                    <a:pt x="1263" y="708"/>
                  </a:lnTo>
                  <a:lnTo>
                    <a:pt x="1256" y="702"/>
                  </a:lnTo>
                  <a:lnTo>
                    <a:pt x="1249" y="695"/>
                  </a:lnTo>
                  <a:lnTo>
                    <a:pt x="1240" y="686"/>
                  </a:lnTo>
                  <a:lnTo>
                    <a:pt x="1234" y="679"/>
                  </a:lnTo>
                  <a:lnTo>
                    <a:pt x="1231" y="672"/>
                  </a:lnTo>
                  <a:lnTo>
                    <a:pt x="1231" y="668"/>
                  </a:lnTo>
                  <a:lnTo>
                    <a:pt x="1231" y="664"/>
                  </a:lnTo>
                  <a:lnTo>
                    <a:pt x="1231" y="663"/>
                  </a:lnTo>
                  <a:lnTo>
                    <a:pt x="1234" y="659"/>
                  </a:lnTo>
                  <a:lnTo>
                    <a:pt x="1236" y="655"/>
                  </a:lnTo>
                  <a:lnTo>
                    <a:pt x="1238" y="652"/>
                  </a:lnTo>
                  <a:lnTo>
                    <a:pt x="1240" y="643"/>
                  </a:lnTo>
                  <a:lnTo>
                    <a:pt x="1243" y="637"/>
                  </a:lnTo>
                  <a:lnTo>
                    <a:pt x="1245" y="634"/>
                  </a:lnTo>
                  <a:lnTo>
                    <a:pt x="1249" y="628"/>
                  </a:lnTo>
                  <a:lnTo>
                    <a:pt x="1256" y="621"/>
                  </a:lnTo>
                  <a:lnTo>
                    <a:pt x="1262" y="617"/>
                  </a:lnTo>
                  <a:lnTo>
                    <a:pt x="1265" y="610"/>
                  </a:lnTo>
                  <a:lnTo>
                    <a:pt x="1278" y="595"/>
                  </a:lnTo>
                  <a:lnTo>
                    <a:pt x="1291" y="583"/>
                  </a:lnTo>
                  <a:lnTo>
                    <a:pt x="1303" y="570"/>
                  </a:lnTo>
                  <a:lnTo>
                    <a:pt x="1314" y="555"/>
                  </a:lnTo>
                  <a:lnTo>
                    <a:pt x="1361" y="481"/>
                  </a:lnTo>
                  <a:lnTo>
                    <a:pt x="1365" y="474"/>
                  </a:lnTo>
                  <a:lnTo>
                    <a:pt x="1371" y="468"/>
                  </a:lnTo>
                  <a:lnTo>
                    <a:pt x="1383" y="457"/>
                  </a:lnTo>
                  <a:lnTo>
                    <a:pt x="1389" y="452"/>
                  </a:lnTo>
                  <a:lnTo>
                    <a:pt x="1394" y="447"/>
                  </a:lnTo>
                  <a:lnTo>
                    <a:pt x="1398" y="441"/>
                  </a:lnTo>
                  <a:lnTo>
                    <a:pt x="1401" y="434"/>
                  </a:lnTo>
                  <a:lnTo>
                    <a:pt x="1405" y="423"/>
                  </a:lnTo>
                  <a:lnTo>
                    <a:pt x="1407" y="419"/>
                  </a:lnTo>
                  <a:lnTo>
                    <a:pt x="1407" y="414"/>
                  </a:lnTo>
                  <a:lnTo>
                    <a:pt x="1405" y="407"/>
                  </a:lnTo>
                  <a:lnTo>
                    <a:pt x="1403" y="401"/>
                  </a:lnTo>
                  <a:lnTo>
                    <a:pt x="1401" y="394"/>
                  </a:lnTo>
                  <a:lnTo>
                    <a:pt x="1398" y="389"/>
                  </a:lnTo>
                  <a:lnTo>
                    <a:pt x="1387" y="378"/>
                  </a:lnTo>
                  <a:lnTo>
                    <a:pt x="1378" y="367"/>
                  </a:lnTo>
                  <a:lnTo>
                    <a:pt x="1371" y="359"/>
                  </a:lnTo>
                  <a:lnTo>
                    <a:pt x="1365" y="350"/>
                  </a:lnTo>
                  <a:lnTo>
                    <a:pt x="1361" y="340"/>
                  </a:lnTo>
                  <a:lnTo>
                    <a:pt x="1361" y="332"/>
                  </a:lnTo>
                  <a:lnTo>
                    <a:pt x="1361" y="325"/>
                  </a:lnTo>
                  <a:lnTo>
                    <a:pt x="1360" y="325"/>
                  </a:lnTo>
                  <a:lnTo>
                    <a:pt x="1274" y="305"/>
                  </a:lnTo>
                  <a:lnTo>
                    <a:pt x="1191" y="285"/>
                  </a:lnTo>
                  <a:lnTo>
                    <a:pt x="1115" y="267"/>
                  </a:lnTo>
                  <a:lnTo>
                    <a:pt x="1082" y="258"/>
                  </a:lnTo>
                  <a:lnTo>
                    <a:pt x="1053" y="251"/>
                  </a:lnTo>
                  <a:lnTo>
                    <a:pt x="1031" y="254"/>
                  </a:lnTo>
                  <a:lnTo>
                    <a:pt x="1020" y="256"/>
                  </a:lnTo>
                  <a:lnTo>
                    <a:pt x="1009" y="256"/>
                  </a:lnTo>
                  <a:lnTo>
                    <a:pt x="995" y="256"/>
                  </a:lnTo>
                  <a:lnTo>
                    <a:pt x="986" y="252"/>
                  </a:lnTo>
                  <a:lnTo>
                    <a:pt x="975" y="249"/>
                  </a:lnTo>
                  <a:lnTo>
                    <a:pt x="964" y="247"/>
                  </a:lnTo>
                  <a:lnTo>
                    <a:pt x="955" y="245"/>
                  </a:lnTo>
                  <a:lnTo>
                    <a:pt x="951" y="245"/>
                  </a:lnTo>
                  <a:lnTo>
                    <a:pt x="915" y="249"/>
                  </a:lnTo>
                  <a:lnTo>
                    <a:pt x="895" y="252"/>
                  </a:lnTo>
                  <a:lnTo>
                    <a:pt x="877" y="256"/>
                  </a:lnTo>
                  <a:lnTo>
                    <a:pt x="861" y="258"/>
                  </a:lnTo>
                  <a:lnTo>
                    <a:pt x="848" y="260"/>
                  </a:lnTo>
                  <a:lnTo>
                    <a:pt x="837" y="258"/>
                  </a:lnTo>
                  <a:lnTo>
                    <a:pt x="830" y="256"/>
                  </a:lnTo>
                  <a:lnTo>
                    <a:pt x="817" y="252"/>
                  </a:lnTo>
                  <a:lnTo>
                    <a:pt x="808" y="247"/>
                  </a:lnTo>
                  <a:lnTo>
                    <a:pt x="803" y="245"/>
                  </a:lnTo>
                  <a:lnTo>
                    <a:pt x="797" y="243"/>
                  </a:lnTo>
                  <a:lnTo>
                    <a:pt x="792" y="243"/>
                  </a:lnTo>
                  <a:lnTo>
                    <a:pt x="783" y="243"/>
                  </a:lnTo>
                  <a:lnTo>
                    <a:pt x="773" y="245"/>
                  </a:lnTo>
                  <a:lnTo>
                    <a:pt x="759" y="247"/>
                  </a:lnTo>
                  <a:lnTo>
                    <a:pt x="746" y="251"/>
                  </a:lnTo>
                  <a:lnTo>
                    <a:pt x="735" y="252"/>
                  </a:lnTo>
                  <a:lnTo>
                    <a:pt x="728" y="252"/>
                  </a:lnTo>
                  <a:lnTo>
                    <a:pt x="721" y="251"/>
                  </a:lnTo>
                  <a:lnTo>
                    <a:pt x="712" y="247"/>
                  </a:lnTo>
                  <a:lnTo>
                    <a:pt x="703" y="243"/>
                  </a:lnTo>
                  <a:lnTo>
                    <a:pt x="694" y="238"/>
                  </a:lnTo>
                  <a:lnTo>
                    <a:pt x="683" y="232"/>
                  </a:lnTo>
                  <a:lnTo>
                    <a:pt x="663" y="218"/>
                  </a:lnTo>
                  <a:lnTo>
                    <a:pt x="650" y="213"/>
                  </a:lnTo>
                  <a:lnTo>
                    <a:pt x="639" y="207"/>
                  </a:lnTo>
                  <a:lnTo>
                    <a:pt x="628" y="203"/>
                  </a:lnTo>
                  <a:lnTo>
                    <a:pt x="617" y="203"/>
                  </a:lnTo>
                  <a:lnTo>
                    <a:pt x="612" y="203"/>
                  </a:lnTo>
                  <a:lnTo>
                    <a:pt x="590" y="207"/>
                  </a:lnTo>
                  <a:lnTo>
                    <a:pt x="572" y="211"/>
                  </a:lnTo>
                  <a:lnTo>
                    <a:pt x="554" y="211"/>
                  </a:lnTo>
                  <a:lnTo>
                    <a:pt x="545" y="211"/>
                  </a:lnTo>
                  <a:lnTo>
                    <a:pt x="538" y="209"/>
                  </a:lnTo>
                  <a:lnTo>
                    <a:pt x="529" y="207"/>
                  </a:lnTo>
                  <a:lnTo>
                    <a:pt x="523" y="203"/>
                  </a:lnTo>
                  <a:lnTo>
                    <a:pt x="514" y="198"/>
                  </a:lnTo>
                  <a:lnTo>
                    <a:pt x="503" y="194"/>
                  </a:lnTo>
                  <a:lnTo>
                    <a:pt x="489" y="187"/>
                  </a:lnTo>
                  <a:lnTo>
                    <a:pt x="481" y="183"/>
                  </a:lnTo>
                  <a:lnTo>
                    <a:pt x="478" y="176"/>
                  </a:lnTo>
                  <a:lnTo>
                    <a:pt x="476" y="173"/>
                  </a:lnTo>
                  <a:lnTo>
                    <a:pt x="474" y="167"/>
                  </a:lnTo>
                  <a:lnTo>
                    <a:pt x="472" y="154"/>
                  </a:lnTo>
                  <a:lnTo>
                    <a:pt x="472" y="153"/>
                  </a:lnTo>
                  <a:lnTo>
                    <a:pt x="474" y="140"/>
                  </a:lnTo>
                  <a:lnTo>
                    <a:pt x="478" y="125"/>
                  </a:lnTo>
                  <a:lnTo>
                    <a:pt x="480" y="111"/>
                  </a:lnTo>
                  <a:lnTo>
                    <a:pt x="481" y="96"/>
                  </a:lnTo>
                  <a:lnTo>
                    <a:pt x="480" y="85"/>
                  </a:lnTo>
                  <a:lnTo>
                    <a:pt x="478" y="80"/>
                  </a:lnTo>
                  <a:lnTo>
                    <a:pt x="476" y="75"/>
                  </a:lnTo>
                  <a:lnTo>
                    <a:pt x="472" y="69"/>
                  </a:lnTo>
                  <a:lnTo>
                    <a:pt x="465" y="64"/>
                  </a:lnTo>
                  <a:lnTo>
                    <a:pt x="458" y="58"/>
                  </a:lnTo>
                  <a:lnTo>
                    <a:pt x="450" y="55"/>
                  </a:lnTo>
                  <a:lnTo>
                    <a:pt x="434" y="46"/>
                  </a:lnTo>
                  <a:lnTo>
                    <a:pt x="418" y="40"/>
                  </a:lnTo>
                  <a:lnTo>
                    <a:pt x="412" y="35"/>
                  </a:lnTo>
                  <a:lnTo>
                    <a:pt x="407" y="27"/>
                  </a:lnTo>
                  <a:lnTo>
                    <a:pt x="401" y="22"/>
                  </a:lnTo>
                  <a:lnTo>
                    <a:pt x="398" y="18"/>
                  </a:lnTo>
                  <a:lnTo>
                    <a:pt x="394" y="17"/>
                  </a:lnTo>
                  <a:lnTo>
                    <a:pt x="392" y="18"/>
                  </a:lnTo>
                  <a:lnTo>
                    <a:pt x="389" y="18"/>
                  </a:lnTo>
                  <a:lnTo>
                    <a:pt x="378" y="20"/>
                  </a:lnTo>
                  <a:lnTo>
                    <a:pt x="365" y="18"/>
                  </a:lnTo>
                  <a:lnTo>
                    <a:pt x="362" y="18"/>
                  </a:lnTo>
                  <a:lnTo>
                    <a:pt x="360" y="17"/>
                  </a:lnTo>
                  <a:lnTo>
                    <a:pt x="354" y="13"/>
                  </a:lnTo>
                  <a:lnTo>
                    <a:pt x="352" y="9"/>
                  </a:lnTo>
                  <a:lnTo>
                    <a:pt x="351" y="9"/>
                  </a:lnTo>
                  <a:lnTo>
                    <a:pt x="345" y="9"/>
                  </a:lnTo>
                  <a:lnTo>
                    <a:pt x="342" y="9"/>
                  </a:lnTo>
                  <a:lnTo>
                    <a:pt x="336" y="9"/>
                  </a:lnTo>
                  <a:lnTo>
                    <a:pt x="331" y="7"/>
                  </a:lnTo>
                  <a:lnTo>
                    <a:pt x="327" y="6"/>
                  </a:lnTo>
                  <a:lnTo>
                    <a:pt x="325" y="2"/>
                  </a:lnTo>
                  <a:lnTo>
                    <a:pt x="323" y="0"/>
                  </a:lnTo>
                  <a:lnTo>
                    <a:pt x="322" y="0"/>
                  </a:lnTo>
                  <a:close/>
                </a:path>
              </a:pathLst>
            </a:custGeom>
            <a:solidFill>
              <a:srgbClr val="747480"/>
            </a:solidFill>
            <a:ln w="6350" cap="flat" cmpd="sng" algn="ctr">
              <a:solidFill>
                <a:srgbClr val="2E2E38"/>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646464"/>
                </a:solidFill>
                <a:effectLst/>
                <a:uLnTx/>
                <a:uFillTx/>
                <a:cs typeface="Times New Roman" panose="02020603050405020304" pitchFamily="18" charset="0"/>
              </a:endParaRPr>
            </a:p>
          </p:txBody>
        </p:sp>
        <p:sp>
          <p:nvSpPr>
            <p:cNvPr id="72" name="Freeform 163">
              <a:extLst>
                <a:ext uri="{FF2B5EF4-FFF2-40B4-BE49-F238E27FC236}">
                  <a16:creationId xmlns:a16="http://schemas.microsoft.com/office/drawing/2014/main" id="{CCB133F9-3A93-E712-AC10-F616E47BFAEE}"/>
                </a:ext>
              </a:extLst>
            </p:cNvPr>
            <p:cNvSpPr>
              <a:spLocks/>
            </p:cNvSpPr>
            <p:nvPr/>
          </p:nvSpPr>
          <p:spPr bwMode="auto">
            <a:xfrm>
              <a:off x="3077145" y="4298766"/>
              <a:ext cx="511924" cy="766829"/>
            </a:xfrm>
            <a:custGeom>
              <a:avLst/>
              <a:gdLst/>
              <a:ahLst/>
              <a:cxnLst>
                <a:cxn ang="0">
                  <a:pos x="80" y="343"/>
                </a:cxn>
                <a:cxn ang="0">
                  <a:pos x="94" y="785"/>
                </a:cxn>
                <a:cxn ang="0">
                  <a:pos x="434" y="1301"/>
                </a:cxn>
                <a:cxn ang="0">
                  <a:pos x="644" y="1617"/>
                </a:cxn>
                <a:cxn ang="0">
                  <a:pos x="706" y="1706"/>
                </a:cxn>
                <a:cxn ang="0">
                  <a:pos x="717" y="1720"/>
                </a:cxn>
                <a:cxn ang="0">
                  <a:pos x="722" y="1704"/>
                </a:cxn>
                <a:cxn ang="0">
                  <a:pos x="733" y="1667"/>
                </a:cxn>
                <a:cxn ang="0">
                  <a:pos x="733" y="1653"/>
                </a:cxn>
                <a:cxn ang="0">
                  <a:pos x="735" y="1609"/>
                </a:cxn>
                <a:cxn ang="0">
                  <a:pos x="737" y="1588"/>
                </a:cxn>
                <a:cxn ang="0">
                  <a:pos x="738" y="1560"/>
                </a:cxn>
                <a:cxn ang="0">
                  <a:pos x="737" y="1520"/>
                </a:cxn>
                <a:cxn ang="0">
                  <a:pos x="737" y="1511"/>
                </a:cxn>
                <a:cxn ang="0">
                  <a:pos x="742" y="1499"/>
                </a:cxn>
                <a:cxn ang="0">
                  <a:pos x="749" y="1488"/>
                </a:cxn>
                <a:cxn ang="0">
                  <a:pos x="760" y="1482"/>
                </a:cxn>
                <a:cxn ang="0">
                  <a:pos x="780" y="1479"/>
                </a:cxn>
                <a:cxn ang="0">
                  <a:pos x="798" y="1481"/>
                </a:cxn>
                <a:cxn ang="0">
                  <a:pos x="813" y="1488"/>
                </a:cxn>
                <a:cxn ang="0">
                  <a:pos x="822" y="1508"/>
                </a:cxn>
                <a:cxn ang="0">
                  <a:pos x="824" y="1515"/>
                </a:cxn>
                <a:cxn ang="0">
                  <a:pos x="827" y="1519"/>
                </a:cxn>
                <a:cxn ang="0">
                  <a:pos x="833" y="1520"/>
                </a:cxn>
                <a:cxn ang="0">
                  <a:pos x="842" y="1517"/>
                </a:cxn>
                <a:cxn ang="0">
                  <a:pos x="849" y="1510"/>
                </a:cxn>
                <a:cxn ang="0">
                  <a:pos x="860" y="1493"/>
                </a:cxn>
                <a:cxn ang="0">
                  <a:pos x="876" y="1452"/>
                </a:cxn>
                <a:cxn ang="0">
                  <a:pos x="895" y="1388"/>
                </a:cxn>
                <a:cxn ang="0">
                  <a:pos x="904" y="1344"/>
                </a:cxn>
                <a:cxn ang="0">
                  <a:pos x="907" y="1305"/>
                </a:cxn>
                <a:cxn ang="0">
                  <a:pos x="976" y="929"/>
                </a:cxn>
                <a:cxn ang="0">
                  <a:pos x="1014" y="731"/>
                </a:cxn>
                <a:cxn ang="0">
                  <a:pos x="1054" y="533"/>
                </a:cxn>
                <a:cxn ang="0">
                  <a:pos x="1118" y="214"/>
                </a:cxn>
                <a:cxn ang="0">
                  <a:pos x="1003" y="190"/>
                </a:cxn>
                <a:cxn ang="0">
                  <a:pos x="833" y="154"/>
                </a:cxn>
                <a:cxn ang="0">
                  <a:pos x="646" y="112"/>
                </a:cxn>
                <a:cxn ang="0">
                  <a:pos x="479" y="74"/>
                </a:cxn>
                <a:cxn ang="0">
                  <a:pos x="278" y="27"/>
                </a:cxn>
              </a:cxnLst>
              <a:rect l="0" t="0" r="r" b="b"/>
              <a:pathLst>
                <a:path w="1118" h="1720">
                  <a:moveTo>
                    <a:pt x="171" y="0"/>
                  </a:moveTo>
                  <a:lnTo>
                    <a:pt x="80" y="343"/>
                  </a:lnTo>
                  <a:lnTo>
                    <a:pt x="0" y="640"/>
                  </a:lnTo>
                  <a:lnTo>
                    <a:pt x="94" y="785"/>
                  </a:lnTo>
                  <a:lnTo>
                    <a:pt x="312" y="1116"/>
                  </a:lnTo>
                  <a:lnTo>
                    <a:pt x="434" y="1301"/>
                  </a:lnTo>
                  <a:lnTo>
                    <a:pt x="548" y="1475"/>
                  </a:lnTo>
                  <a:lnTo>
                    <a:pt x="644" y="1617"/>
                  </a:lnTo>
                  <a:lnTo>
                    <a:pt x="680" y="1669"/>
                  </a:lnTo>
                  <a:lnTo>
                    <a:pt x="706" y="1706"/>
                  </a:lnTo>
                  <a:lnTo>
                    <a:pt x="709" y="1709"/>
                  </a:lnTo>
                  <a:lnTo>
                    <a:pt x="717" y="1720"/>
                  </a:lnTo>
                  <a:lnTo>
                    <a:pt x="720" y="1707"/>
                  </a:lnTo>
                  <a:lnTo>
                    <a:pt x="722" y="1704"/>
                  </a:lnTo>
                  <a:lnTo>
                    <a:pt x="729" y="1678"/>
                  </a:lnTo>
                  <a:lnTo>
                    <a:pt x="733" y="1667"/>
                  </a:lnTo>
                  <a:lnTo>
                    <a:pt x="733" y="1660"/>
                  </a:lnTo>
                  <a:lnTo>
                    <a:pt x="733" y="1653"/>
                  </a:lnTo>
                  <a:lnTo>
                    <a:pt x="733" y="1629"/>
                  </a:lnTo>
                  <a:lnTo>
                    <a:pt x="735" y="1609"/>
                  </a:lnTo>
                  <a:lnTo>
                    <a:pt x="735" y="1599"/>
                  </a:lnTo>
                  <a:lnTo>
                    <a:pt x="737" y="1588"/>
                  </a:lnTo>
                  <a:lnTo>
                    <a:pt x="738" y="1573"/>
                  </a:lnTo>
                  <a:lnTo>
                    <a:pt x="738" y="1560"/>
                  </a:lnTo>
                  <a:lnTo>
                    <a:pt x="738" y="1542"/>
                  </a:lnTo>
                  <a:lnTo>
                    <a:pt x="737" y="1520"/>
                  </a:lnTo>
                  <a:lnTo>
                    <a:pt x="737" y="1517"/>
                  </a:lnTo>
                  <a:lnTo>
                    <a:pt x="737" y="1511"/>
                  </a:lnTo>
                  <a:lnTo>
                    <a:pt x="738" y="1504"/>
                  </a:lnTo>
                  <a:lnTo>
                    <a:pt x="742" y="1499"/>
                  </a:lnTo>
                  <a:lnTo>
                    <a:pt x="744" y="1493"/>
                  </a:lnTo>
                  <a:lnTo>
                    <a:pt x="749" y="1488"/>
                  </a:lnTo>
                  <a:lnTo>
                    <a:pt x="755" y="1484"/>
                  </a:lnTo>
                  <a:lnTo>
                    <a:pt x="760" y="1482"/>
                  </a:lnTo>
                  <a:lnTo>
                    <a:pt x="768" y="1481"/>
                  </a:lnTo>
                  <a:lnTo>
                    <a:pt x="780" y="1479"/>
                  </a:lnTo>
                  <a:lnTo>
                    <a:pt x="789" y="1481"/>
                  </a:lnTo>
                  <a:lnTo>
                    <a:pt x="798" y="1481"/>
                  </a:lnTo>
                  <a:lnTo>
                    <a:pt x="807" y="1484"/>
                  </a:lnTo>
                  <a:lnTo>
                    <a:pt x="813" y="1488"/>
                  </a:lnTo>
                  <a:lnTo>
                    <a:pt x="817" y="1497"/>
                  </a:lnTo>
                  <a:lnTo>
                    <a:pt x="822" y="1508"/>
                  </a:lnTo>
                  <a:lnTo>
                    <a:pt x="824" y="1513"/>
                  </a:lnTo>
                  <a:lnTo>
                    <a:pt x="824" y="1515"/>
                  </a:lnTo>
                  <a:lnTo>
                    <a:pt x="826" y="1517"/>
                  </a:lnTo>
                  <a:lnTo>
                    <a:pt x="827" y="1519"/>
                  </a:lnTo>
                  <a:lnTo>
                    <a:pt x="829" y="1520"/>
                  </a:lnTo>
                  <a:lnTo>
                    <a:pt x="833" y="1520"/>
                  </a:lnTo>
                  <a:lnTo>
                    <a:pt x="838" y="1519"/>
                  </a:lnTo>
                  <a:lnTo>
                    <a:pt x="842" y="1517"/>
                  </a:lnTo>
                  <a:lnTo>
                    <a:pt x="846" y="1513"/>
                  </a:lnTo>
                  <a:lnTo>
                    <a:pt x="849" y="1510"/>
                  </a:lnTo>
                  <a:lnTo>
                    <a:pt x="853" y="1504"/>
                  </a:lnTo>
                  <a:lnTo>
                    <a:pt x="860" y="1493"/>
                  </a:lnTo>
                  <a:lnTo>
                    <a:pt x="869" y="1470"/>
                  </a:lnTo>
                  <a:lnTo>
                    <a:pt x="876" y="1452"/>
                  </a:lnTo>
                  <a:lnTo>
                    <a:pt x="882" y="1432"/>
                  </a:lnTo>
                  <a:lnTo>
                    <a:pt x="895" y="1388"/>
                  </a:lnTo>
                  <a:lnTo>
                    <a:pt x="898" y="1366"/>
                  </a:lnTo>
                  <a:lnTo>
                    <a:pt x="904" y="1344"/>
                  </a:lnTo>
                  <a:lnTo>
                    <a:pt x="905" y="1324"/>
                  </a:lnTo>
                  <a:lnTo>
                    <a:pt x="907" y="1305"/>
                  </a:lnTo>
                  <a:lnTo>
                    <a:pt x="956" y="1038"/>
                  </a:lnTo>
                  <a:lnTo>
                    <a:pt x="976" y="929"/>
                  </a:lnTo>
                  <a:lnTo>
                    <a:pt x="996" y="824"/>
                  </a:lnTo>
                  <a:lnTo>
                    <a:pt x="1014" y="731"/>
                  </a:lnTo>
                  <a:lnTo>
                    <a:pt x="1027" y="664"/>
                  </a:lnTo>
                  <a:lnTo>
                    <a:pt x="1054" y="533"/>
                  </a:lnTo>
                  <a:lnTo>
                    <a:pt x="1083" y="386"/>
                  </a:lnTo>
                  <a:lnTo>
                    <a:pt x="1118" y="214"/>
                  </a:lnTo>
                  <a:lnTo>
                    <a:pt x="1069" y="203"/>
                  </a:lnTo>
                  <a:lnTo>
                    <a:pt x="1003" y="190"/>
                  </a:lnTo>
                  <a:lnTo>
                    <a:pt x="918" y="172"/>
                  </a:lnTo>
                  <a:lnTo>
                    <a:pt x="833" y="154"/>
                  </a:lnTo>
                  <a:lnTo>
                    <a:pt x="735" y="132"/>
                  </a:lnTo>
                  <a:lnTo>
                    <a:pt x="646" y="112"/>
                  </a:lnTo>
                  <a:lnTo>
                    <a:pt x="591" y="100"/>
                  </a:lnTo>
                  <a:lnTo>
                    <a:pt x="479" y="74"/>
                  </a:lnTo>
                  <a:lnTo>
                    <a:pt x="379" y="51"/>
                  </a:lnTo>
                  <a:lnTo>
                    <a:pt x="278" y="27"/>
                  </a:lnTo>
                  <a:lnTo>
                    <a:pt x="171" y="0"/>
                  </a:lnTo>
                  <a:close/>
                </a:path>
              </a:pathLst>
            </a:custGeom>
            <a:solidFill>
              <a:srgbClr val="747480"/>
            </a:solidFill>
            <a:ln w="6350" cap="flat" cmpd="sng" algn="ctr">
              <a:solidFill>
                <a:srgbClr val="2E2E38"/>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646464"/>
                </a:solidFill>
                <a:effectLst/>
                <a:uLnTx/>
                <a:uFillTx/>
                <a:cs typeface="Times New Roman" panose="02020603050405020304" pitchFamily="18" charset="0"/>
              </a:endParaRPr>
            </a:p>
          </p:txBody>
        </p:sp>
        <p:sp>
          <p:nvSpPr>
            <p:cNvPr id="73" name="Line 165">
              <a:extLst>
                <a:ext uri="{FF2B5EF4-FFF2-40B4-BE49-F238E27FC236}">
                  <a16:creationId xmlns:a16="http://schemas.microsoft.com/office/drawing/2014/main" id="{8C923257-A2A4-D97D-7BED-DFF93E3560B4}"/>
                </a:ext>
              </a:extLst>
            </p:cNvPr>
            <p:cNvSpPr>
              <a:spLocks noChangeShapeType="1"/>
            </p:cNvSpPr>
            <p:nvPr/>
          </p:nvSpPr>
          <p:spPr bwMode="auto">
            <a:xfrm>
              <a:off x="3458110" y="4971080"/>
              <a:ext cx="915" cy="894"/>
            </a:xfrm>
            <a:prstGeom prst="line">
              <a:avLst/>
            </a:prstGeom>
            <a:noFill/>
            <a:ln w="3175">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646464"/>
                </a:solidFill>
                <a:effectLst/>
                <a:uLnTx/>
                <a:uFillTx/>
                <a:cs typeface="Times New Roman" panose="02020603050405020304" pitchFamily="18" charset="0"/>
              </a:endParaRPr>
            </a:p>
          </p:txBody>
        </p:sp>
        <p:sp>
          <p:nvSpPr>
            <p:cNvPr id="74" name="Freeform 166">
              <a:extLst>
                <a:ext uri="{FF2B5EF4-FFF2-40B4-BE49-F238E27FC236}">
                  <a16:creationId xmlns:a16="http://schemas.microsoft.com/office/drawing/2014/main" id="{D680E40E-925E-CF1D-3210-2F8890068F36}"/>
                </a:ext>
              </a:extLst>
            </p:cNvPr>
            <p:cNvSpPr>
              <a:spLocks/>
            </p:cNvSpPr>
            <p:nvPr/>
          </p:nvSpPr>
          <p:spPr bwMode="auto">
            <a:xfrm>
              <a:off x="3372941" y="3676385"/>
              <a:ext cx="476207" cy="755239"/>
            </a:xfrm>
            <a:custGeom>
              <a:avLst/>
              <a:gdLst/>
              <a:ahLst/>
              <a:cxnLst>
                <a:cxn ang="0">
                  <a:pos x="454" y="289"/>
                </a:cxn>
                <a:cxn ang="0">
                  <a:pos x="463" y="336"/>
                </a:cxn>
                <a:cxn ang="0">
                  <a:pos x="461" y="379"/>
                </a:cxn>
                <a:cxn ang="0">
                  <a:pos x="492" y="427"/>
                </a:cxn>
                <a:cxn ang="0">
                  <a:pos x="552" y="532"/>
                </a:cxn>
                <a:cxn ang="0">
                  <a:pos x="581" y="570"/>
                </a:cxn>
                <a:cxn ang="0">
                  <a:pos x="621" y="592"/>
                </a:cxn>
                <a:cxn ang="0">
                  <a:pos x="595" y="672"/>
                </a:cxn>
                <a:cxn ang="0">
                  <a:pos x="557" y="780"/>
                </a:cxn>
                <a:cxn ang="0">
                  <a:pos x="559" y="820"/>
                </a:cxn>
                <a:cxn ang="0">
                  <a:pos x="586" y="837"/>
                </a:cxn>
                <a:cxn ang="0">
                  <a:pos x="619" y="822"/>
                </a:cxn>
                <a:cxn ang="0">
                  <a:pos x="642" y="820"/>
                </a:cxn>
                <a:cxn ang="0">
                  <a:pos x="659" y="864"/>
                </a:cxn>
                <a:cxn ang="0">
                  <a:pos x="679" y="944"/>
                </a:cxn>
                <a:cxn ang="0">
                  <a:pos x="688" y="969"/>
                </a:cxn>
                <a:cxn ang="0">
                  <a:pos x="682" y="995"/>
                </a:cxn>
                <a:cxn ang="0">
                  <a:pos x="711" y="1024"/>
                </a:cxn>
                <a:cxn ang="0">
                  <a:pos x="728" y="1035"/>
                </a:cxn>
                <a:cxn ang="0">
                  <a:pos x="735" y="1093"/>
                </a:cxn>
                <a:cxn ang="0">
                  <a:pos x="748" y="1116"/>
                </a:cxn>
                <a:cxn ang="0">
                  <a:pos x="786" y="1113"/>
                </a:cxn>
                <a:cxn ang="0">
                  <a:pos x="864" y="1113"/>
                </a:cxn>
                <a:cxn ang="0">
                  <a:pos x="934" y="1118"/>
                </a:cxn>
                <a:cxn ang="0">
                  <a:pos x="980" y="1123"/>
                </a:cxn>
                <a:cxn ang="0">
                  <a:pos x="991" y="1102"/>
                </a:cxn>
                <a:cxn ang="0">
                  <a:pos x="1002" y="1087"/>
                </a:cxn>
                <a:cxn ang="0">
                  <a:pos x="1025" y="1122"/>
                </a:cxn>
                <a:cxn ang="0">
                  <a:pos x="1020" y="1270"/>
                </a:cxn>
                <a:cxn ang="0">
                  <a:pos x="940" y="1692"/>
                </a:cxn>
                <a:cxn ang="0">
                  <a:pos x="541" y="1623"/>
                </a:cxn>
                <a:cxn ang="0">
                  <a:pos x="187" y="1550"/>
                </a:cxn>
                <a:cxn ang="0">
                  <a:pos x="24" y="1398"/>
                </a:cxn>
                <a:cxn ang="0">
                  <a:pos x="67" y="1187"/>
                </a:cxn>
                <a:cxn ang="0">
                  <a:pos x="89" y="1104"/>
                </a:cxn>
                <a:cxn ang="0">
                  <a:pos x="109" y="1073"/>
                </a:cxn>
                <a:cxn ang="0">
                  <a:pos x="122" y="1044"/>
                </a:cxn>
                <a:cxn ang="0">
                  <a:pos x="105" y="1025"/>
                </a:cxn>
                <a:cxn ang="0">
                  <a:pos x="80" y="991"/>
                </a:cxn>
                <a:cxn ang="0">
                  <a:pos x="87" y="975"/>
                </a:cxn>
                <a:cxn ang="0">
                  <a:pos x="105" y="944"/>
                </a:cxn>
                <a:cxn ang="0">
                  <a:pos x="152" y="893"/>
                </a:cxn>
                <a:cxn ang="0">
                  <a:pos x="232" y="780"/>
                </a:cxn>
                <a:cxn ang="0">
                  <a:pos x="254" y="746"/>
                </a:cxn>
                <a:cxn ang="0">
                  <a:pos x="250" y="717"/>
                </a:cxn>
                <a:cxn ang="0">
                  <a:pos x="214" y="673"/>
                </a:cxn>
                <a:cxn ang="0">
                  <a:pos x="212" y="635"/>
                </a:cxn>
                <a:cxn ang="0">
                  <a:pos x="212" y="588"/>
                </a:cxn>
                <a:cxn ang="0">
                  <a:pos x="214" y="550"/>
                </a:cxn>
                <a:cxn ang="0">
                  <a:pos x="341" y="15"/>
                </a:cxn>
                <a:cxn ang="0">
                  <a:pos x="466" y="29"/>
                </a:cxn>
              </a:cxnLst>
              <a:rect l="0" t="0" r="r" b="b"/>
              <a:pathLst>
                <a:path w="1040" h="1693">
                  <a:moveTo>
                    <a:pt x="481" y="33"/>
                  </a:moveTo>
                  <a:lnTo>
                    <a:pt x="435" y="258"/>
                  </a:lnTo>
                  <a:lnTo>
                    <a:pt x="439" y="267"/>
                  </a:lnTo>
                  <a:lnTo>
                    <a:pt x="443" y="274"/>
                  </a:lnTo>
                  <a:lnTo>
                    <a:pt x="454" y="289"/>
                  </a:lnTo>
                  <a:lnTo>
                    <a:pt x="461" y="307"/>
                  </a:lnTo>
                  <a:lnTo>
                    <a:pt x="464" y="314"/>
                  </a:lnTo>
                  <a:lnTo>
                    <a:pt x="464" y="325"/>
                  </a:lnTo>
                  <a:lnTo>
                    <a:pt x="464" y="330"/>
                  </a:lnTo>
                  <a:lnTo>
                    <a:pt x="463" y="336"/>
                  </a:lnTo>
                  <a:lnTo>
                    <a:pt x="461" y="345"/>
                  </a:lnTo>
                  <a:lnTo>
                    <a:pt x="459" y="356"/>
                  </a:lnTo>
                  <a:lnTo>
                    <a:pt x="459" y="365"/>
                  </a:lnTo>
                  <a:lnTo>
                    <a:pt x="459" y="374"/>
                  </a:lnTo>
                  <a:lnTo>
                    <a:pt x="461" y="379"/>
                  </a:lnTo>
                  <a:lnTo>
                    <a:pt x="463" y="385"/>
                  </a:lnTo>
                  <a:lnTo>
                    <a:pt x="466" y="392"/>
                  </a:lnTo>
                  <a:lnTo>
                    <a:pt x="470" y="399"/>
                  </a:lnTo>
                  <a:lnTo>
                    <a:pt x="481" y="414"/>
                  </a:lnTo>
                  <a:lnTo>
                    <a:pt x="492" y="427"/>
                  </a:lnTo>
                  <a:lnTo>
                    <a:pt x="501" y="441"/>
                  </a:lnTo>
                  <a:lnTo>
                    <a:pt x="521" y="477"/>
                  </a:lnTo>
                  <a:lnTo>
                    <a:pt x="532" y="496"/>
                  </a:lnTo>
                  <a:lnTo>
                    <a:pt x="543" y="514"/>
                  </a:lnTo>
                  <a:lnTo>
                    <a:pt x="552" y="532"/>
                  </a:lnTo>
                  <a:lnTo>
                    <a:pt x="555" y="541"/>
                  </a:lnTo>
                  <a:lnTo>
                    <a:pt x="561" y="548"/>
                  </a:lnTo>
                  <a:lnTo>
                    <a:pt x="566" y="555"/>
                  </a:lnTo>
                  <a:lnTo>
                    <a:pt x="573" y="563"/>
                  </a:lnTo>
                  <a:lnTo>
                    <a:pt x="581" y="570"/>
                  </a:lnTo>
                  <a:lnTo>
                    <a:pt x="590" y="575"/>
                  </a:lnTo>
                  <a:lnTo>
                    <a:pt x="604" y="581"/>
                  </a:lnTo>
                  <a:lnTo>
                    <a:pt x="613" y="584"/>
                  </a:lnTo>
                  <a:lnTo>
                    <a:pt x="621" y="588"/>
                  </a:lnTo>
                  <a:lnTo>
                    <a:pt x="621" y="592"/>
                  </a:lnTo>
                  <a:lnTo>
                    <a:pt x="622" y="594"/>
                  </a:lnTo>
                  <a:lnTo>
                    <a:pt x="621" y="597"/>
                  </a:lnTo>
                  <a:lnTo>
                    <a:pt x="619" y="604"/>
                  </a:lnTo>
                  <a:lnTo>
                    <a:pt x="613" y="621"/>
                  </a:lnTo>
                  <a:lnTo>
                    <a:pt x="595" y="672"/>
                  </a:lnTo>
                  <a:lnTo>
                    <a:pt x="584" y="697"/>
                  </a:lnTo>
                  <a:lnTo>
                    <a:pt x="577" y="724"/>
                  </a:lnTo>
                  <a:lnTo>
                    <a:pt x="570" y="741"/>
                  </a:lnTo>
                  <a:lnTo>
                    <a:pt x="562" y="761"/>
                  </a:lnTo>
                  <a:lnTo>
                    <a:pt x="557" y="780"/>
                  </a:lnTo>
                  <a:lnTo>
                    <a:pt x="557" y="791"/>
                  </a:lnTo>
                  <a:lnTo>
                    <a:pt x="555" y="800"/>
                  </a:lnTo>
                  <a:lnTo>
                    <a:pt x="557" y="808"/>
                  </a:lnTo>
                  <a:lnTo>
                    <a:pt x="557" y="813"/>
                  </a:lnTo>
                  <a:lnTo>
                    <a:pt x="559" y="820"/>
                  </a:lnTo>
                  <a:lnTo>
                    <a:pt x="566" y="829"/>
                  </a:lnTo>
                  <a:lnTo>
                    <a:pt x="570" y="833"/>
                  </a:lnTo>
                  <a:lnTo>
                    <a:pt x="575" y="835"/>
                  </a:lnTo>
                  <a:lnTo>
                    <a:pt x="581" y="837"/>
                  </a:lnTo>
                  <a:lnTo>
                    <a:pt x="586" y="837"/>
                  </a:lnTo>
                  <a:lnTo>
                    <a:pt x="593" y="837"/>
                  </a:lnTo>
                  <a:lnTo>
                    <a:pt x="599" y="835"/>
                  </a:lnTo>
                  <a:lnTo>
                    <a:pt x="604" y="831"/>
                  </a:lnTo>
                  <a:lnTo>
                    <a:pt x="610" y="828"/>
                  </a:lnTo>
                  <a:lnTo>
                    <a:pt x="619" y="822"/>
                  </a:lnTo>
                  <a:lnTo>
                    <a:pt x="626" y="817"/>
                  </a:lnTo>
                  <a:lnTo>
                    <a:pt x="630" y="815"/>
                  </a:lnTo>
                  <a:lnTo>
                    <a:pt x="633" y="815"/>
                  </a:lnTo>
                  <a:lnTo>
                    <a:pt x="639" y="815"/>
                  </a:lnTo>
                  <a:lnTo>
                    <a:pt x="642" y="820"/>
                  </a:lnTo>
                  <a:lnTo>
                    <a:pt x="648" y="828"/>
                  </a:lnTo>
                  <a:lnTo>
                    <a:pt x="650" y="833"/>
                  </a:lnTo>
                  <a:lnTo>
                    <a:pt x="651" y="839"/>
                  </a:lnTo>
                  <a:lnTo>
                    <a:pt x="655" y="851"/>
                  </a:lnTo>
                  <a:lnTo>
                    <a:pt x="659" y="864"/>
                  </a:lnTo>
                  <a:lnTo>
                    <a:pt x="662" y="893"/>
                  </a:lnTo>
                  <a:lnTo>
                    <a:pt x="664" y="908"/>
                  </a:lnTo>
                  <a:lnTo>
                    <a:pt x="668" y="922"/>
                  </a:lnTo>
                  <a:lnTo>
                    <a:pt x="673" y="935"/>
                  </a:lnTo>
                  <a:lnTo>
                    <a:pt x="679" y="944"/>
                  </a:lnTo>
                  <a:lnTo>
                    <a:pt x="684" y="949"/>
                  </a:lnTo>
                  <a:lnTo>
                    <a:pt x="686" y="955"/>
                  </a:lnTo>
                  <a:lnTo>
                    <a:pt x="688" y="958"/>
                  </a:lnTo>
                  <a:lnTo>
                    <a:pt x="688" y="962"/>
                  </a:lnTo>
                  <a:lnTo>
                    <a:pt x="688" y="969"/>
                  </a:lnTo>
                  <a:lnTo>
                    <a:pt x="686" y="975"/>
                  </a:lnTo>
                  <a:lnTo>
                    <a:pt x="682" y="982"/>
                  </a:lnTo>
                  <a:lnTo>
                    <a:pt x="682" y="989"/>
                  </a:lnTo>
                  <a:lnTo>
                    <a:pt x="682" y="991"/>
                  </a:lnTo>
                  <a:lnTo>
                    <a:pt x="682" y="995"/>
                  </a:lnTo>
                  <a:lnTo>
                    <a:pt x="686" y="1000"/>
                  </a:lnTo>
                  <a:lnTo>
                    <a:pt x="690" y="1007"/>
                  </a:lnTo>
                  <a:lnTo>
                    <a:pt x="697" y="1015"/>
                  </a:lnTo>
                  <a:lnTo>
                    <a:pt x="704" y="1020"/>
                  </a:lnTo>
                  <a:lnTo>
                    <a:pt x="711" y="1024"/>
                  </a:lnTo>
                  <a:lnTo>
                    <a:pt x="717" y="1025"/>
                  </a:lnTo>
                  <a:lnTo>
                    <a:pt x="722" y="1029"/>
                  </a:lnTo>
                  <a:lnTo>
                    <a:pt x="724" y="1031"/>
                  </a:lnTo>
                  <a:lnTo>
                    <a:pt x="726" y="1033"/>
                  </a:lnTo>
                  <a:lnTo>
                    <a:pt x="728" y="1035"/>
                  </a:lnTo>
                  <a:lnTo>
                    <a:pt x="729" y="1040"/>
                  </a:lnTo>
                  <a:lnTo>
                    <a:pt x="731" y="1045"/>
                  </a:lnTo>
                  <a:lnTo>
                    <a:pt x="733" y="1060"/>
                  </a:lnTo>
                  <a:lnTo>
                    <a:pt x="735" y="1082"/>
                  </a:lnTo>
                  <a:lnTo>
                    <a:pt x="735" y="1093"/>
                  </a:lnTo>
                  <a:lnTo>
                    <a:pt x="737" y="1100"/>
                  </a:lnTo>
                  <a:lnTo>
                    <a:pt x="738" y="1107"/>
                  </a:lnTo>
                  <a:lnTo>
                    <a:pt x="742" y="1111"/>
                  </a:lnTo>
                  <a:lnTo>
                    <a:pt x="744" y="1114"/>
                  </a:lnTo>
                  <a:lnTo>
                    <a:pt x="748" y="1116"/>
                  </a:lnTo>
                  <a:lnTo>
                    <a:pt x="753" y="1118"/>
                  </a:lnTo>
                  <a:lnTo>
                    <a:pt x="757" y="1118"/>
                  </a:lnTo>
                  <a:lnTo>
                    <a:pt x="768" y="1118"/>
                  </a:lnTo>
                  <a:lnTo>
                    <a:pt x="778" y="1114"/>
                  </a:lnTo>
                  <a:lnTo>
                    <a:pt x="786" y="1113"/>
                  </a:lnTo>
                  <a:lnTo>
                    <a:pt x="791" y="1111"/>
                  </a:lnTo>
                  <a:lnTo>
                    <a:pt x="804" y="1111"/>
                  </a:lnTo>
                  <a:lnTo>
                    <a:pt x="807" y="1111"/>
                  </a:lnTo>
                  <a:lnTo>
                    <a:pt x="836" y="1113"/>
                  </a:lnTo>
                  <a:lnTo>
                    <a:pt x="864" y="1113"/>
                  </a:lnTo>
                  <a:lnTo>
                    <a:pt x="882" y="1113"/>
                  </a:lnTo>
                  <a:lnTo>
                    <a:pt x="902" y="1111"/>
                  </a:lnTo>
                  <a:lnTo>
                    <a:pt x="909" y="1113"/>
                  </a:lnTo>
                  <a:lnTo>
                    <a:pt x="916" y="1113"/>
                  </a:lnTo>
                  <a:lnTo>
                    <a:pt x="934" y="1118"/>
                  </a:lnTo>
                  <a:lnTo>
                    <a:pt x="953" y="1123"/>
                  </a:lnTo>
                  <a:lnTo>
                    <a:pt x="962" y="1125"/>
                  </a:lnTo>
                  <a:lnTo>
                    <a:pt x="969" y="1125"/>
                  </a:lnTo>
                  <a:lnTo>
                    <a:pt x="974" y="1125"/>
                  </a:lnTo>
                  <a:lnTo>
                    <a:pt x="980" y="1123"/>
                  </a:lnTo>
                  <a:lnTo>
                    <a:pt x="982" y="1122"/>
                  </a:lnTo>
                  <a:lnTo>
                    <a:pt x="983" y="1120"/>
                  </a:lnTo>
                  <a:lnTo>
                    <a:pt x="987" y="1114"/>
                  </a:lnTo>
                  <a:lnTo>
                    <a:pt x="989" y="1109"/>
                  </a:lnTo>
                  <a:lnTo>
                    <a:pt x="991" y="1102"/>
                  </a:lnTo>
                  <a:lnTo>
                    <a:pt x="991" y="1096"/>
                  </a:lnTo>
                  <a:lnTo>
                    <a:pt x="993" y="1093"/>
                  </a:lnTo>
                  <a:lnTo>
                    <a:pt x="996" y="1089"/>
                  </a:lnTo>
                  <a:lnTo>
                    <a:pt x="1000" y="1087"/>
                  </a:lnTo>
                  <a:lnTo>
                    <a:pt x="1002" y="1087"/>
                  </a:lnTo>
                  <a:lnTo>
                    <a:pt x="1005" y="1089"/>
                  </a:lnTo>
                  <a:lnTo>
                    <a:pt x="1009" y="1093"/>
                  </a:lnTo>
                  <a:lnTo>
                    <a:pt x="1013" y="1096"/>
                  </a:lnTo>
                  <a:lnTo>
                    <a:pt x="1020" y="1109"/>
                  </a:lnTo>
                  <a:lnTo>
                    <a:pt x="1025" y="1122"/>
                  </a:lnTo>
                  <a:lnTo>
                    <a:pt x="1031" y="1136"/>
                  </a:lnTo>
                  <a:lnTo>
                    <a:pt x="1034" y="1145"/>
                  </a:lnTo>
                  <a:lnTo>
                    <a:pt x="1036" y="1153"/>
                  </a:lnTo>
                  <a:lnTo>
                    <a:pt x="1040" y="1156"/>
                  </a:lnTo>
                  <a:lnTo>
                    <a:pt x="1020" y="1270"/>
                  </a:lnTo>
                  <a:lnTo>
                    <a:pt x="1009" y="1329"/>
                  </a:lnTo>
                  <a:lnTo>
                    <a:pt x="1000" y="1383"/>
                  </a:lnTo>
                  <a:lnTo>
                    <a:pt x="980" y="1523"/>
                  </a:lnTo>
                  <a:lnTo>
                    <a:pt x="953" y="1693"/>
                  </a:lnTo>
                  <a:lnTo>
                    <a:pt x="940" y="1692"/>
                  </a:lnTo>
                  <a:lnTo>
                    <a:pt x="920" y="1690"/>
                  </a:lnTo>
                  <a:lnTo>
                    <a:pt x="858" y="1679"/>
                  </a:lnTo>
                  <a:lnTo>
                    <a:pt x="780" y="1666"/>
                  </a:lnTo>
                  <a:lnTo>
                    <a:pt x="695" y="1652"/>
                  </a:lnTo>
                  <a:lnTo>
                    <a:pt x="541" y="1623"/>
                  </a:lnTo>
                  <a:lnTo>
                    <a:pt x="472" y="1610"/>
                  </a:lnTo>
                  <a:lnTo>
                    <a:pt x="423" y="1599"/>
                  </a:lnTo>
                  <a:lnTo>
                    <a:pt x="357" y="1586"/>
                  </a:lnTo>
                  <a:lnTo>
                    <a:pt x="272" y="1568"/>
                  </a:lnTo>
                  <a:lnTo>
                    <a:pt x="187" y="1550"/>
                  </a:lnTo>
                  <a:lnTo>
                    <a:pt x="89" y="1528"/>
                  </a:lnTo>
                  <a:lnTo>
                    <a:pt x="0" y="1508"/>
                  </a:lnTo>
                  <a:lnTo>
                    <a:pt x="13" y="1452"/>
                  </a:lnTo>
                  <a:lnTo>
                    <a:pt x="20" y="1414"/>
                  </a:lnTo>
                  <a:lnTo>
                    <a:pt x="24" y="1398"/>
                  </a:lnTo>
                  <a:lnTo>
                    <a:pt x="25" y="1381"/>
                  </a:lnTo>
                  <a:lnTo>
                    <a:pt x="33" y="1336"/>
                  </a:lnTo>
                  <a:lnTo>
                    <a:pt x="42" y="1290"/>
                  </a:lnTo>
                  <a:lnTo>
                    <a:pt x="53" y="1240"/>
                  </a:lnTo>
                  <a:lnTo>
                    <a:pt x="67" y="1187"/>
                  </a:lnTo>
                  <a:lnTo>
                    <a:pt x="74" y="1151"/>
                  </a:lnTo>
                  <a:lnTo>
                    <a:pt x="78" y="1131"/>
                  </a:lnTo>
                  <a:lnTo>
                    <a:pt x="82" y="1123"/>
                  </a:lnTo>
                  <a:lnTo>
                    <a:pt x="83" y="1116"/>
                  </a:lnTo>
                  <a:lnTo>
                    <a:pt x="89" y="1104"/>
                  </a:lnTo>
                  <a:lnTo>
                    <a:pt x="91" y="1098"/>
                  </a:lnTo>
                  <a:lnTo>
                    <a:pt x="94" y="1093"/>
                  </a:lnTo>
                  <a:lnTo>
                    <a:pt x="98" y="1085"/>
                  </a:lnTo>
                  <a:lnTo>
                    <a:pt x="103" y="1078"/>
                  </a:lnTo>
                  <a:lnTo>
                    <a:pt x="109" y="1073"/>
                  </a:lnTo>
                  <a:lnTo>
                    <a:pt x="112" y="1065"/>
                  </a:lnTo>
                  <a:lnTo>
                    <a:pt x="116" y="1058"/>
                  </a:lnTo>
                  <a:lnTo>
                    <a:pt x="120" y="1053"/>
                  </a:lnTo>
                  <a:lnTo>
                    <a:pt x="122" y="1047"/>
                  </a:lnTo>
                  <a:lnTo>
                    <a:pt x="122" y="1044"/>
                  </a:lnTo>
                  <a:lnTo>
                    <a:pt x="122" y="1040"/>
                  </a:lnTo>
                  <a:lnTo>
                    <a:pt x="120" y="1036"/>
                  </a:lnTo>
                  <a:lnTo>
                    <a:pt x="118" y="1035"/>
                  </a:lnTo>
                  <a:lnTo>
                    <a:pt x="112" y="1031"/>
                  </a:lnTo>
                  <a:lnTo>
                    <a:pt x="105" y="1025"/>
                  </a:lnTo>
                  <a:lnTo>
                    <a:pt x="98" y="1018"/>
                  </a:lnTo>
                  <a:lnTo>
                    <a:pt x="89" y="1009"/>
                  </a:lnTo>
                  <a:lnTo>
                    <a:pt x="83" y="1002"/>
                  </a:lnTo>
                  <a:lnTo>
                    <a:pt x="80" y="995"/>
                  </a:lnTo>
                  <a:lnTo>
                    <a:pt x="80" y="991"/>
                  </a:lnTo>
                  <a:lnTo>
                    <a:pt x="80" y="987"/>
                  </a:lnTo>
                  <a:lnTo>
                    <a:pt x="80" y="986"/>
                  </a:lnTo>
                  <a:lnTo>
                    <a:pt x="83" y="982"/>
                  </a:lnTo>
                  <a:lnTo>
                    <a:pt x="85" y="978"/>
                  </a:lnTo>
                  <a:lnTo>
                    <a:pt x="87" y="975"/>
                  </a:lnTo>
                  <a:lnTo>
                    <a:pt x="89" y="966"/>
                  </a:lnTo>
                  <a:lnTo>
                    <a:pt x="92" y="960"/>
                  </a:lnTo>
                  <a:lnTo>
                    <a:pt x="94" y="957"/>
                  </a:lnTo>
                  <a:lnTo>
                    <a:pt x="98" y="951"/>
                  </a:lnTo>
                  <a:lnTo>
                    <a:pt x="105" y="944"/>
                  </a:lnTo>
                  <a:lnTo>
                    <a:pt x="111" y="940"/>
                  </a:lnTo>
                  <a:lnTo>
                    <a:pt x="114" y="933"/>
                  </a:lnTo>
                  <a:lnTo>
                    <a:pt x="127" y="918"/>
                  </a:lnTo>
                  <a:lnTo>
                    <a:pt x="140" y="906"/>
                  </a:lnTo>
                  <a:lnTo>
                    <a:pt x="152" y="893"/>
                  </a:lnTo>
                  <a:lnTo>
                    <a:pt x="163" y="878"/>
                  </a:lnTo>
                  <a:lnTo>
                    <a:pt x="210" y="804"/>
                  </a:lnTo>
                  <a:lnTo>
                    <a:pt x="214" y="797"/>
                  </a:lnTo>
                  <a:lnTo>
                    <a:pt x="220" y="791"/>
                  </a:lnTo>
                  <a:lnTo>
                    <a:pt x="232" y="780"/>
                  </a:lnTo>
                  <a:lnTo>
                    <a:pt x="238" y="775"/>
                  </a:lnTo>
                  <a:lnTo>
                    <a:pt x="243" y="770"/>
                  </a:lnTo>
                  <a:lnTo>
                    <a:pt x="247" y="764"/>
                  </a:lnTo>
                  <a:lnTo>
                    <a:pt x="250" y="757"/>
                  </a:lnTo>
                  <a:lnTo>
                    <a:pt x="254" y="746"/>
                  </a:lnTo>
                  <a:lnTo>
                    <a:pt x="256" y="742"/>
                  </a:lnTo>
                  <a:lnTo>
                    <a:pt x="256" y="737"/>
                  </a:lnTo>
                  <a:lnTo>
                    <a:pt x="254" y="730"/>
                  </a:lnTo>
                  <a:lnTo>
                    <a:pt x="252" y="724"/>
                  </a:lnTo>
                  <a:lnTo>
                    <a:pt x="250" y="717"/>
                  </a:lnTo>
                  <a:lnTo>
                    <a:pt x="247" y="712"/>
                  </a:lnTo>
                  <a:lnTo>
                    <a:pt x="236" y="701"/>
                  </a:lnTo>
                  <a:lnTo>
                    <a:pt x="227" y="690"/>
                  </a:lnTo>
                  <a:lnTo>
                    <a:pt x="220" y="682"/>
                  </a:lnTo>
                  <a:lnTo>
                    <a:pt x="214" y="673"/>
                  </a:lnTo>
                  <a:lnTo>
                    <a:pt x="210" y="663"/>
                  </a:lnTo>
                  <a:lnTo>
                    <a:pt x="210" y="655"/>
                  </a:lnTo>
                  <a:lnTo>
                    <a:pt x="210" y="648"/>
                  </a:lnTo>
                  <a:lnTo>
                    <a:pt x="210" y="646"/>
                  </a:lnTo>
                  <a:lnTo>
                    <a:pt x="212" y="635"/>
                  </a:lnTo>
                  <a:lnTo>
                    <a:pt x="214" y="623"/>
                  </a:lnTo>
                  <a:lnTo>
                    <a:pt x="216" y="610"/>
                  </a:lnTo>
                  <a:lnTo>
                    <a:pt x="216" y="608"/>
                  </a:lnTo>
                  <a:lnTo>
                    <a:pt x="216" y="599"/>
                  </a:lnTo>
                  <a:lnTo>
                    <a:pt x="212" y="588"/>
                  </a:lnTo>
                  <a:lnTo>
                    <a:pt x="210" y="579"/>
                  </a:lnTo>
                  <a:lnTo>
                    <a:pt x="209" y="570"/>
                  </a:lnTo>
                  <a:lnTo>
                    <a:pt x="210" y="561"/>
                  </a:lnTo>
                  <a:lnTo>
                    <a:pt x="212" y="555"/>
                  </a:lnTo>
                  <a:lnTo>
                    <a:pt x="214" y="550"/>
                  </a:lnTo>
                  <a:lnTo>
                    <a:pt x="221" y="523"/>
                  </a:lnTo>
                  <a:lnTo>
                    <a:pt x="232" y="474"/>
                  </a:lnTo>
                  <a:lnTo>
                    <a:pt x="265" y="330"/>
                  </a:lnTo>
                  <a:lnTo>
                    <a:pt x="305" y="163"/>
                  </a:lnTo>
                  <a:lnTo>
                    <a:pt x="341" y="15"/>
                  </a:lnTo>
                  <a:lnTo>
                    <a:pt x="343" y="0"/>
                  </a:lnTo>
                  <a:lnTo>
                    <a:pt x="341" y="0"/>
                  </a:lnTo>
                  <a:lnTo>
                    <a:pt x="356" y="4"/>
                  </a:lnTo>
                  <a:lnTo>
                    <a:pt x="410" y="16"/>
                  </a:lnTo>
                  <a:lnTo>
                    <a:pt x="466" y="29"/>
                  </a:lnTo>
                  <a:lnTo>
                    <a:pt x="481" y="33"/>
                  </a:lnTo>
                  <a:lnTo>
                    <a:pt x="483" y="33"/>
                  </a:lnTo>
                  <a:lnTo>
                    <a:pt x="481" y="33"/>
                  </a:lnTo>
                  <a:close/>
                </a:path>
              </a:pathLst>
            </a:custGeom>
            <a:solidFill>
              <a:srgbClr val="FFE600"/>
            </a:solidFill>
            <a:ln w="6350" cap="flat" cmpd="sng" algn="ctr">
              <a:solidFill>
                <a:srgbClr val="2E2E38"/>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646464"/>
                </a:solidFill>
                <a:effectLst/>
                <a:uLnTx/>
                <a:uFillTx/>
                <a:cs typeface="Times New Roman" panose="02020603050405020304" pitchFamily="18" charset="0"/>
              </a:endParaRPr>
            </a:p>
          </p:txBody>
        </p:sp>
        <p:sp>
          <p:nvSpPr>
            <p:cNvPr id="75" name="Freeform 168">
              <a:extLst>
                <a:ext uri="{FF2B5EF4-FFF2-40B4-BE49-F238E27FC236}">
                  <a16:creationId xmlns:a16="http://schemas.microsoft.com/office/drawing/2014/main" id="{7C742937-D928-C544-284C-DEC2C6833351}"/>
                </a:ext>
              </a:extLst>
            </p:cNvPr>
            <p:cNvSpPr>
              <a:spLocks noEditPoints="1"/>
            </p:cNvSpPr>
            <p:nvPr/>
          </p:nvSpPr>
          <p:spPr bwMode="auto">
            <a:xfrm>
              <a:off x="2718157" y="5402645"/>
              <a:ext cx="896551" cy="681231"/>
            </a:xfrm>
            <a:custGeom>
              <a:avLst/>
              <a:gdLst/>
              <a:ahLst/>
              <a:cxnLst>
                <a:cxn ang="0">
                  <a:pos x="154" y="640"/>
                </a:cxn>
                <a:cxn ang="0">
                  <a:pos x="227" y="916"/>
                </a:cxn>
                <a:cxn ang="0">
                  <a:pos x="203" y="915"/>
                </a:cxn>
                <a:cxn ang="0">
                  <a:pos x="1305" y="936"/>
                </a:cxn>
                <a:cxn ang="0">
                  <a:pos x="1424" y="969"/>
                </a:cxn>
                <a:cxn ang="0">
                  <a:pos x="1628" y="1013"/>
                </a:cxn>
                <a:cxn ang="0">
                  <a:pos x="1738" y="1080"/>
                </a:cxn>
                <a:cxn ang="0">
                  <a:pos x="1844" y="1189"/>
                </a:cxn>
                <a:cxn ang="0">
                  <a:pos x="1916" y="1216"/>
                </a:cxn>
                <a:cxn ang="0">
                  <a:pos x="1813" y="1085"/>
                </a:cxn>
                <a:cxn ang="0">
                  <a:pos x="1613" y="898"/>
                </a:cxn>
                <a:cxn ang="0">
                  <a:pos x="1174" y="100"/>
                </a:cxn>
                <a:cxn ang="0">
                  <a:pos x="842" y="69"/>
                </a:cxn>
                <a:cxn ang="0">
                  <a:pos x="720" y="42"/>
                </a:cxn>
                <a:cxn ang="0">
                  <a:pos x="559" y="76"/>
                </a:cxn>
                <a:cxn ang="0">
                  <a:pos x="383" y="198"/>
                </a:cxn>
                <a:cxn ang="0">
                  <a:pos x="512" y="388"/>
                </a:cxn>
                <a:cxn ang="0">
                  <a:pos x="446" y="432"/>
                </a:cxn>
                <a:cxn ang="0">
                  <a:pos x="321" y="477"/>
                </a:cxn>
                <a:cxn ang="0">
                  <a:pos x="446" y="570"/>
                </a:cxn>
                <a:cxn ang="0">
                  <a:pos x="510" y="602"/>
                </a:cxn>
                <a:cxn ang="0">
                  <a:pos x="372" y="675"/>
                </a:cxn>
                <a:cxn ang="0">
                  <a:pos x="289" y="804"/>
                </a:cxn>
                <a:cxn ang="0">
                  <a:pos x="312" y="913"/>
                </a:cxn>
                <a:cxn ang="0">
                  <a:pos x="436" y="980"/>
                </a:cxn>
                <a:cxn ang="0">
                  <a:pos x="503" y="1076"/>
                </a:cxn>
                <a:cxn ang="0">
                  <a:pos x="584" y="1096"/>
                </a:cxn>
                <a:cxn ang="0">
                  <a:pos x="559" y="1261"/>
                </a:cxn>
                <a:cxn ang="0">
                  <a:pos x="426" y="1326"/>
                </a:cxn>
                <a:cxn ang="0">
                  <a:pos x="399" y="1363"/>
                </a:cxn>
                <a:cxn ang="0">
                  <a:pos x="512" y="1361"/>
                </a:cxn>
                <a:cxn ang="0">
                  <a:pos x="619" y="1274"/>
                </a:cxn>
                <a:cxn ang="0">
                  <a:pos x="728" y="1170"/>
                </a:cxn>
                <a:cxn ang="0">
                  <a:pos x="791" y="1065"/>
                </a:cxn>
                <a:cxn ang="0">
                  <a:pos x="811" y="974"/>
                </a:cxn>
                <a:cxn ang="0">
                  <a:pos x="915" y="873"/>
                </a:cxn>
                <a:cxn ang="0">
                  <a:pos x="925" y="898"/>
                </a:cxn>
                <a:cxn ang="0">
                  <a:pos x="876" y="1058"/>
                </a:cxn>
                <a:cxn ang="0">
                  <a:pos x="1029" y="973"/>
                </a:cxn>
                <a:cxn ang="0">
                  <a:pos x="1091" y="880"/>
                </a:cxn>
                <a:cxn ang="0">
                  <a:pos x="1793" y="1129"/>
                </a:cxn>
                <a:cxn ang="0">
                  <a:pos x="1767" y="1150"/>
                </a:cxn>
                <a:cxn ang="0">
                  <a:pos x="1769" y="1201"/>
                </a:cxn>
                <a:cxn ang="0">
                  <a:pos x="1789" y="1234"/>
                </a:cxn>
                <a:cxn ang="0">
                  <a:pos x="1807" y="1243"/>
                </a:cxn>
                <a:cxn ang="0">
                  <a:pos x="1845" y="1252"/>
                </a:cxn>
                <a:cxn ang="0">
                  <a:pos x="1853" y="1212"/>
                </a:cxn>
                <a:cxn ang="0">
                  <a:pos x="1738" y="1120"/>
                </a:cxn>
                <a:cxn ang="0">
                  <a:pos x="1751" y="1141"/>
                </a:cxn>
                <a:cxn ang="0">
                  <a:pos x="1662" y="1036"/>
                </a:cxn>
                <a:cxn ang="0">
                  <a:pos x="1675" y="1018"/>
                </a:cxn>
                <a:cxn ang="0">
                  <a:pos x="1704" y="1174"/>
                </a:cxn>
                <a:cxn ang="0">
                  <a:pos x="759" y="1245"/>
                </a:cxn>
                <a:cxn ang="0">
                  <a:pos x="818" y="1248"/>
                </a:cxn>
                <a:cxn ang="0">
                  <a:pos x="853" y="1183"/>
                </a:cxn>
                <a:cxn ang="0">
                  <a:pos x="784" y="1207"/>
                </a:cxn>
                <a:cxn ang="0">
                  <a:pos x="853" y="1112"/>
                </a:cxn>
                <a:cxn ang="0">
                  <a:pos x="240" y="1419"/>
                </a:cxn>
                <a:cxn ang="0">
                  <a:pos x="254" y="1399"/>
                </a:cxn>
                <a:cxn ang="0">
                  <a:pos x="118" y="1481"/>
                </a:cxn>
                <a:cxn ang="0">
                  <a:pos x="162" y="1475"/>
                </a:cxn>
                <a:cxn ang="0">
                  <a:pos x="31" y="1504"/>
                </a:cxn>
              </a:cxnLst>
              <a:rect l="0" t="0" r="r" b="b"/>
              <a:pathLst>
                <a:path w="1958" h="1528">
                  <a:moveTo>
                    <a:pt x="114" y="588"/>
                  </a:moveTo>
                  <a:lnTo>
                    <a:pt x="120" y="591"/>
                  </a:lnTo>
                  <a:lnTo>
                    <a:pt x="125" y="595"/>
                  </a:lnTo>
                  <a:lnTo>
                    <a:pt x="131" y="595"/>
                  </a:lnTo>
                  <a:lnTo>
                    <a:pt x="136" y="595"/>
                  </a:lnTo>
                  <a:lnTo>
                    <a:pt x="143" y="593"/>
                  </a:lnTo>
                  <a:lnTo>
                    <a:pt x="147" y="591"/>
                  </a:lnTo>
                  <a:lnTo>
                    <a:pt x="151" y="593"/>
                  </a:lnTo>
                  <a:lnTo>
                    <a:pt x="152" y="595"/>
                  </a:lnTo>
                  <a:lnTo>
                    <a:pt x="156" y="601"/>
                  </a:lnTo>
                  <a:lnTo>
                    <a:pt x="163" y="615"/>
                  </a:lnTo>
                  <a:lnTo>
                    <a:pt x="169" y="621"/>
                  </a:lnTo>
                  <a:lnTo>
                    <a:pt x="176" y="626"/>
                  </a:lnTo>
                  <a:lnTo>
                    <a:pt x="181" y="628"/>
                  </a:lnTo>
                  <a:lnTo>
                    <a:pt x="189" y="628"/>
                  </a:lnTo>
                  <a:lnTo>
                    <a:pt x="194" y="630"/>
                  </a:lnTo>
                  <a:lnTo>
                    <a:pt x="198" y="630"/>
                  </a:lnTo>
                  <a:lnTo>
                    <a:pt x="198" y="631"/>
                  </a:lnTo>
                  <a:lnTo>
                    <a:pt x="200" y="633"/>
                  </a:lnTo>
                  <a:lnTo>
                    <a:pt x="201" y="639"/>
                  </a:lnTo>
                  <a:lnTo>
                    <a:pt x="201" y="642"/>
                  </a:lnTo>
                  <a:lnTo>
                    <a:pt x="200" y="644"/>
                  </a:lnTo>
                  <a:lnTo>
                    <a:pt x="196" y="644"/>
                  </a:lnTo>
                  <a:lnTo>
                    <a:pt x="189" y="642"/>
                  </a:lnTo>
                  <a:lnTo>
                    <a:pt x="183" y="642"/>
                  </a:lnTo>
                  <a:lnTo>
                    <a:pt x="180" y="642"/>
                  </a:lnTo>
                  <a:lnTo>
                    <a:pt x="176" y="646"/>
                  </a:lnTo>
                  <a:lnTo>
                    <a:pt x="172" y="648"/>
                  </a:lnTo>
                  <a:lnTo>
                    <a:pt x="169" y="651"/>
                  </a:lnTo>
                  <a:lnTo>
                    <a:pt x="165" y="655"/>
                  </a:lnTo>
                  <a:lnTo>
                    <a:pt x="162" y="655"/>
                  </a:lnTo>
                  <a:lnTo>
                    <a:pt x="160" y="655"/>
                  </a:lnTo>
                  <a:lnTo>
                    <a:pt x="158" y="653"/>
                  </a:lnTo>
                  <a:lnTo>
                    <a:pt x="158" y="650"/>
                  </a:lnTo>
                  <a:lnTo>
                    <a:pt x="156" y="644"/>
                  </a:lnTo>
                  <a:lnTo>
                    <a:pt x="154" y="640"/>
                  </a:lnTo>
                  <a:lnTo>
                    <a:pt x="152" y="639"/>
                  </a:lnTo>
                  <a:lnTo>
                    <a:pt x="147" y="633"/>
                  </a:lnTo>
                  <a:lnTo>
                    <a:pt x="145" y="628"/>
                  </a:lnTo>
                  <a:lnTo>
                    <a:pt x="143" y="624"/>
                  </a:lnTo>
                  <a:lnTo>
                    <a:pt x="142" y="615"/>
                  </a:lnTo>
                  <a:lnTo>
                    <a:pt x="140" y="613"/>
                  </a:lnTo>
                  <a:lnTo>
                    <a:pt x="136" y="610"/>
                  </a:lnTo>
                  <a:lnTo>
                    <a:pt x="131" y="606"/>
                  </a:lnTo>
                  <a:lnTo>
                    <a:pt x="127" y="606"/>
                  </a:lnTo>
                  <a:lnTo>
                    <a:pt x="123" y="604"/>
                  </a:lnTo>
                  <a:lnTo>
                    <a:pt x="120" y="604"/>
                  </a:lnTo>
                  <a:lnTo>
                    <a:pt x="116" y="604"/>
                  </a:lnTo>
                  <a:lnTo>
                    <a:pt x="113" y="608"/>
                  </a:lnTo>
                  <a:lnTo>
                    <a:pt x="107" y="610"/>
                  </a:lnTo>
                  <a:lnTo>
                    <a:pt x="103" y="611"/>
                  </a:lnTo>
                  <a:lnTo>
                    <a:pt x="100" y="610"/>
                  </a:lnTo>
                  <a:lnTo>
                    <a:pt x="98" y="610"/>
                  </a:lnTo>
                  <a:lnTo>
                    <a:pt x="94" y="608"/>
                  </a:lnTo>
                  <a:lnTo>
                    <a:pt x="93" y="606"/>
                  </a:lnTo>
                  <a:lnTo>
                    <a:pt x="91" y="602"/>
                  </a:lnTo>
                  <a:lnTo>
                    <a:pt x="89" y="599"/>
                  </a:lnTo>
                  <a:lnTo>
                    <a:pt x="87" y="595"/>
                  </a:lnTo>
                  <a:lnTo>
                    <a:pt x="87" y="591"/>
                  </a:lnTo>
                  <a:lnTo>
                    <a:pt x="89" y="588"/>
                  </a:lnTo>
                  <a:lnTo>
                    <a:pt x="89" y="586"/>
                  </a:lnTo>
                  <a:lnTo>
                    <a:pt x="93" y="582"/>
                  </a:lnTo>
                  <a:lnTo>
                    <a:pt x="94" y="579"/>
                  </a:lnTo>
                  <a:lnTo>
                    <a:pt x="98" y="579"/>
                  </a:lnTo>
                  <a:lnTo>
                    <a:pt x="102" y="579"/>
                  </a:lnTo>
                  <a:lnTo>
                    <a:pt x="109" y="582"/>
                  </a:lnTo>
                  <a:lnTo>
                    <a:pt x="114" y="588"/>
                  </a:lnTo>
                  <a:close/>
                  <a:moveTo>
                    <a:pt x="205" y="913"/>
                  </a:moveTo>
                  <a:lnTo>
                    <a:pt x="210" y="915"/>
                  </a:lnTo>
                  <a:lnTo>
                    <a:pt x="216" y="916"/>
                  </a:lnTo>
                  <a:lnTo>
                    <a:pt x="223" y="916"/>
                  </a:lnTo>
                  <a:lnTo>
                    <a:pt x="227" y="916"/>
                  </a:lnTo>
                  <a:lnTo>
                    <a:pt x="230" y="916"/>
                  </a:lnTo>
                  <a:lnTo>
                    <a:pt x="238" y="913"/>
                  </a:lnTo>
                  <a:lnTo>
                    <a:pt x="243" y="909"/>
                  </a:lnTo>
                  <a:lnTo>
                    <a:pt x="249" y="907"/>
                  </a:lnTo>
                  <a:lnTo>
                    <a:pt x="258" y="909"/>
                  </a:lnTo>
                  <a:lnTo>
                    <a:pt x="261" y="911"/>
                  </a:lnTo>
                  <a:lnTo>
                    <a:pt x="265" y="915"/>
                  </a:lnTo>
                  <a:lnTo>
                    <a:pt x="267" y="916"/>
                  </a:lnTo>
                  <a:lnTo>
                    <a:pt x="270" y="920"/>
                  </a:lnTo>
                  <a:lnTo>
                    <a:pt x="274" y="927"/>
                  </a:lnTo>
                  <a:lnTo>
                    <a:pt x="276" y="936"/>
                  </a:lnTo>
                  <a:lnTo>
                    <a:pt x="276" y="944"/>
                  </a:lnTo>
                  <a:lnTo>
                    <a:pt x="276" y="949"/>
                  </a:lnTo>
                  <a:lnTo>
                    <a:pt x="274" y="954"/>
                  </a:lnTo>
                  <a:lnTo>
                    <a:pt x="274" y="956"/>
                  </a:lnTo>
                  <a:lnTo>
                    <a:pt x="272" y="958"/>
                  </a:lnTo>
                  <a:lnTo>
                    <a:pt x="269" y="956"/>
                  </a:lnTo>
                  <a:lnTo>
                    <a:pt x="265" y="954"/>
                  </a:lnTo>
                  <a:lnTo>
                    <a:pt x="263" y="954"/>
                  </a:lnTo>
                  <a:lnTo>
                    <a:pt x="259" y="956"/>
                  </a:lnTo>
                  <a:lnTo>
                    <a:pt x="258" y="958"/>
                  </a:lnTo>
                  <a:lnTo>
                    <a:pt x="256" y="960"/>
                  </a:lnTo>
                  <a:lnTo>
                    <a:pt x="254" y="960"/>
                  </a:lnTo>
                  <a:lnTo>
                    <a:pt x="247" y="962"/>
                  </a:lnTo>
                  <a:lnTo>
                    <a:pt x="245" y="962"/>
                  </a:lnTo>
                  <a:lnTo>
                    <a:pt x="243" y="960"/>
                  </a:lnTo>
                  <a:lnTo>
                    <a:pt x="241" y="956"/>
                  </a:lnTo>
                  <a:lnTo>
                    <a:pt x="238" y="951"/>
                  </a:lnTo>
                  <a:lnTo>
                    <a:pt x="227" y="944"/>
                  </a:lnTo>
                  <a:lnTo>
                    <a:pt x="220" y="940"/>
                  </a:lnTo>
                  <a:lnTo>
                    <a:pt x="214" y="936"/>
                  </a:lnTo>
                  <a:lnTo>
                    <a:pt x="210" y="931"/>
                  </a:lnTo>
                  <a:lnTo>
                    <a:pt x="205" y="924"/>
                  </a:lnTo>
                  <a:lnTo>
                    <a:pt x="203" y="920"/>
                  </a:lnTo>
                  <a:lnTo>
                    <a:pt x="203" y="916"/>
                  </a:lnTo>
                  <a:lnTo>
                    <a:pt x="203" y="915"/>
                  </a:lnTo>
                  <a:lnTo>
                    <a:pt x="205" y="913"/>
                  </a:lnTo>
                  <a:close/>
                  <a:moveTo>
                    <a:pt x="1158" y="927"/>
                  </a:moveTo>
                  <a:lnTo>
                    <a:pt x="1161" y="924"/>
                  </a:lnTo>
                  <a:lnTo>
                    <a:pt x="1165" y="918"/>
                  </a:lnTo>
                  <a:lnTo>
                    <a:pt x="1169" y="915"/>
                  </a:lnTo>
                  <a:lnTo>
                    <a:pt x="1170" y="913"/>
                  </a:lnTo>
                  <a:lnTo>
                    <a:pt x="1172" y="913"/>
                  </a:lnTo>
                  <a:lnTo>
                    <a:pt x="1176" y="913"/>
                  </a:lnTo>
                  <a:lnTo>
                    <a:pt x="1178" y="915"/>
                  </a:lnTo>
                  <a:lnTo>
                    <a:pt x="1178" y="916"/>
                  </a:lnTo>
                  <a:lnTo>
                    <a:pt x="1178" y="920"/>
                  </a:lnTo>
                  <a:lnTo>
                    <a:pt x="1178" y="925"/>
                  </a:lnTo>
                  <a:lnTo>
                    <a:pt x="1178" y="929"/>
                  </a:lnTo>
                  <a:lnTo>
                    <a:pt x="1178" y="931"/>
                  </a:lnTo>
                  <a:lnTo>
                    <a:pt x="1180" y="931"/>
                  </a:lnTo>
                  <a:lnTo>
                    <a:pt x="1181" y="933"/>
                  </a:lnTo>
                  <a:lnTo>
                    <a:pt x="1183" y="934"/>
                  </a:lnTo>
                  <a:lnTo>
                    <a:pt x="1190" y="934"/>
                  </a:lnTo>
                  <a:lnTo>
                    <a:pt x="1196" y="934"/>
                  </a:lnTo>
                  <a:lnTo>
                    <a:pt x="1198" y="936"/>
                  </a:lnTo>
                  <a:lnTo>
                    <a:pt x="1201" y="936"/>
                  </a:lnTo>
                  <a:lnTo>
                    <a:pt x="1205" y="940"/>
                  </a:lnTo>
                  <a:lnTo>
                    <a:pt x="1209" y="945"/>
                  </a:lnTo>
                  <a:lnTo>
                    <a:pt x="1212" y="949"/>
                  </a:lnTo>
                  <a:lnTo>
                    <a:pt x="1216" y="951"/>
                  </a:lnTo>
                  <a:lnTo>
                    <a:pt x="1218" y="953"/>
                  </a:lnTo>
                  <a:lnTo>
                    <a:pt x="1223" y="953"/>
                  </a:lnTo>
                  <a:lnTo>
                    <a:pt x="1227" y="951"/>
                  </a:lnTo>
                  <a:lnTo>
                    <a:pt x="1234" y="947"/>
                  </a:lnTo>
                  <a:lnTo>
                    <a:pt x="1248" y="940"/>
                  </a:lnTo>
                  <a:lnTo>
                    <a:pt x="1263" y="936"/>
                  </a:lnTo>
                  <a:lnTo>
                    <a:pt x="1270" y="934"/>
                  </a:lnTo>
                  <a:lnTo>
                    <a:pt x="1279" y="934"/>
                  </a:lnTo>
                  <a:lnTo>
                    <a:pt x="1287" y="934"/>
                  </a:lnTo>
                  <a:lnTo>
                    <a:pt x="1296" y="934"/>
                  </a:lnTo>
                  <a:lnTo>
                    <a:pt x="1305" y="936"/>
                  </a:lnTo>
                  <a:lnTo>
                    <a:pt x="1314" y="936"/>
                  </a:lnTo>
                  <a:lnTo>
                    <a:pt x="1317" y="934"/>
                  </a:lnTo>
                  <a:lnTo>
                    <a:pt x="1321" y="931"/>
                  </a:lnTo>
                  <a:lnTo>
                    <a:pt x="1325" y="929"/>
                  </a:lnTo>
                  <a:lnTo>
                    <a:pt x="1330" y="927"/>
                  </a:lnTo>
                  <a:lnTo>
                    <a:pt x="1332" y="931"/>
                  </a:lnTo>
                  <a:lnTo>
                    <a:pt x="1334" y="934"/>
                  </a:lnTo>
                  <a:lnTo>
                    <a:pt x="1334" y="940"/>
                  </a:lnTo>
                  <a:lnTo>
                    <a:pt x="1334" y="942"/>
                  </a:lnTo>
                  <a:lnTo>
                    <a:pt x="1336" y="942"/>
                  </a:lnTo>
                  <a:lnTo>
                    <a:pt x="1345" y="944"/>
                  </a:lnTo>
                  <a:lnTo>
                    <a:pt x="1352" y="945"/>
                  </a:lnTo>
                  <a:lnTo>
                    <a:pt x="1359" y="947"/>
                  </a:lnTo>
                  <a:lnTo>
                    <a:pt x="1368" y="949"/>
                  </a:lnTo>
                  <a:lnTo>
                    <a:pt x="1372" y="949"/>
                  </a:lnTo>
                  <a:lnTo>
                    <a:pt x="1375" y="947"/>
                  </a:lnTo>
                  <a:lnTo>
                    <a:pt x="1379" y="945"/>
                  </a:lnTo>
                  <a:lnTo>
                    <a:pt x="1383" y="944"/>
                  </a:lnTo>
                  <a:lnTo>
                    <a:pt x="1388" y="936"/>
                  </a:lnTo>
                  <a:lnTo>
                    <a:pt x="1392" y="933"/>
                  </a:lnTo>
                  <a:lnTo>
                    <a:pt x="1395" y="931"/>
                  </a:lnTo>
                  <a:lnTo>
                    <a:pt x="1401" y="929"/>
                  </a:lnTo>
                  <a:lnTo>
                    <a:pt x="1406" y="929"/>
                  </a:lnTo>
                  <a:lnTo>
                    <a:pt x="1412" y="931"/>
                  </a:lnTo>
                  <a:lnTo>
                    <a:pt x="1417" y="934"/>
                  </a:lnTo>
                  <a:lnTo>
                    <a:pt x="1421" y="940"/>
                  </a:lnTo>
                  <a:lnTo>
                    <a:pt x="1421" y="945"/>
                  </a:lnTo>
                  <a:lnTo>
                    <a:pt x="1417" y="951"/>
                  </a:lnTo>
                  <a:lnTo>
                    <a:pt x="1415" y="953"/>
                  </a:lnTo>
                  <a:lnTo>
                    <a:pt x="1414" y="954"/>
                  </a:lnTo>
                  <a:lnTo>
                    <a:pt x="1410" y="958"/>
                  </a:lnTo>
                  <a:lnTo>
                    <a:pt x="1408" y="960"/>
                  </a:lnTo>
                  <a:lnTo>
                    <a:pt x="1406" y="962"/>
                  </a:lnTo>
                  <a:lnTo>
                    <a:pt x="1410" y="965"/>
                  </a:lnTo>
                  <a:lnTo>
                    <a:pt x="1414" y="967"/>
                  </a:lnTo>
                  <a:lnTo>
                    <a:pt x="1424" y="969"/>
                  </a:lnTo>
                  <a:lnTo>
                    <a:pt x="1435" y="967"/>
                  </a:lnTo>
                  <a:lnTo>
                    <a:pt x="1444" y="969"/>
                  </a:lnTo>
                  <a:lnTo>
                    <a:pt x="1470" y="976"/>
                  </a:lnTo>
                  <a:lnTo>
                    <a:pt x="1481" y="982"/>
                  </a:lnTo>
                  <a:lnTo>
                    <a:pt x="1492" y="989"/>
                  </a:lnTo>
                  <a:lnTo>
                    <a:pt x="1537" y="1020"/>
                  </a:lnTo>
                  <a:lnTo>
                    <a:pt x="1548" y="1027"/>
                  </a:lnTo>
                  <a:lnTo>
                    <a:pt x="1555" y="1031"/>
                  </a:lnTo>
                  <a:lnTo>
                    <a:pt x="1561" y="1032"/>
                  </a:lnTo>
                  <a:lnTo>
                    <a:pt x="1564" y="1032"/>
                  </a:lnTo>
                  <a:lnTo>
                    <a:pt x="1568" y="1032"/>
                  </a:lnTo>
                  <a:lnTo>
                    <a:pt x="1575" y="1029"/>
                  </a:lnTo>
                  <a:lnTo>
                    <a:pt x="1581" y="1025"/>
                  </a:lnTo>
                  <a:lnTo>
                    <a:pt x="1586" y="1020"/>
                  </a:lnTo>
                  <a:lnTo>
                    <a:pt x="1588" y="1014"/>
                  </a:lnTo>
                  <a:lnTo>
                    <a:pt x="1590" y="1009"/>
                  </a:lnTo>
                  <a:lnTo>
                    <a:pt x="1590" y="1005"/>
                  </a:lnTo>
                  <a:lnTo>
                    <a:pt x="1588" y="1002"/>
                  </a:lnTo>
                  <a:lnTo>
                    <a:pt x="1577" y="983"/>
                  </a:lnTo>
                  <a:lnTo>
                    <a:pt x="1575" y="978"/>
                  </a:lnTo>
                  <a:lnTo>
                    <a:pt x="1575" y="974"/>
                  </a:lnTo>
                  <a:lnTo>
                    <a:pt x="1575" y="973"/>
                  </a:lnTo>
                  <a:lnTo>
                    <a:pt x="1577" y="973"/>
                  </a:lnTo>
                  <a:lnTo>
                    <a:pt x="1581" y="973"/>
                  </a:lnTo>
                  <a:lnTo>
                    <a:pt x="1584" y="974"/>
                  </a:lnTo>
                  <a:lnTo>
                    <a:pt x="1588" y="976"/>
                  </a:lnTo>
                  <a:lnTo>
                    <a:pt x="1590" y="978"/>
                  </a:lnTo>
                  <a:lnTo>
                    <a:pt x="1595" y="985"/>
                  </a:lnTo>
                  <a:lnTo>
                    <a:pt x="1602" y="996"/>
                  </a:lnTo>
                  <a:lnTo>
                    <a:pt x="1604" y="1000"/>
                  </a:lnTo>
                  <a:lnTo>
                    <a:pt x="1608" y="1003"/>
                  </a:lnTo>
                  <a:lnTo>
                    <a:pt x="1613" y="1007"/>
                  </a:lnTo>
                  <a:lnTo>
                    <a:pt x="1619" y="1011"/>
                  </a:lnTo>
                  <a:lnTo>
                    <a:pt x="1622" y="1013"/>
                  </a:lnTo>
                  <a:lnTo>
                    <a:pt x="1626" y="1013"/>
                  </a:lnTo>
                  <a:lnTo>
                    <a:pt x="1628" y="1013"/>
                  </a:lnTo>
                  <a:lnTo>
                    <a:pt x="1630" y="1013"/>
                  </a:lnTo>
                  <a:lnTo>
                    <a:pt x="1631" y="1011"/>
                  </a:lnTo>
                  <a:lnTo>
                    <a:pt x="1631" y="1009"/>
                  </a:lnTo>
                  <a:lnTo>
                    <a:pt x="1633" y="1007"/>
                  </a:lnTo>
                  <a:lnTo>
                    <a:pt x="1633" y="1005"/>
                  </a:lnTo>
                  <a:lnTo>
                    <a:pt x="1631" y="1002"/>
                  </a:lnTo>
                  <a:lnTo>
                    <a:pt x="1630" y="996"/>
                  </a:lnTo>
                  <a:lnTo>
                    <a:pt x="1620" y="987"/>
                  </a:lnTo>
                  <a:lnTo>
                    <a:pt x="1617" y="982"/>
                  </a:lnTo>
                  <a:lnTo>
                    <a:pt x="1613" y="976"/>
                  </a:lnTo>
                  <a:lnTo>
                    <a:pt x="1611" y="971"/>
                  </a:lnTo>
                  <a:lnTo>
                    <a:pt x="1613" y="965"/>
                  </a:lnTo>
                  <a:lnTo>
                    <a:pt x="1615" y="964"/>
                  </a:lnTo>
                  <a:lnTo>
                    <a:pt x="1617" y="962"/>
                  </a:lnTo>
                  <a:lnTo>
                    <a:pt x="1619" y="962"/>
                  </a:lnTo>
                  <a:lnTo>
                    <a:pt x="1620" y="962"/>
                  </a:lnTo>
                  <a:lnTo>
                    <a:pt x="1626" y="964"/>
                  </a:lnTo>
                  <a:lnTo>
                    <a:pt x="1630" y="967"/>
                  </a:lnTo>
                  <a:lnTo>
                    <a:pt x="1637" y="978"/>
                  </a:lnTo>
                  <a:lnTo>
                    <a:pt x="1642" y="985"/>
                  </a:lnTo>
                  <a:lnTo>
                    <a:pt x="1646" y="993"/>
                  </a:lnTo>
                  <a:lnTo>
                    <a:pt x="1650" y="996"/>
                  </a:lnTo>
                  <a:lnTo>
                    <a:pt x="1653" y="998"/>
                  </a:lnTo>
                  <a:lnTo>
                    <a:pt x="1660" y="1000"/>
                  </a:lnTo>
                  <a:lnTo>
                    <a:pt x="1671" y="1003"/>
                  </a:lnTo>
                  <a:lnTo>
                    <a:pt x="1682" y="1009"/>
                  </a:lnTo>
                  <a:lnTo>
                    <a:pt x="1691" y="1014"/>
                  </a:lnTo>
                  <a:lnTo>
                    <a:pt x="1700" y="1022"/>
                  </a:lnTo>
                  <a:lnTo>
                    <a:pt x="1713" y="1032"/>
                  </a:lnTo>
                  <a:lnTo>
                    <a:pt x="1726" y="1045"/>
                  </a:lnTo>
                  <a:lnTo>
                    <a:pt x="1729" y="1049"/>
                  </a:lnTo>
                  <a:lnTo>
                    <a:pt x="1731" y="1054"/>
                  </a:lnTo>
                  <a:lnTo>
                    <a:pt x="1733" y="1063"/>
                  </a:lnTo>
                  <a:lnTo>
                    <a:pt x="1735" y="1071"/>
                  </a:lnTo>
                  <a:lnTo>
                    <a:pt x="1737" y="1076"/>
                  </a:lnTo>
                  <a:lnTo>
                    <a:pt x="1738" y="1080"/>
                  </a:lnTo>
                  <a:lnTo>
                    <a:pt x="1744" y="1083"/>
                  </a:lnTo>
                  <a:lnTo>
                    <a:pt x="1751" y="1085"/>
                  </a:lnTo>
                  <a:lnTo>
                    <a:pt x="1769" y="1092"/>
                  </a:lnTo>
                  <a:lnTo>
                    <a:pt x="1778" y="1094"/>
                  </a:lnTo>
                  <a:lnTo>
                    <a:pt x="1787" y="1100"/>
                  </a:lnTo>
                  <a:lnTo>
                    <a:pt x="1795" y="1103"/>
                  </a:lnTo>
                  <a:lnTo>
                    <a:pt x="1798" y="1107"/>
                  </a:lnTo>
                  <a:lnTo>
                    <a:pt x="1800" y="1111"/>
                  </a:lnTo>
                  <a:lnTo>
                    <a:pt x="1804" y="1111"/>
                  </a:lnTo>
                  <a:lnTo>
                    <a:pt x="1807" y="1112"/>
                  </a:lnTo>
                  <a:lnTo>
                    <a:pt x="1811" y="1116"/>
                  </a:lnTo>
                  <a:lnTo>
                    <a:pt x="1811" y="1120"/>
                  </a:lnTo>
                  <a:lnTo>
                    <a:pt x="1811" y="1127"/>
                  </a:lnTo>
                  <a:lnTo>
                    <a:pt x="1809" y="1136"/>
                  </a:lnTo>
                  <a:lnTo>
                    <a:pt x="1807" y="1145"/>
                  </a:lnTo>
                  <a:lnTo>
                    <a:pt x="1807" y="1149"/>
                  </a:lnTo>
                  <a:lnTo>
                    <a:pt x="1807" y="1152"/>
                  </a:lnTo>
                  <a:lnTo>
                    <a:pt x="1809" y="1154"/>
                  </a:lnTo>
                  <a:lnTo>
                    <a:pt x="1809" y="1156"/>
                  </a:lnTo>
                  <a:lnTo>
                    <a:pt x="1813" y="1158"/>
                  </a:lnTo>
                  <a:lnTo>
                    <a:pt x="1816" y="1158"/>
                  </a:lnTo>
                  <a:lnTo>
                    <a:pt x="1820" y="1156"/>
                  </a:lnTo>
                  <a:lnTo>
                    <a:pt x="1824" y="1154"/>
                  </a:lnTo>
                  <a:lnTo>
                    <a:pt x="1829" y="1147"/>
                  </a:lnTo>
                  <a:lnTo>
                    <a:pt x="1833" y="1145"/>
                  </a:lnTo>
                  <a:lnTo>
                    <a:pt x="1835" y="1145"/>
                  </a:lnTo>
                  <a:lnTo>
                    <a:pt x="1838" y="1145"/>
                  </a:lnTo>
                  <a:lnTo>
                    <a:pt x="1842" y="1149"/>
                  </a:lnTo>
                  <a:lnTo>
                    <a:pt x="1844" y="1152"/>
                  </a:lnTo>
                  <a:lnTo>
                    <a:pt x="1844" y="1154"/>
                  </a:lnTo>
                  <a:lnTo>
                    <a:pt x="1844" y="1158"/>
                  </a:lnTo>
                  <a:lnTo>
                    <a:pt x="1842" y="1167"/>
                  </a:lnTo>
                  <a:lnTo>
                    <a:pt x="1840" y="1176"/>
                  </a:lnTo>
                  <a:lnTo>
                    <a:pt x="1838" y="1179"/>
                  </a:lnTo>
                  <a:lnTo>
                    <a:pt x="1840" y="1185"/>
                  </a:lnTo>
                  <a:lnTo>
                    <a:pt x="1844" y="1189"/>
                  </a:lnTo>
                  <a:lnTo>
                    <a:pt x="1847" y="1192"/>
                  </a:lnTo>
                  <a:lnTo>
                    <a:pt x="1849" y="1192"/>
                  </a:lnTo>
                  <a:lnTo>
                    <a:pt x="1853" y="1190"/>
                  </a:lnTo>
                  <a:lnTo>
                    <a:pt x="1855" y="1187"/>
                  </a:lnTo>
                  <a:lnTo>
                    <a:pt x="1855" y="1181"/>
                  </a:lnTo>
                  <a:lnTo>
                    <a:pt x="1858" y="1169"/>
                  </a:lnTo>
                  <a:lnTo>
                    <a:pt x="1860" y="1158"/>
                  </a:lnTo>
                  <a:lnTo>
                    <a:pt x="1862" y="1152"/>
                  </a:lnTo>
                  <a:lnTo>
                    <a:pt x="1864" y="1150"/>
                  </a:lnTo>
                  <a:lnTo>
                    <a:pt x="1867" y="1149"/>
                  </a:lnTo>
                  <a:lnTo>
                    <a:pt x="1869" y="1147"/>
                  </a:lnTo>
                  <a:lnTo>
                    <a:pt x="1871" y="1149"/>
                  </a:lnTo>
                  <a:lnTo>
                    <a:pt x="1875" y="1150"/>
                  </a:lnTo>
                  <a:lnTo>
                    <a:pt x="1880" y="1156"/>
                  </a:lnTo>
                  <a:lnTo>
                    <a:pt x="1882" y="1160"/>
                  </a:lnTo>
                  <a:lnTo>
                    <a:pt x="1880" y="1163"/>
                  </a:lnTo>
                  <a:lnTo>
                    <a:pt x="1878" y="1167"/>
                  </a:lnTo>
                  <a:lnTo>
                    <a:pt x="1876" y="1170"/>
                  </a:lnTo>
                  <a:lnTo>
                    <a:pt x="1873" y="1179"/>
                  </a:lnTo>
                  <a:lnTo>
                    <a:pt x="1871" y="1185"/>
                  </a:lnTo>
                  <a:lnTo>
                    <a:pt x="1873" y="1187"/>
                  </a:lnTo>
                  <a:lnTo>
                    <a:pt x="1873" y="1189"/>
                  </a:lnTo>
                  <a:lnTo>
                    <a:pt x="1875" y="1189"/>
                  </a:lnTo>
                  <a:lnTo>
                    <a:pt x="1878" y="1189"/>
                  </a:lnTo>
                  <a:lnTo>
                    <a:pt x="1884" y="1187"/>
                  </a:lnTo>
                  <a:lnTo>
                    <a:pt x="1891" y="1185"/>
                  </a:lnTo>
                  <a:lnTo>
                    <a:pt x="1894" y="1185"/>
                  </a:lnTo>
                  <a:lnTo>
                    <a:pt x="1898" y="1185"/>
                  </a:lnTo>
                  <a:lnTo>
                    <a:pt x="1902" y="1187"/>
                  </a:lnTo>
                  <a:lnTo>
                    <a:pt x="1905" y="1187"/>
                  </a:lnTo>
                  <a:lnTo>
                    <a:pt x="1907" y="1189"/>
                  </a:lnTo>
                  <a:lnTo>
                    <a:pt x="1909" y="1192"/>
                  </a:lnTo>
                  <a:lnTo>
                    <a:pt x="1911" y="1196"/>
                  </a:lnTo>
                  <a:lnTo>
                    <a:pt x="1913" y="1201"/>
                  </a:lnTo>
                  <a:lnTo>
                    <a:pt x="1914" y="1214"/>
                  </a:lnTo>
                  <a:lnTo>
                    <a:pt x="1916" y="1216"/>
                  </a:lnTo>
                  <a:lnTo>
                    <a:pt x="1916" y="1218"/>
                  </a:lnTo>
                  <a:lnTo>
                    <a:pt x="1922" y="1223"/>
                  </a:lnTo>
                  <a:lnTo>
                    <a:pt x="1925" y="1225"/>
                  </a:lnTo>
                  <a:lnTo>
                    <a:pt x="1927" y="1225"/>
                  </a:lnTo>
                  <a:lnTo>
                    <a:pt x="1931" y="1227"/>
                  </a:lnTo>
                  <a:lnTo>
                    <a:pt x="1934" y="1228"/>
                  </a:lnTo>
                  <a:lnTo>
                    <a:pt x="1938" y="1234"/>
                  </a:lnTo>
                  <a:lnTo>
                    <a:pt x="1938" y="1239"/>
                  </a:lnTo>
                  <a:lnTo>
                    <a:pt x="1940" y="1239"/>
                  </a:lnTo>
                  <a:lnTo>
                    <a:pt x="1942" y="1236"/>
                  </a:lnTo>
                  <a:lnTo>
                    <a:pt x="1945" y="1228"/>
                  </a:lnTo>
                  <a:lnTo>
                    <a:pt x="1947" y="1223"/>
                  </a:lnTo>
                  <a:lnTo>
                    <a:pt x="1951" y="1214"/>
                  </a:lnTo>
                  <a:lnTo>
                    <a:pt x="1954" y="1198"/>
                  </a:lnTo>
                  <a:lnTo>
                    <a:pt x="1958" y="1178"/>
                  </a:lnTo>
                  <a:lnTo>
                    <a:pt x="1956" y="1174"/>
                  </a:lnTo>
                  <a:lnTo>
                    <a:pt x="1953" y="1170"/>
                  </a:lnTo>
                  <a:lnTo>
                    <a:pt x="1947" y="1163"/>
                  </a:lnTo>
                  <a:lnTo>
                    <a:pt x="1942" y="1158"/>
                  </a:lnTo>
                  <a:lnTo>
                    <a:pt x="1938" y="1150"/>
                  </a:lnTo>
                  <a:lnTo>
                    <a:pt x="1934" y="1141"/>
                  </a:lnTo>
                  <a:lnTo>
                    <a:pt x="1936" y="1136"/>
                  </a:lnTo>
                  <a:lnTo>
                    <a:pt x="1938" y="1130"/>
                  </a:lnTo>
                  <a:lnTo>
                    <a:pt x="1936" y="1127"/>
                  </a:lnTo>
                  <a:lnTo>
                    <a:pt x="1929" y="1116"/>
                  </a:lnTo>
                  <a:lnTo>
                    <a:pt x="1925" y="1109"/>
                  </a:lnTo>
                  <a:lnTo>
                    <a:pt x="1920" y="1114"/>
                  </a:lnTo>
                  <a:lnTo>
                    <a:pt x="1909" y="1116"/>
                  </a:lnTo>
                  <a:lnTo>
                    <a:pt x="1905" y="1111"/>
                  </a:lnTo>
                  <a:lnTo>
                    <a:pt x="1887" y="1103"/>
                  </a:lnTo>
                  <a:lnTo>
                    <a:pt x="1871" y="1111"/>
                  </a:lnTo>
                  <a:lnTo>
                    <a:pt x="1844" y="1096"/>
                  </a:lnTo>
                  <a:lnTo>
                    <a:pt x="1831" y="1101"/>
                  </a:lnTo>
                  <a:lnTo>
                    <a:pt x="1826" y="1091"/>
                  </a:lnTo>
                  <a:lnTo>
                    <a:pt x="1826" y="1083"/>
                  </a:lnTo>
                  <a:lnTo>
                    <a:pt x="1813" y="1085"/>
                  </a:lnTo>
                  <a:lnTo>
                    <a:pt x="1809" y="1069"/>
                  </a:lnTo>
                  <a:lnTo>
                    <a:pt x="1793" y="1069"/>
                  </a:lnTo>
                  <a:lnTo>
                    <a:pt x="1796" y="1058"/>
                  </a:lnTo>
                  <a:lnTo>
                    <a:pt x="1780" y="1043"/>
                  </a:lnTo>
                  <a:lnTo>
                    <a:pt x="1751" y="1016"/>
                  </a:lnTo>
                  <a:lnTo>
                    <a:pt x="1735" y="998"/>
                  </a:lnTo>
                  <a:lnTo>
                    <a:pt x="1724" y="989"/>
                  </a:lnTo>
                  <a:lnTo>
                    <a:pt x="1713" y="980"/>
                  </a:lnTo>
                  <a:lnTo>
                    <a:pt x="1709" y="978"/>
                  </a:lnTo>
                  <a:lnTo>
                    <a:pt x="1711" y="973"/>
                  </a:lnTo>
                  <a:lnTo>
                    <a:pt x="1682" y="953"/>
                  </a:lnTo>
                  <a:lnTo>
                    <a:pt x="1671" y="951"/>
                  </a:lnTo>
                  <a:lnTo>
                    <a:pt x="1666" y="951"/>
                  </a:lnTo>
                  <a:lnTo>
                    <a:pt x="1662" y="949"/>
                  </a:lnTo>
                  <a:lnTo>
                    <a:pt x="1659" y="947"/>
                  </a:lnTo>
                  <a:lnTo>
                    <a:pt x="1659" y="945"/>
                  </a:lnTo>
                  <a:lnTo>
                    <a:pt x="1657" y="942"/>
                  </a:lnTo>
                  <a:lnTo>
                    <a:pt x="1655" y="940"/>
                  </a:lnTo>
                  <a:lnTo>
                    <a:pt x="1651" y="940"/>
                  </a:lnTo>
                  <a:lnTo>
                    <a:pt x="1651" y="936"/>
                  </a:lnTo>
                  <a:lnTo>
                    <a:pt x="1644" y="929"/>
                  </a:lnTo>
                  <a:lnTo>
                    <a:pt x="1640" y="931"/>
                  </a:lnTo>
                  <a:lnTo>
                    <a:pt x="1633" y="922"/>
                  </a:lnTo>
                  <a:lnTo>
                    <a:pt x="1620" y="922"/>
                  </a:lnTo>
                  <a:lnTo>
                    <a:pt x="1617" y="922"/>
                  </a:lnTo>
                  <a:lnTo>
                    <a:pt x="1617" y="920"/>
                  </a:lnTo>
                  <a:lnTo>
                    <a:pt x="1615" y="916"/>
                  </a:lnTo>
                  <a:lnTo>
                    <a:pt x="1617" y="915"/>
                  </a:lnTo>
                  <a:lnTo>
                    <a:pt x="1617" y="913"/>
                  </a:lnTo>
                  <a:lnTo>
                    <a:pt x="1615" y="913"/>
                  </a:lnTo>
                  <a:lnTo>
                    <a:pt x="1613" y="913"/>
                  </a:lnTo>
                  <a:lnTo>
                    <a:pt x="1611" y="913"/>
                  </a:lnTo>
                  <a:lnTo>
                    <a:pt x="1613" y="907"/>
                  </a:lnTo>
                  <a:lnTo>
                    <a:pt x="1615" y="904"/>
                  </a:lnTo>
                  <a:lnTo>
                    <a:pt x="1615" y="900"/>
                  </a:lnTo>
                  <a:lnTo>
                    <a:pt x="1613" y="898"/>
                  </a:lnTo>
                  <a:lnTo>
                    <a:pt x="1611" y="898"/>
                  </a:lnTo>
                  <a:lnTo>
                    <a:pt x="1606" y="896"/>
                  </a:lnTo>
                  <a:lnTo>
                    <a:pt x="1599" y="891"/>
                  </a:lnTo>
                  <a:lnTo>
                    <a:pt x="1586" y="885"/>
                  </a:lnTo>
                  <a:lnTo>
                    <a:pt x="1570" y="902"/>
                  </a:lnTo>
                  <a:lnTo>
                    <a:pt x="1553" y="915"/>
                  </a:lnTo>
                  <a:lnTo>
                    <a:pt x="1555" y="916"/>
                  </a:lnTo>
                  <a:lnTo>
                    <a:pt x="1559" y="920"/>
                  </a:lnTo>
                  <a:lnTo>
                    <a:pt x="1559" y="922"/>
                  </a:lnTo>
                  <a:lnTo>
                    <a:pt x="1559" y="924"/>
                  </a:lnTo>
                  <a:lnTo>
                    <a:pt x="1557" y="925"/>
                  </a:lnTo>
                  <a:lnTo>
                    <a:pt x="1552" y="925"/>
                  </a:lnTo>
                  <a:lnTo>
                    <a:pt x="1548" y="925"/>
                  </a:lnTo>
                  <a:lnTo>
                    <a:pt x="1546" y="927"/>
                  </a:lnTo>
                  <a:lnTo>
                    <a:pt x="1546" y="931"/>
                  </a:lnTo>
                  <a:lnTo>
                    <a:pt x="1548" y="933"/>
                  </a:lnTo>
                  <a:lnTo>
                    <a:pt x="1553" y="938"/>
                  </a:lnTo>
                  <a:lnTo>
                    <a:pt x="1555" y="940"/>
                  </a:lnTo>
                  <a:lnTo>
                    <a:pt x="1555" y="953"/>
                  </a:lnTo>
                  <a:lnTo>
                    <a:pt x="1544" y="956"/>
                  </a:lnTo>
                  <a:lnTo>
                    <a:pt x="1528" y="976"/>
                  </a:lnTo>
                  <a:lnTo>
                    <a:pt x="1522" y="987"/>
                  </a:lnTo>
                  <a:lnTo>
                    <a:pt x="1517" y="987"/>
                  </a:lnTo>
                  <a:lnTo>
                    <a:pt x="1517" y="980"/>
                  </a:lnTo>
                  <a:lnTo>
                    <a:pt x="1508" y="960"/>
                  </a:lnTo>
                  <a:lnTo>
                    <a:pt x="1452" y="925"/>
                  </a:lnTo>
                  <a:lnTo>
                    <a:pt x="1446" y="913"/>
                  </a:lnTo>
                  <a:lnTo>
                    <a:pt x="1430" y="909"/>
                  </a:lnTo>
                  <a:lnTo>
                    <a:pt x="1421" y="902"/>
                  </a:lnTo>
                  <a:lnTo>
                    <a:pt x="1423" y="880"/>
                  </a:lnTo>
                  <a:lnTo>
                    <a:pt x="1395" y="887"/>
                  </a:lnTo>
                  <a:lnTo>
                    <a:pt x="1386" y="902"/>
                  </a:lnTo>
                  <a:lnTo>
                    <a:pt x="1365" y="896"/>
                  </a:lnTo>
                  <a:lnTo>
                    <a:pt x="1363" y="905"/>
                  </a:lnTo>
                  <a:lnTo>
                    <a:pt x="1343" y="902"/>
                  </a:lnTo>
                  <a:lnTo>
                    <a:pt x="1174" y="100"/>
                  </a:lnTo>
                  <a:lnTo>
                    <a:pt x="1156" y="91"/>
                  </a:lnTo>
                  <a:lnTo>
                    <a:pt x="1138" y="82"/>
                  </a:lnTo>
                  <a:lnTo>
                    <a:pt x="1129" y="78"/>
                  </a:lnTo>
                  <a:lnTo>
                    <a:pt x="1118" y="76"/>
                  </a:lnTo>
                  <a:lnTo>
                    <a:pt x="1109" y="74"/>
                  </a:lnTo>
                  <a:lnTo>
                    <a:pt x="1098" y="76"/>
                  </a:lnTo>
                  <a:lnTo>
                    <a:pt x="1080" y="78"/>
                  </a:lnTo>
                  <a:lnTo>
                    <a:pt x="1071" y="82"/>
                  </a:lnTo>
                  <a:lnTo>
                    <a:pt x="1062" y="85"/>
                  </a:lnTo>
                  <a:lnTo>
                    <a:pt x="1051" y="89"/>
                  </a:lnTo>
                  <a:lnTo>
                    <a:pt x="1043" y="91"/>
                  </a:lnTo>
                  <a:lnTo>
                    <a:pt x="1036" y="89"/>
                  </a:lnTo>
                  <a:lnTo>
                    <a:pt x="1025" y="85"/>
                  </a:lnTo>
                  <a:lnTo>
                    <a:pt x="1020" y="83"/>
                  </a:lnTo>
                  <a:lnTo>
                    <a:pt x="1013" y="82"/>
                  </a:lnTo>
                  <a:lnTo>
                    <a:pt x="1000" y="82"/>
                  </a:lnTo>
                  <a:lnTo>
                    <a:pt x="987" y="83"/>
                  </a:lnTo>
                  <a:lnTo>
                    <a:pt x="974" y="85"/>
                  </a:lnTo>
                  <a:lnTo>
                    <a:pt x="964" y="83"/>
                  </a:lnTo>
                  <a:lnTo>
                    <a:pt x="960" y="83"/>
                  </a:lnTo>
                  <a:lnTo>
                    <a:pt x="956" y="82"/>
                  </a:lnTo>
                  <a:lnTo>
                    <a:pt x="949" y="76"/>
                  </a:lnTo>
                  <a:lnTo>
                    <a:pt x="945" y="72"/>
                  </a:lnTo>
                  <a:lnTo>
                    <a:pt x="942" y="69"/>
                  </a:lnTo>
                  <a:lnTo>
                    <a:pt x="936" y="67"/>
                  </a:lnTo>
                  <a:lnTo>
                    <a:pt x="933" y="65"/>
                  </a:lnTo>
                  <a:lnTo>
                    <a:pt x="922" y="65"/>
                  </a:lnTo>
                  <a:lnTo>
                    <a:pt x="911" y="65"/>
                  </a:lnTo>
                  <a:lnTo>
                    <a:pt x="902" y="65"/>
                  </a:lnTo>
                  <a:lnTo>
                    <a:pt x="893" y="65"/>
                  </a:lnTo>
                  <a:lnTo>
                    <a:pt x="884" y="65"/>
                  </a:lnTo>
                  <a:lnTo>
                    <a:pt x="875" y="65"/>
                  </a:lnTo>
                  <a:lnTo>
                    <a:pt x="867" y="65"/>
                  </a:lnTo>
                  <a:lnTo>
                    <a:pt x="858" y="67"/>
                  </a:lnTo>
                  <a:lnTo>
                    <a:pt x="847" y="69"/>
                  </a:lnTo>
                  <a:lnTo>
                    <a:pt x="842" y="69"/>
                  </a:lnTo>
                  <a:lnTo>
                    <a:pt x="838" y="67"/>
                  </a:lnTo>
                  <a:lnTo>
                    <a:pt x="837" y="67"/>
                  </a:lnTo>
                  <a:lnTo>
                    <a:pt x="837" y="65"/>
                  </a:lnTo>
                  <a:lnTo>
                    <a:pt x="837" y="63"/>
                  </a:lnTo>
                  <a:lnTo>
                    <a:pt x="837" y="60"/>
                  </a:lnTo>
                  <a:lnTo>
                    <a:pt x="831" y="62"/>
                  </a:lnTo>
                  <a:lnTo>
                    <a:pt x="827" y="62"/>
                  </a:lnTo>
                  <a:lnTo>
                    <a:pt x="824" y="56"/>
                  </a:lnTo>
                  <a:lnTo>
                    <a:pt x="824" y="49"/>
                  </a:lnTo>
                  <a:lnTo>
                    <a:pt x="822" y="40"/>
                  </a:lnTo>
                  <a:lnTo>
                    <a:pt x="820" y="38"/>
                  </a:lnTo>
                  <a:lnTo>
                    <a:pt x="817" y="34"/>
                  </a:lnTo>
                  <a:lnTo>
                    <a:pt x="813" y="33"/>
                  </a:lnTo>
                  <a:lnTo>
                    <a:pt x="804" y="33"/>
                  </a:lnTo>
                  <a:lnTo>
                    <a:pt x="793" y="33"/>
                  </a:lnTo>
                  <a:lnTo>
                    <a:pt x="782" y="36"/>
                  </a:lnTo>
                  <a:lnTo>
                    <a:pt x="771" y="38"/>
                  </a:lnTo>
                  <a:lnTo>
                    <a:pt x="766" y="36"/>
                  </a:lnTo>
                  <a:lnTo>
                    <a:pt x="760" y="34"/>
                  </a:lnTo>
                  <a:lnTo>
                    <a:pt x="759" y="33"/>
                  </a:lnTo>
                  <a:lnTo>
                    <a:pt x="759" y="31"/>
                  </a:lnTo>
                  <a:lnTo>
                    <a:pt x="757" y="25"/>
                  </a:lnTo>
                  <a:lnTo>
                    <a:pt x="755" y="23"/>
                  </a:lnTo>
                  <a:lnTo>
                    <a:pt x="755" y="22"/>
                  </a:lnTo>
                  <a:lnTo>
                    <a:pt x="753" y="20"/>
                  </a:lnTo>
                  <a:lnTo>
                    <a:pt x="749" y="20"/>
                  </a:lnTo>
                  <a:lnTo>
                    <a:pt x="746" y="18"/>
                  </a:lnTo>
                  <a:lnTo>
                    <a:pt x="742" y="20"/>
                  </a:lnTo>
                  <a:lnTo>
                    <a:pt x="740" y="22"/>
                  </a:lnTo>
                  <a:lnTo>
                    <a:pt x="739" y="23"/>
                  </a:lnTo>
                  <a:lnTo>
                    <a:pt x="737" y="31"/>
                  </a:lnTo>
                  <a:lnTo>
                    <a:pt x="735" y="34"/>
                  </a:lnTo>
                  <a:lnTo>
                    <a:pt x="733" y="36"/>
                  </a:lnTo>
                  <a:lnTo>
                    <a:pt x="731" y="38"/>
                  </a:lnTo>
                  <a:lnTo>
                    <a:pt x="728" y="40"/>
                  </a:lnTo>
                  <a:lnTo>
                    <a:pt x="720" y="42"/>
                  </a:lnTo>
                  <a:lnTo>
                    <a:pt x="715" y="40"/>
                  </a:lnTo>
                  <a:lnTo>
                    <a:pt x="711" y="38"/>
                  </a:lnTo>
                  <a:lnTo>
                    <a:pt x="710" y="34"/>
                  </a:lnTo>
                  <a:lnTo>
                    <a:pt x="708" y="31"/>
                  </a:lnTo>
                  <a:lnTo>
                    <a:pt x="710" y="27"/>
                  </a:lnTo>
                  <a:lnTo>
                    <a:pt x="711" y="25"/>
                  </a:lnTo>
                  <a:lnTo>
                    <a:pt x="713" y="22"/>
                  </a:lnTo>
                  <a:lnTo>
                    <a:pt x="722" y="18"/>
                  </a:lnTo>
                  <a:lnTo>
                    <a:pt x="728" y="14"/>
                  </a:lnTo>
                  <a:lnTo>
                    <a:pt x="724" y="11"/>
                  </a:lnTo>
                  <a:lnTo>
                    <a:pt x="720" y="7"/>
                  </a:lnTo>
                  <a:lnTo>
                    <a:pt x="711" y="3"/>
                  </a:lnTo>
                  <a:lnTo>
                    <a:pt x="706" y="2"/>
                  </a:lnTo>
                  <a:lnTo>
                    <a:pt x="700" y="0"/>
                  </a:lnTo>
                  <a:lnTo>
                    <a:pt x="699" y="3"/>
                  </a:lnTo>
                  <a:lnTo>
                    <a:pt x="693" y="7"/>
                  </a:lnTo>
                  <a:lnTo>
                    <a:pt x="686" y="16"/>
                  </a:lnTo>
                  <a:lnTo>
                    <a:pt x="679" y="27"/>
                  </a:lnTo>
                  <a:lnTo>
                    <a:pt x="670" y="36"/>
                  </a:lnTo>
                  <a:lnTo>
                    <a:pt x="666" y="42"/>
                  </a:lnTo>
                  <a:lnTo>
                    <a:pt x="661" y="43"/>
                  </a:lnTo>
                  <a:lnTo>
                    <a:pt x="653" y="47"/>
                  </a:lnTo>
                  <a:lnTo>
                    <a:pt x="650" y="47"/>
                  </a:lnTo>
                  <a:lnTo>
                    <a:pt x="644" y="47"/>
                  </a:lnTo>
                  <a:lnTo>
                    <a:pt x="641" y="45"/>
                  </a:lnTo>
                  <a:lnTo>
                    <a:pt x="631" y="42"/>
                  </a:lnTo>
                  <a:lnTo>
                    <a:pt x="622" y="36"/>
                  </a:lnTo>
                  <a:lnTo>
                    <a:pt x="617" y="36"/>
                  </a:lnTo>
                  <a:lnTo>
                    <a:pt x="613" y="36"/>
                  </a:lnTo>
                  <a:lnTo>
                    <a:pt x="608" y="38"/>
                  </a:lnTo>
                  <a:lnTo>
                    <a:pt x="606" y="42"/>
                  </a:lnTo>
                  <a:lnTo>
                    <a:pt x="599" y="49"/>
                  </a:lnTo>
                  <a:lnTo>
                    <a:pt x="592" y="56"/>
                  </a:lnTo>
                  <a:lnTo>
                    <a:pt x="584" y="63"/>
                  </a:lnTo>
                  <a:lnTo>
                    <a:pt x="577" y="69"/>
                  </a:lnTo>
                  <a:lnTo>
                    <a:pt x="559" y="76"/>
                  </a:lnTo>
                  <a:lnTo>
                    <a:pt x="552" y="82"/>
                  </a:lnTo>
                  <a:lnTo>
                    <a:pt x="546" y="82"/>
                  </a:lnTo>
                  <a:lnTo>
                    <a:pt x="543" y="82"/>
                  </a:lnTo>
                  <a:lnTo>
                    <a:pt x="537" y="80"/>
                  </a:lnTo>
                  <a:lnTo>
                    <a:pt x="535" y="76"/>
                  </a:lnTo>
                  <a:lnTo>
                    <a:pt x="534" y="76"/>
                  </a:lnTo>
                  <a:lnTo>
                    <a:pt x="530" y="80"/>
                  </a:lnTo>
                  <a:lnTo>
                    <a:pt x="523" y="85"/>
                  </a:lnTo>
                  <a:lnTo>
                    <a:pt x="517" y="94"/>
                  </a:lnTo>
                  <a:lnTo>
                    <a:pt x="504" y="111"/>
                  </a:lnTo>
                  <a:lnTo>
                    <a:pt x="501" y="116"/>
                  </a:lnTo>
                  <a:lnTo>
                    <a:pt x="499" y="120"/>
                  </a:lnTo>
                  <a:lnTo>
                    <a:pt x="495" y="131"/>
                  </a:lnTo>
                  <a:lnTo>
                    <a:pt x="494" y="140"/>
                  </a:lnTo>
                  <a:lnTo>
                    <a:pt x="490" y="149"/>
                  </a:lnTo>
                  <a:lnTo>
                    <a:pt x="486" y="154"/>
                  </a:lnTo>
                  <a:lnTo>
                    <a:pt x="485" y="158"/>
                  </a:lnTo>
                  <a:lnTo>
                    <a:pt x="477" y="165"/>
                  </a:lnTo>
                  <a:lnTo>
                    <a:pt x="474" y="169"/>
                  </a:lnTo>
                  <a:lnTo>
                    <a:pt x="470" y="172"/>
                  </a:lnTo>
                  <a:lnTo>
                    <a:pt x="461" y="180"/>
                  </a:lnTo>
                  <a:lnTo>
                    <a:pt x="450" y="183"/>
                  </a:lnTo>
                  <a:lnTo>
                    <a:pt x="441" y="187"/>
                  </a:lnTo>
                  <a:lnTo>
                    <a:pt x="430" y="187"/>
                  </a:lnTo>
                  <a:lnTo>
                    <a:pt x="419" y="187"/>
                  </a:lnTo>
                  <a:lnTo>
                    <a:pt x="414" y="183"/>
                  </a:lnTo>
                  <a:lnTo>
                    <a:pt x="406" y="180"/>
                  </a:lnTo>
                  <a:lnTo>
                    <a:pt x="403" y="180"/>
                  </a:lnTo>
                  <a:lnTo>
                    <a:pt x="399" y="178"/>
                  </a:lnTo>
                  <a:lnTo>
                    <a:pt x="396" y="178"/>
                  </a:lnTo>
                  <a:lnTo>
                    <a:pt x="392" y="178"/>
                  </a:lnTo>
                  <a:lnTo>
                    <a:pt x="390" y="180"/>
                  </a:lnTo>
                  <a:lnTo>
                    <a:pt x="388" y="181"/>
                  </a:lnTo>
                  <a:lnTo>
                    <a:pt x="387" y="185"/>
                  </a:lnTo>
                  <a:lnTo>
                    <a:pt x="385" y="192"/>
                  </a:lnTo>
                  <a:lnTo>
                    <a:pt x="383" y="198"/>
                  </a:lnTo>
                  <a:lnTo>
                    <a:pt x="381" y="203"/>
                  </a:lnTo>
                  <a:lnTo>
                    <a:pt x="376" y="212"/>
                  </a:lnTo>
                  <a:lnTo>
                    <a:pt x="372" y="216"/>
                  </a:lnTo>
                  <a:lnTo>
                    <a:pt x="370" y="219"/>
                  </a:lnTo>
                  <a:lnTo>
                    <a:pt x="374" y="223"/>
                  </a:lnTo>
                  <a:lnTo>
                    <a:pt x="381" y="229"/>
                  </a:lnTo>
                  <a:lnTo>
                    <a:pt x="394" y="238"/>
                  </a:lnTo>
                  <a:lnTo>
                    <a:pt x="399" y="241"/>
                  </a:lnTo>
                  <a:lnTo>
                    <a:pt x="405" y="247"/>
                  </a:lnTo>
                  <a:lnTo>
                    <a:pt x="416" y="259"/>
                  </a:lnTo>
                  <a:lnTo>
                    <a:pt x="426" y="274"/>
                  </a:lnTo>
                  <a:lnTo>
                    <a:pt x="436" y="288"/>
                  </a:lnTo>
                  <a:lnTo>
                    <a:pt x="439" y="296"/>
                  </a:lnTo>
                  <a:lnTo>
                    <a:pt x="441" y="305"/>
                  </a:lnTo>
                  <a:lnTo>
                    <a:pt x="446" y="319"/>
                  </a:lnTo>
                  <a:lnTo>
                    <a:pt x="455" y="337"/>
                  </a:lnTo>
                  <a:lnTo>
                    <a:pt x="461" y="345"/>
                  </a:lnTo>
                  <a:lnTo>
                    <a:pt x="466" y="350"/>
                  </a:lnTo>
                  <a:lnTo>
                    <a:pt x="474" y="354"/>
                  </a:lnTo>
                  <a:lnTo>
                    <a:pt x="477" y="354"/>
                  </a:lnTo>
                  <a:lnTo>
                    <a:pt x="481" y="354"/>
                  </a:lnTo>
                  <a:lnTo>
                    <a:pt x="488" y="354"/>
                  </a:lnTo>
                  <a:lnTo>
                    <a:pt x="497" y="354"/>
                  </a:lnTo>
                  <a:lnTo>
                    <a:pt x="503" y="356"/>
                  </a:lnTo>
                  <a:lnTo>
                    <a:pt x="508" y="356"/>
                  </a:lnTo>
                  <a:lnTo>
                    <a:pt x="512" y="357"/>
                  </a:lnTo>
                  <a:lnTo>
                    <a:pt x="514" y="361"/>
                  </a:lnTo>
                  <a:lnTo>
                    <a:pt x="514" y="363"/>
                  </a:lnTo>
                  <a:lnTo>
                    <a:pt x="514" y="365"/>
                  </a:lnTo>
                  <a:lnTo>
                    <a:pt x="514" y="370"/>
                  </a:lnTo>
                  <a:lnTo>
                    <a:pt x="510" y="374"/>
                  </a:lnTo>
                  <a:lnTo>
                    <a:pt x="510" y="376"/>
                  </a:lnTo>
                  <a:lnTo>
                    <a:pt x="510" y="377"/>
                  </a:lnTo>
                  <a:lnTo>
                    <a:pt x="510" y="383"/>
                  </a:lnTo>
                  <a:lnTo>
                    <a:pt x="510" y="385"/>
                  </a:lnTo>
                  <a:lnTo>
                    <a:pt x="512" y="388"/>
                  </a:lnTo>
                  <a:lnTo>
                    <a:pt x="514" y="390"/>
                  </a:lnTo>
                  <a:lnTo>
                    <a:pt x="521" y="390"/>
                  </a:lnTo>
                  <a:lnTo>
                    <a:pt x="526" y="390"/>
                  </a:lnTo>
                  <a:lnTo>
                    <a:pt x="537" y="390"/>
                  </a:lnTo>
                  <a:lnTo>
                    <a:pt x="550" y="390"/>
                  </a:lnTo>
                  <a:lnTo>
                    <a:pt x="555" y="392"/>
                  </a:lnTo>
                  <a:lnTo>
                    <a:pt x="561" y="394"/>
                  </a:lnTo>
                  <a:lnTo>
                    <a:pt x="564" y="397"/>
                  </a:lnTo>
                  <a:lnTo>
                    <a:pt x="570" y="401"/>
                  </a:lnTo>
                  <a:lnTo>
                    <a:pt x="573" y="405"/>
                  </a:lnTo>
                  <a:lnTo>
                    <a:pt x="575" y="408"/>
                  </a:lnTo>
                  <a:lnTo>
                    <a:pt x="575" y="410"/>
                  </a:lnTo>
                  <a:lnTo>
                    <a:pt x="575" y="412"/>
                  </a:lnTo>
                  <a:lnTo>
                    <a:pt x="573" y="414"/>
                  </a:lnTo>
                  <a:lnTo>
                    <a:pt x="572" y="415"/>
                  </a:lnTo>
                  <a:lnTo>
                    <a:pt x="566" y="415"/>
                  </a:lnTo>
                  <a:lnTo>
                    <a:pt x="561" y="415"/>
                  </a:lnTo>
                  <a:lnTo>
                    <a:pt x="552" y="415"/>
                  </a:lnTo>
                  <a:lnTo>
                    <a:pt x="541" y="412"/>
                  </a:lnTo>
                  <a:lnTo>
                    <a:pt x="530" y="408"/>
                  </a:lnTo>
                  <a:lnTo>
                    <a:pt x="526" y="408"/>
                  </a:lnTo>
                  <a:lnTo>
                    <a:pt x="523" y="412"/>
                  </a:lnTo>
                  <a:lnTo>
                    <a:pt x="521" y="414"/>
                  </a:lnTo>
                  <a:lnTo>
                    <a:pt x="521" y="415"/>
                  </a:lnTo>
                  <a:lnTo>
                    <a:pt x="521" y="419"/>
                  </a:lnTo>
                  <a:lnTo>
                    <a:pt x="523" y="425"/>
                  </a:lnTo>
                  <a:lnTo>
                    <a:pt x="523" y="428"/>
                  </a:lnTo>
                  <a:lnTo>
                    <a:pt x="521" y="432"/>
                  </a:lnTo>
                  <a:lnTo>
                    <a:pt x="515" y="434"/>
                  </a:lnTo>
                  <a:lnTo>
                    <a:pt x="503" y="435"/>
                  </a:lnTo>
                  <a:lnTo>
                    <a:pt x="488" y="437"/>
                  </a:lnTo>
                  <a:lnTo>
                    <a:pt x="477" y="437"/>
                  </a:lnTo>
                  <a:lnTo>
                    <a:pt x="470" y="437"/>
                  </a:lnTo>
                  <a:lnTo>
                    <a:pt x="463" y="437"/>
                  </a:lnTo>
                  <a:lnTo>
                    <a:pt x="455" y="435"/>
                  </a:lnTo>
                  <a:lnTo>
                    <a:pt x="446" y="432"/>
                  </a:lnTo>
                  <a:lnTo>
                    <a:pt x="439" y="428"/>
                  </a:lnTo>
                  <a:lnTo>
                    <a:pt x="434" y="425"/>
                  </a:lnTo>
                  <a:lnTo>
                    <a:pt x="428" y="419"/>
                  </a:lnTo>
                  <a:lnTo>
                    <a:pt x="428" y="417"/>
                  </a:lnTo>
                  <a:lnTo>
                    <a:pt x="426" y="415"/>
                  </a:lnTo>
                  <a:lnTo>
                    <a:pt x="426" y="412"/>
                  </a:lnTo>
                  <a:lnTo>
                    <a:pt x="426" y="406"/>
                  </a:lnTo>
                  <a:lnTo>
                    <a:pt x="428" y="403"/>
                  </a:lnTo>
                  <a:lnTo>
                    <a:pt x="432" y="392"/>
                  </a:lnTo>
                  <a:lnTo>
                    <a:pt x="432" y="388"/>
                  </a:lnTo>
                  <a:lnTo>
                    <a:pt x="432" y="385"/>
                  </a:lnTo>
                  <a:lnTo>
                    <a:pt x="428" y="381"/>
                  </a:lnTo>
                  <a:lnTo>
                    <a:pt x="421" y="379"/>
                  </a:lnTo>
                  <a:lnTo>
                    <a:pt x="410" y="379"/>
                  </a:lnTo>
                  <a:lnTo>
                    <a:pt x="399" y="383"/>
                  </a:lnTo>
                  <a:lnTo>
                    <a:pt x="388" y="386"/>
                  </a:lnTo>
                  <a:lnTo>
                    <a:pt x="377" y="392"/>
                  </a:lnTo>
                  <a:lnTo>
                    <a:pt x="356" y="405"/>
                  </a:lnTo>
                  <a:lnTo>
                    <a:pt x="347" y="410"/>
                  </a:lnTo>
                  <a:lnTo>
                    <a:pt x="336" y="414"/>
                  </a:lnTo>
                  <a:lnTo>
                    <a:pt x="319" y="421"/>
                  </a:lnTo>
                  <a:lnTo>
                    <a:pt x="307" y="426"/>
                  </a:lnTo>
                  <a:lnTo>
                    <a:pt x="296" y="432"/>
                  </a:lnTo>
                  <a:lnTo>
                    <a:pt x="287" y="437"/>
                  </a:lnTo>
                  <a:lnTo>
                    <a:pt x="283" y="441"/>
                  </a:lnTo>
                  <a:lnTo>
                    <a:pt x="281" y="444"/>
                  </a:lnTo>
                  <a:lnTo>
                    <a:pt x="279" y="446"/>
                  </a:lnTo>
                  <a:lnTo>
                    <a:pt x="281" y="450"/>
                  </a:lnTo>
                  <a:lnTo>
                    <a:pt x="281" y="452"/>
                  </a:lnTo>
                  <a:lnTo>
                    <a:pt x="283" y="454"/>
                  </a:lnTo>
                  <a:lnTo>
                    <a:pt x="287" y="457"/>
                  </a:lnTo>
                  <a:lnTo>
                    <a:pt x="296" y="463"/>
                  </a:lnTo>
                  <a:lnTo>
                    <a:pt x="307" y="468"/>
                  </a:lnTo>
                  <a:lnTo>
                    <a:pt x="312" y="470"/>
                  </a:lnTo>
                  <a:lnTo>
                    <a:pt x="318" y="474"/>
                  </a:lnTo>
                  <a:lnTo>
                    <a:pt x="321" y="477"/>
                  </a:lnTo>
                  <a:lnTo>
                    <a:pt x="325" y="481"/>
                  </a:lnTo>
                  <a:lnTo>
                    <a:pt x="327" y="484"/>
                  </a:lnTo>
                  <a:lnTo>
                    <a:pt x="327" y="486"/>
                  </a:lnTo>
                  <a:lnTo>
                    <a:pt x="327" y="490"/>
                  </a:lnTo>
                  <a:lnTo>
                    <a:pt x="325" y="492"/>
                  </a:lnTo>
                  <a:lnTo>
                    <a:pt x="321" y="492"/>
                  </a:lnTo>
                  <a:lnTo>
                    <a:pt x="319" y="493"/>
                  </a:lnTo>
                  <a:lnTo>
                    <a:pt x="316" y="492"/>
                  </a:lnTo>
                  <a:lnTo>
                    <a:pt x="312" y="492"/>
                  </a:lnTo>
                  <a:lnTo>
                    <a:pt x="312" y="497"/>
                  </a:lnTo>
                  <a:lnTo>
                    <a:pt x="314" y="501"/>
                  </a:lnTo>
                  <a:lnTo>
                    <a:pt x="318" y="510"/>
                  </a:lnTo>
                  <a:lnTo>
                    <a:pt x="319" y="515"/>
                  </a:lnTo>
                  <a:lnTo>
                    <a:pt x="319" y="519"/>
                  </a:lnTo>
                  <a:lnTo>
                    <a:pt x="321" y="530"/>
                  </a:lnTo>
                  <a:lnTo>
                    <a:pt x="323" y="535"/>
                  </a:lnTo>
                  <a:lnTo>
                    <a:pt x="327" y="541"/>
                  </a:lnTo>
                  <a:lnTo>
                    <a:pt x="330" y="544"/>
                  </a:lnTo>
                  <a:lnTo>
                    <a:pt x="334" y="548"/>
                  </a:lnTo>
                  <a:lnTo>
                    <a:pt x="345" y="555"/>
                  </a:lnTo>
                  <a:lnTo>
                    <a:pt x="352" y="557"/>
                  </a:lnTo>
                  <a:lnTo>
                    <a:pt x="357" y="559"/>
                  </a:lnTo>
                  <a:lnTo>
                    <a:pt x="368" y="561"/>
                  </a:lnTo>
                  <a:lnTo>
                    <a:pt x="381" y="559"/>
                  </a:lnTo>
                  <a:lnTo>
                    <a:pt x="392" y="559"/>
                  </a:lnTo>
                  <a:lnTo>
                    <a:pt x="397" y="559"/>
                  </a:lnTo>
                  <a:lnTo>
                    <a:pt x="405" y="561"/>
                  </a:lnTo>
                  <a:lnTo>
                    <a:pt x="412" y="564"/>
                  </a:lnTo>
                  <a:lnTo>
                    <a:pt x="419" y="568"/>
                  </a:lnTo>
                  <a:lnTo>
                    <a:pt x="426" y="573"/>
                  </a:lnTo>
                  <a:lnTo>
                    <a:pt x="434" y="575"/>
                  </a:lnTo>
                  <a:lnTo>
                    <a:pt x="436" y="572"/>
                  </a:lnTo>
                  <a:lnTo>
                    <a:pt x="437" y="568"/>
                  </a:lnTo>
                  <a:lnTo>
                    <a:pt x="439" y="568"/>
                  </a:lnTo>
                  <a:lnTo>
                    <a:pt x="441" y="568"/>
                  </a:lnTo>
                  <a:lnTo>
                    <a:pt x="446" y="570"/>
                  </a:lnTo>
                  <a:lnTo>
                    <a:pt x="450" y="575"/>
                  </a:lnTo>
                  <a:lnTo>
                    <a:pt x="452" y="579"/>
                  </a:lnTo>
                  <a:lnTo>
                    <a:pt x="454" y="581"/>
                  </a:lnTo>
                  <a:lnTo>
                    <a:pt x="455" y="582"/>
                  </a:lnTo>
                  <a:lnTo>
                    <a:pt x="455" y="584"/>
                  </a:lnTo>
                  <a:lnTo>
                    <a:pt x="457" y="584"/>
                  </a:lnTo>
                  <a:lnTo>
                    <a:pt x="463" y="579"/>
                  </a:lnTo>
                  <a:lnTo>
                    <a:pt x="465" y="577"/>
                  </a:lnTo>
                  <a:lnTo>
                    <a:pt x="465" y="575"/>
                  </a:lnTo>
                  <a:lnTo>
                    <a:pt x="466" y="568"/>
                  </a:lnTo>
                  <a:lnTo>
                    <a:pt x="466" y="562"/>
                  </a:lnTo>
                  <a:lnTo>
                    <a:pt x="470" y="559"/>
                  </a:lnTo>
                  <a:lnTo>
                    <a:pt x="472" y="557"/>
                  </a:lnTo>
                  <a:lnTo>
                    <a:pt x="475" y="555"/>
                  </a:lnTo>
                  <a:lnTo>
                    <a:pt x="488" y="552"/>
                  </a:lnTo>
                  <a:lnTo>
                    <a:pt x="501" y="548"/>
                  </a:lnTo>
                  <a:lnTo>
                    <a:pt x="506" y="548"/>
                  </a:lnTo>
                  <a:lnTo>
                    <a:pt x="508" y="548"/>
                  </a:lnTo>
                  <a:lnTo>
                    <a:pt x="510" y="550"/>
                  </a:lnTo>
                  <a:lnTo>
                    <a:pt x="512" y="552"/>
                  </a:lnTo>
                  <a:lnTo>
                    <a:pt x="517" y="559"/>
                  </a:lnTo>
                  <a:lnTo>
                    <a:pt x="517" y="562"/>
                  </a:lnTo>
                  <a:lnTo>
                    <a:pt x="519" y="566"/>
                  </a:lnTo>
                  <a:lnTo>
                    <a:pt x="519" y="570"/>
                  </a:lnTo>
                  <a:lnTo>
                    <a:pt x="517" y="572"/>
                  </a:lnTo>
                  <a:lnTo>
                    <a:pt x="515" y="573"/>
                  </a:lnTo>
                  <a:lnTo>
                    <a:pt x="512" y="573"/>
                  </a:lnTo>
                  <a:lnTo>
                    <a:pt x="506" y="572"/>
                  </a:lnTo>
                  <a:lnTo>
                    <a:pt x="503" y="570"/>
                  </a:lnTo>
                  <a:lnTo>
                    <a:pt x="501" y="570"/>
                  </a:lnTo>
                  <a:lnTo>
                    <a:pt x="499" y="572"/>
                  </a:lnTo>
                  <a:lnTo>
                    <a:pt x="497" y="577"/>
                  </a:lnTo>
                  <a:lnTo>
                    <a:pt x="497" y="581"/>
                  </a:lnTo>
                  <a:lnTo>
                    <a:pt x="497" y="586"/>
                  </a:lnTo>
                  <a:lnTo>
                    <a:pt x="503" y="595"/>
                  </a:lnTo>
                  <a:lnTo>
                    <a:pt x="510" y="602"/>
                  </a:lnTo>
                  <a:lnTo>
                    <a:pt x="512" y="608"/>
                  </a:lnTo>
                  <a:lnTo>
                    <a:pt x="514" y="611"/>
                  </a:lnTo>
                  <a:lnTo>
                    <a:pt x="515" y="617"/>
                  </a:lnTo>
                  <a:lnTo>
                    <a:pt x="515" y="622"/>
                  </a:lnTo>
                  <a:lnTo>
                    <a:pt x="515" y="635"/>
                  </a:lnTo>
                  <a:lnTo>
                    <a:pt x="514" y="640"/>
                  </a:lnTo>
                  <a:lnTo>
                    <a:pt x="512" y="646"/>
                  </a:lnTo>
                  <a:lnTo>
                    <a:pt x="510" y="651"/>
                  </a:lnTo>
                  <a:lnTo>
                    <a:pt x="506" y="655"/>
                  </a:lnTo>
                  <a:lnTo>
                    <a:pt x="504" y="659"/>
                  </a:lnTo>
                  <a:lnTo>
                    <a:pt x="499" y="662"/>
                  </a:lnTo>
                  <a:lnTo>
                    <a:pt x="495" y="664"/>
                  </a:lnTo>
                  <a:lnTo>
                    <a:pt x="490" y="666"/>
                  </a:lnTo>
                  <a:lnTo>
                    <a:pt x="481" y="668"/>
                  </a:lnTo>
                  <a:lnTo>
                    <a:pt x="472" y="666"/>
                  </a:lnTo>
                  <a:lnTo>
                    <a:pt x="466" y="664"/>
                  </a:lnTo>
                  <a:lnTo>
                    <a:pt x="463" y="662"/>
                  </a:lnTo>
                  <a:lnTo>
                    <a:pt x="459" y="660"/>
                  </a:lnTo>
                  <a:lnTo>
                    <a:pt x="457" y="660"/>
                  </a:lnTo>
                  <a:lnTo>
                    <a:pt x="454" y="662"/>
                  </a:lnTo>
                  <a:lnTo>
                    <a:pt x="452" y="662"/>
                  </a:lnTo>
                  <a:lnTo>
                    <a:pt x="450" y="664"/>
                  </a:lnTo>
                  <a:lnTo>
                    <a:pt x="446" y="670"/>
                  </a:lnTo>
                  <a:lnTo>
                    <a:pt x="443" y="675"/>
                  </a:lnTo>
                  <a:lnTo>
                    <a:pt x="439" y="679"/>
                  </a:lnTo>
                  <a:lnTo>
                    <a:pt x="430" y="684"/>
                  </a:lnTo>
                  <a:lnTo>
                    <a:pt x="421" y="689"/>
                  </a:lnTo>
                  <a:lnTo>
                    <a:pt x="417" y="689"/>
                  </a:lnTo>
                  <a:lnTo>
                    <a:pt x="414" y="689"/>
                  </a:lnTo>
                  <a:lnTo>
                    <a:pt x="408" y="689"/>
                  </a:lnTo>
                  <a:lnTo>
                    <a:pt x="403" y="686"/>
                  </a:lnTo>
                  <a:lnTo>
                    <a:pt x="394" y="680"/>
                  </a:lnTo>
                  <a:lnTo>
                    <a:pt x="387" y="677"/>
                  </a:lnTo>
                  <a:lnTo>
                    <a:pt x="381" y="675"/>
                  </a:lnTo>
                  <a:lnTo>
                    <a:pt x="377" y="675"/>
                  </a:lnTo>
                  <a:lnTo>
                    <a:pt x="372" y="675"/>
                  </a:lnTo>
                  <a:lnTo>
                    <a:pt x="367" y="677"/>
                  </a:lnTo>
                  <a:lnTo>
                    <a:pt x="359" y="680"/>
                  </a:lnTo>
                  <a:lnTo>
                    <a:pt x="356" y="686"/>
                  </a:lnTo>
                  <a:lnTo>
                    <a:pt x="352" y="691"/>
                  </a:lnTo>
                  <a:lnTo>
                    <a:pt x="348" y="697"/>
                  </a:lnTo>
                  <a:lnTo>
                    <a:pt x="347" y="702"/>
                  </a:lnTo>
                  <a:lnTo>
                    <a:pt x="347" y="709"/>
                  </a:lnTo>
                  <a:lnTo>
                    <a:pt x="345" y="722"/>
                  </a:lnTo>
                  <a:lnTo>
                    <a:pt x="345" y="728"/>
                  </a:lnTo>
                  <a:lnTo>
                    <a:pt x="343" y="731"/>
                  </a:lnTo>
                  <a:lnTo>
                    <a:pt x="341" y="733"/>
                  </a:lnTo>
                  <a:lnTo>
                    <a:pt x="338" y="735"/>
                  </a:lnTo>
                  <a:lnTo>
                    <a:pt x="334" y="737"/>
                  </a:lnTo>
                  <a:lnTo>
                    <a:pt x="332" y="737"/>
                  </a:lnTo>
                  <a:lnTo>
                    <a:pt x="327" y="737"/>
                  </a:lnTo>
                  <a:lnTo>
                    <a:pt x="323" y="738"/>
                  </a:lnTo>
                  <a:lnTo>
                    <a:pt x="321" y="742"/>
                  </a:lnTo>
                  <a:lnTo>
                    <a:pt x="318" y="748"/>
                  </a:lnTo>
                  <a:lnTo>
                    <a:pt x="310" y="757"/>
                  </a:lnTo>
                  <a:lnTo>
                    <a:pt x="308" y="760"/>
                  </a:lnTo>
                  <a:lnTo>
                    <a:pt x="305" y="764"/>
                  </a:lnTo>
                  <a:lnTo>
                    <a:pt x="305" y="771"/>
                  </a:lnTo>
                  <a:lnTo>
                    <a:pt x="305" y="777"/>
                  </a:lnTo>
                  <a:lnTo>
                    <a:pt x="303" y="782"/>
                  </a:lnTo>
                  <a:lnTo>
                    <a:pt x="303" y="784"/>
                  </a:lnTo>
                  <a:lnTo>
                    <a:pt x="301" y="786"/>
                  </a:lnTo>
                  <a:lnTo>
                    <a:pt x="299" y="787"/>
                  </a:lnTo>
                  <a:lnTo>
                    <a:pt x="298" y="789"/>
                  </a:lnTo>
                  <a:lnTo>
                    <a:pt x="294" y="789"/>
                  </a:lnTo>
                  <a:lnTo>
                    <a:pt x="290" y="789"/>
                  </a:lnTo>
                  <a:lnTo>
                    <a:pt x="289" y="789"/>
                  </a:lnTo>
                  <a:lnTo>
                    <a:pt x="287" y="791"/>
                  </a:lnTo>
                  <a:lnTo>
                    <a:pt x="287" y="795"/>
                  </a:lnTo>
                  <a:lnTo>
                    <a:pt x="285" y="797"/>
                  </a:lnTo>
                  <a:lnTo>
                    <a:pt x="287" y="800"/>
                  </a:lnTo>
                  <a:lnTo>
                    <a:pt x="289" y="804"/>
                  </a:lnTo>
                  <a:lnTo>
                    <a:pt x="290" y="809"/>
                  </a:lnTo>
                  <a:lnTo>
                    <a:pt x="290" y="813"/>
                  </a:lnTo>
                  <a:lnTo>
                    <a:pt x="289" y="817"/>
                  </a:lnTo>
                  <a:lnTo>
                    <a:pt x="289" y="818"/>
                  </a:lnTo>
                  <a:lnTo>
                    <a:pt x="289" y="822"/>
                  </a:lnTo>
                  <a:lnTo>
                    <a:pt x="289" y="826"/>
                  </a:lnTo>
                  <a:lnTo>
                    <a:pt x="289" y="827"/>
                  </a:lnTo>
                  <a:lnTo>
                    <a:pt x="290" y="831"/>
                  </a:lnTo>
                  <a:lnTo>
                    <a:pt x="294" y="835"/>
                  </a:lnTo>
                  <a:lnTo>
                    <a:pt x="296" y="838"/>
                  </a:lnTo>
                  <a:lnTo>
                    <a:pt x="298" y="840"/>
                  </a:lnTo>
                  <a:lnTo>
                    <a:pt x="298" y="846"/>
                  </a:lnTo>
                  <a:lnTo>
                    <a:pt x="298" y="849"/>
                  </a:lnTo>
                  <a:lnTo>
                    <a:pt x="299" y="853"/>
                  </a:lnTo>
                  <a:lnTo>
                    <a:pt x="303" y="855"/>
                  </a:lnTo>
                  <a:lnTo>
                    <a:pt x="305" y="855"/>
                  </a:lnTo>
                  <a:lnTo>
                    <a:pt x="308" y="853"/>
                  </a:lnTo>
                  <a:lnTo>
                    <a:pt x="312" y="855"/>
                  </a:lnTo>
                  <a:lnTo>
                    <a:pt x="314" y="858"/>
                  </a:lnTo>
                  <a:lnTo>
                    <a:pt x="316" y="862"/>
                  </a:lnTo>
                  <a:lnTo>
                    <a:pt x="319" y="869"/>
                  </a:lnTo>
                  <a:lnTo>
                    <a:pt x="323" y="873"/>
                  </a:lnTo>
                  <a:lnTo>
                    <a:pt x="325" y="875"/>
                  </a:lnTo>
                  <a:lnTo>
                    <a:pt x="325" y="876"/>
                  </a:lnTo>
                  <a:lnTo>
                    <a:pt x="319" y="882"/>
                  </a:lnTo>
                  <a:lnTo>
                    <a:pt x="312" y="887"/>
                  </a:lnTo>
                  <a:lnTo>
                    <a:pt x="303" y="893"/>
                  </a:lnTo>
                  <a:lnTo>
                    <a:pt x="299" y="896"/>
                  </a:lnTo>
                  <a:lnTo>
                    <a:pt x="299" y="902"/>
                  </a:lnTo>
                  <a:lnTo>
                    <a:pt x="299" y="905"/>
                  </a:lnTo>
                  <a:lnTo>
                    <a:pt x="301" y="909"/>
                  </a:lnTo>
                  <a:lnTo>
                    <a:pt x="303" y="911"/>
                  </a:lnTo>
                  <a:lnTo>
                    <a:pt x="305" y="913"/>
                  </a:lnTo>
                  <a:lnTo>
                    <a:pt x="307" y="911"/>
                  </a:lnTo>
                  <a:lnTo>
                    <a:pt x="310" y="911"/>
                  </a:lnTo>
                  <a:lnTo>
                    <a:pt x="312" y="913"/>
                  </a:lnTo>
                  <a:lnTo>
                    <a:pt x="314" y="916"/>
                  </a:lnTo>
                  <a:lnTo>
                    <a:pt x="314" y="918"/>
                  </a:lnTo>
                  <a:lnTo>
                    <a:pt x="314" y="922"/>
                  </a:lnTo>
                  <a:lnTo>
                    <a:pt x="318" y="925"/>
                  </a:lnTo>
                  <a:lnTo>
                    <a:pt x="321" y="929"/>
                  </a:lnTo>
                  <a:lnTo>
                    <a:pt x="325" y="931"/>
                  </a:lnTo>
                  <a:lnTo>
                    <a:pt x="328" y="934"/>
                  </a:lnTo>
                  <a:lnTo>
                    <a:pt x="332" y="938"/>
                  </a:lnTo>
                  <a:lnTo>
                    <a:pt x="334" y="942"/>
                  </a:lnTo>
                  <a:lnTo>
                    <a:pt x="336" y="945"/>
                  </a:lnTo>
                  <a:lnTo>
                    <a:pt x="338" y="949"/>
                  </a:lnTo>
                  <a:lnTo>
                    <a:pt x="339" y="958"/>
                  </a:lnTo>
                  <a:lnTo>
                    <a:pt x="339" y="962"/>
                  </a:lnTo>
                  <a:lnTo>
                    <a:pt x="343" y="965"/>
                  </a:lnTo>
                  <a:lnTo>
                    <a:pt x="347" y="971"/>
                  </a:lnTo>
                  <a:lnTo>
                    <a:pt x="352" y="974"/>
                  </a:lnTo>
                  <a:lnTo>
                    <a:pt x="357" y="978"/>
                  </a:lnTo>
                  <a:lnTo>
                    <a:pt x="365" y="980"/>
                  </a:lnTo>
                  <a:lnTo>
                    <a:pt x="370" y="982"/>
                  </a:lnTo>
                  <a:lnTo>
                    <a:pt x="377" y="982"/>
                  </a:lnTo>
                  <a:lnTo>
                    <a:pt x="385" y="980"/>
                  </a:lnTo>
                  <a:lnTo>
                    <a:pt x="390" y="976"/>
                  </a:lnTo>
                  <a:lnTo>
                    <a:pt x="394" y="973"/>
                  </a:lnTo>
                  <a:lnTo>
                    <a:pt x="397" y="969"/>
                  </a:lnTo>
                  <a:lnTo>
                    <a:pt x="405" y="958"/>
                  </a:lnTo>
                  <a:lnTo>
                    <a:pt x="408" y="954"/>
                  </a:lnTo>
                  <a:lnTo>
                    <a:pt x="410" y="954"/>
                  </a:lnTo>
                  <a:lnTo>
                    <a:pt x="412" y="953"/>
                  </a:lnTo>
                  <a:lnTo>
                    <a:pt x="414" y="953"/>
                  </a:lnTo>
                  <a:lnTo>
                    <a:pt x="416" y="953"/>
                  </a:lnTo>
                  <a:lnTo>
                    <a:pt x="419" y="954"/>
                  </a:lnTo>
                  <a:lnTo>
                    <a:pt x="423" y="956"/>
                  </a:lnTo>
                  <a:lnTo>
                    <a:pt x="426" y="962"/>
                  </a:lnTo>
                  <a:lnTo>
                    <a:pt x="428" y="967"/>
                  </a:lnTo>
                  <a:lnTo>
                    <a:pt x="432" y="973"/>
                  </a:lnTo>
                  <a:lnTo>
                    <a:pt x="436" y="980"/>
                  </a:lnTo>
                  <a:lnTo>
                    <a:pt x="437" y="987"/>
                  </a:lnTo>
                  <a:lnTo>
                    <a:pt x="437" y="994"/>
                  </a:lnTo>
                  <a:lnTo>
                    <a:pt x="437" y="1002"/>
                  </a:lnTo>
                  <a:lnTo>
                    <a:pt x="437" y="1007"/>
                  </a:lnTo>
                  <a:lnTo>
                    <a:pt x="436" y="1011"/>
                  </a:lnTo>
                  <a:lnTo>
                    <a:pt x="432" y="1014"/>
                  </a:lnTo>
                  <a:lnTo>
                    <a:pt x="426" y="1023"/>
                  </a:lnTo>
                  <a:lnTo>
                    <a:pt x="423" y="1027"/>
                  </a:lnTo>
                  <a:lnTo>
                    <a:pt x="423" y="1031"/>
                  </a:lnTo>
                  <a:lnTo>
                    <a:pt x="423" y="1034"/>
                  </a:lnTo>
                  <a:lnTo>
                    <a:pt x="423" y="1036"/>
                  </a:lnTo>
                  <a:lnTo>
                    <a:pt x="425" y="1040"/>
                  </a:lnTo>
                  <a:lnTo>
                    <a:pt x="426" y="1042"/>
                  </a:lnTo>
                  <a:lnTo>
                    <a:pt x="434" y="1049"/>
                  </a:lnTo>
                  <a:lnTo>
                    <a:pt x="437" y="1052"/>
                  </a:lnTo>
                  <a:lnTo>
                    <a:pt x="437" y="1056"/>
                  </a:lnTo>
                  <a:lnTo>
                    <a:pt x="432" y="1065"/>
                  </a:lnTo>
                  <a:lnTo>
                    <a:pt x="428" y="1072"/>
                  </a:lnTo>
                  <a:lnTo>
                    <a:pt x="426" y="1080"/>
                  </a:lnTo>
                  <a:lnTo>
                    <a:pt x="428" y="1083"/>
                  </a:lnTo>
                  <a:lnTo>
                    <a:pt x="430" y="1087"/>
                  </a:lnTo>
                  <a:lnTo>
                    <a:pt x="432" y="1089"/>
                  </a:lnTo>
                  <a:lnTo>
                    <a:pt x="437" y="1091"/>
                  </a:lnTo>
                  <a:lnTo>
                    <a:pt x="441" y="1091"/>
                  </a:lnTo>
                  <a:lnTo>
                    <a:pt x="446" y="1089"/>
                  </a:lnTo>
                  <a:lnTo>
                    <a:pt x="455" y="1083"/>
                  </a:lnTo>
                  <a:lnTo>
                    <a:pt x="474" y="1072"/>
                  </a:lnTo>
                  <a:lnTo>
                    <a:pt x="483" y="1067"/>
                  </a:lnTo>
                  <a:lnTo>
                    <a:pt x="488" y="1063"/>
                  </a:lnTo>
                  <a:lnTo>
                    <a:pt x="492" y="1063"/>
                  </a:lnTo>
                  <a:lnTo>
                    <a:pt x="494" y="1063"/>
                  </a:lnTo>
                  <a:lnTo>
                    <a:pt x="497" y="1063"/>
                  </a:lnTo>
                  <a:lnTo>
                    <a:pt x="499" y="1065"/>
                  </a:lnTo>
                  <a:lnTo>
                    <a:pt x="501" y="1069"/>
                  </a:lnTo>
                  <a:lnTo>
                    <a:pt x="503" y="1074"/>
                  </a:lnTo>
                  <a:lnTo>
                    <a:pt x="503" y="1076"/>
                  </a:lnTo>
                  <a:lnTo>
                    <a:pt x="504" y="1078"/>
                  </a:lnTo>
                  <a:lnTo>
                    <a:pt x="510" y="1081"/>
                  </a:lnTo>
                  <a:lnTo>
                    <a:pt x="512" y="1081"/>
                  </a:lnTo>
                  <a:lnTo>
                    <a:pt x="515" y="1081"/>
                  </a:lnTo>
                  <a:lnTo>
                    <a:pt x="519" y="1078"/>
                  </a:lnTo>
                  <a:lnTo>
                    <a:pt x="521" y="1078"/>
                  </a:lnTo>
                  <a:lnTo>
                    <a:pt x="523" y="1078"/>
                  </a:lnTo>
                  <a:lnTo>
                    <a:pt x="528" y="1080"/>
                  </a:lnTo>
                  <a:lnTo>
                    <a:pt x="532" y="1083"/>
                  </a:lnTo>
                  <a:lnTo>
                    <a:pt x="537" y="1092"/>
                  </a:lnTo>
                  <a:lnTo>
                    <a:pt x="544" y="1103"/>
                  </a:lnTo>
                  <a:lnTo>
                    <a:pt x="550" y="1112"/>
                  </a:lnTo>
                  <a:lnTo>
                    <a:pt x="552" y="1116"/>
                  </a:lnTo>
                  <a:lnTo>
                    <a:pt x="555" y="1120"/>
                  </a:lnTo>
                  <a:lnTo>
                    <a:pt x="557" y="1120"/>
                  </a:lnTo>
                  <a:lnTo>
                    <a:pt x="559" y="1120"/>
                  </a:lnTo>
                  <a:lnTo>
                    <a:pt x="561" y="1120"/>
                  </a:lnTo>
                  <a:lnTo>
                    <a:pt x="563" y="1118"/>
                  </a:lnTo>
                  <a:lnTo>
                    <a:pt x="564" y="1114"/>
                  </a:lnTo>
                  <a:lnTo>
                    <a:pt x="566" y="1112"/>
                  </a:lnTo>
                  <a:lnTo>
                    <a:pt x="564" y="1103"/>
                  </a:lnTo>
                  <a:lnTo>
                    <a:pt x="564" y="1096"/>
                  </a:lnTo>
                  <a:lnTo>
                    <a:pt x="564" y="1092"/>
                  </a:lnTo>
                  <a:lnTo>
                    <a:pt x="564" y="1089"/>
                  </a:lnTo>
                  <a:lnTo>
                    <a:pt x="566" y="1085"/>
                  </a:lnTo>
                  <a:lnTo>
                    <a:pt x="570" y="1080"/>
                  </a:lnTo>
                  <a:lnTo>
                    <a:pt x="572" y="1078"/>
                  </a:lnTo>
                  <a:lnTo>
                    <a:pt x="575" y="1076"/>
                  </a:lnTo>
                  <a:lnTo>
                    <a:pt x="577" y="1076"/>
                  </a:lnTo>
                  <a:lnTo>
                    <a:pt x="579" y="1078"/>
                  </a:lnTo>
                  <a:lnTo>
                    <a:pt x="581" y="1080"/>
                  </a:lnTo>
                  <a:lnTo>
                    <a:pt x="581" y="1081"/>
                  </a:lnTo>
                  <a:lnTo>
                    <a:pt x="581" y="1087"/>
                  </a:lnTo>
                  <a:lnTo>
                    <a:pt x="581" y="1092"/>
                  </a:lnTo>
                  <a:lnTo>
                    <a:pt x="583" y="1094"/>
                  </a:lnTo>
                  <a:lnTo>
                    <a:pt x="584" y="1096"/>
                  </a:lnTo>
                  <a:lnTo>
                    <a:pt x="590" y="1098"/>
                  </a:lnTo>
                  <a:lnTo>
                    <a:pt x="593" y="1100"/>
                  </a:lnTo>
                  <a:lnTo>
                    <a:pt x="601" y="1098"/>
                  </a:lnTo>
                  <a:lnTo>
                    <a:pt x="606" y="1096"/>
                  </a:lnTo>
                  <a:lnTo>
                    <a:pt x="617" y="1089"/>
                  </a:lnTo>
                  <a:lnTo>
                    <a:pt x="622" y="1087"/>
                  </a:lnTo>
                  <a:lnTo>
                    <a:pt x="626" y="1085"/>
                  </a:lnTo>
                  <a:lnTo>
                    <a:pt x="630" y="1085"/>
                  </a:lnTo>
                  <a:lnTo>
                    <a:pt x="633" y="1085"/>
                  </a:lnTo>
                  <a:lnTo>
                    <a:pt x="639" y="1087"/>
                  </a:lnTo>
                  <a:lnTo>
                    <a:pt x="641" y="1089"/>
                  </a:lnTo>
                  <a:lnTo>
                    <a:pt x="641" y="1092"/>
                  </a:lnTo>
                  <a:lnTo>
                    <a:pt x="639" y="1098"/>
                  </a:lnTo>
                  <a:lnTo>
                    <a:pt x="637" y="1103"/>
                  </a:lnTo>
                  <a:lnTo>
                    <a:pt x="633" y="1107"/>
                  </a:lnTo>
                  <a:lnTo>
                    <a:pt x="630" y="1111"/>
                  </a:lnTo>
                  <a:lnTo>
                    <a:pt x="624" y="1116"/>
                  </a:lnTo>
                  <a:lnTo>
                    <a:pt x="622" y="1120"/>
                  </a:lnTo>
                  <a:lnTo>
                    <a:pt x="619" y="1125"/>
                  </a:lnTo>
                  <a:lnTo>
                    <a:pt x="619" y="1130"/>
                  </a:lnTo>
                  <a:lnTo>
                    <a:pt x="617" y="1141"/>
                  </a:lnTo>
                  <a:lnTo>
                    <a:pt x="617" y="1152"/>
                  </a:lnTo>
                  <a:lnTo>
                    <a:pt x="612" y="1169"/>
                  </a:lnTo>
                  <a:lnTo>
                    <a:pt x="606" y="1187"/>
                  </a:lnTo>
                  <a:lnTo>
                    <a:pt x="604" y="1196"/>
                  </a:lnTo>
                  <a:lnTo>
                    <a:pt x="601" y="1203"/>
                  </a:lnTo>
                  <a:lnTo>
                    <a:pt x="599" y="1208"/>
                  </a:lnTo>
                  <a:lnTo>
                    <a:pt x="595" y="1212"/>
                  </a:lnTo>
                  <a:lnTo>
                    <a:pt x="588" y="1219"/>
                  </a:lnTo>
                  <a:lnTo>
                    <a:pt x="581" y="1227"/>
                  </a:lnTo>
                  <a:lnTo>
                    <a:pt x="572" y="1236"/>
                  </a:lnTo>
                  <a:lnTo>
                    <a:pt x="568" y="1239"/>
                  </a:lnTo>
                  <a:lnTo>
                    <a:pt x="566" y="1245"/>
                  </a:lnTo>
                  <a:lnTo>
                    <a:pt x="561" y="1254"/>
                  </a:lnTo>
                  <a:lnTo>
                    <a:pt x="559" y="1257"/>
                  </a:lnTo>
                  <a:lnTo>
                    <a:pt x="559" y="1261"/>
                  </a:lnTo>
                  <a:lnTo>
                    <a:pt x="557" y="1263"/>
                  </a:lnTo>
                  <a:lnTo>
                    <a:pt x="557" y="1265"/>
                  </a:lnTo>
                  <a:lnTo>
                    <a:pt x="555" y="1267"/>
                  </a:lnTo>
                  <a:lnTo>
                    <a:pt x="553" y="1268"/>
                  </a:lnTo>
                  <a:lnTo>
                    <a:pt x="552" y="1268"/>
                  </a:lnTo>
                  <a:lnTo>
                    <a:pt x="550" y="1270"/>
                  </a:lnTo>
                  <a:lnTo>
                    <a:pt x="546" y="1268"/>
                  </a:lnTo>
                  <a:lnTo>
                    <a:pt x="543" y="1267"/>
                  </a:lnTo>
                  <a:lnTo>
                    <a:pt x="541" y="1267"/>
                  </a:lnTo>
                  <a:lnTo>
                    <a:pt x="539" y="1267"/>
                  </a:lnTo>
                  <a:lnTo>
                    <a:pt x="534" y="1268"/>
                  </a:lnTo>
                  <a:lnTo>
                    <a:pt x="526" y="1270"/>
                  </a:lnTo>
                  <a:lnTo>
                    <a:pt x="515" y="1276"/>
                  </a:lnTo>
                  <a:lnTo>
                    <a:pt x="503" y="1283"/>
                  </a:lnTo>
                  <a:lnTo>
                    <a:pt x="494" y="1288"/>
                  </a:lnTo>
                  <a:lnTo>
                    <a:pt x="477" y="1301"/>
                  </a:lnTo>
                  <a:lnTo>
                    <a:pt x="474" y="1303"/>
                  </a:lnTo>
                  <a:lnTo>
                    <a:pt x="470" y="1306"/>
                  </a:lnTo>
                  <a:lnTo>
                    <a:pt x="468" y="1312"/>
                  </a:lnTo>
                  <a:lnTo>
                    <a:pt x="465" y="1316"/>
                  </a:lnTo>
                  <a:lnTo>
                    <a:pt x="465" y="1319"/>
                  </a:lnTo>
                  <a:lnTo>
                    <a:pt x="466" y="1323"/>
                  </a:lnTo>
                  <a:lnTo>
                    <a:pt x="468" y="1332"/>
                  </a:lnTo>
                  <a:lnTo>
                    <a:pt x="470" y="1336"/>
                  </a:lnTo>
                  <a:lnTo>
                    <a:pt x="470" y="1339"/>
                  </a:lnTo>
                  <a:lnTo>
                    <a:pt x="470" y="1343"/>
                  </a:lnTo>
                  <a:lnTo>
                    <a:pt x="468" y="1345"/>
                  </a:lnTo>
                  <a:lnTo>
                    <a:pt x="466" y="1345"/>
                  </a:lnTo>
                  <a:lnTo>
                    <a:pt x="461" y="1343"/>
                  </a:lnTo>
                  <a:lnTo>
                    <a:pt x="454" y="1343"/>
                  </a:lnTo>
                  <a:lnTo>
                    <a:pt x="446" y="1339"/>
                  </a:lnTo>
                  <a:lnTo>
                    <a:pt x="446" y="1337"/>
                  </a:lnTo>
                  <a:lnTo>
                    <a:pt x="443" y="1336"/>
                  </a:lnTo>
                  <a:lnTo>
                    <a:pt x="439" y="1332"/>
                  </a:lnTo>
                  <a:lnTo>
                    <a:pt x="436" y="1330"/>
                  </a:lnTo>
                  <a:lnTo>
                    <a:pt x="426" y="1326"/>
                  </a:lnTo>
                  <a:lnTo>
                    <a:pt x="419" y="1325"/>
                  </a:lnTo>
                  <a:lnTo>
                    <a:pt x="410" y="1326"/>
                  </a:lnTo>
                  <a:lnTo>
                    <a:pt x="405" y="1326"/>
                  </a:lnTo>
                  <a:lnTo>
                    <a:pt x="401" y="1328"/>
                  </a:lnTo>
                  <a:lnTo>
                    <a:pt x="396" y="1330"/>
                  </a:lnTo>
                  <a:lnTo>
                    <a:pt x="392" y="1332"/>
                  </a:lnTo>
                  <a:lnTo>
                    <a:pt x="385" y="1337"/>
                  </a:lnTo>
                  <a:lnTo>
                    <a:pt x="377" y="1345"/>
                  </a:lnTo>
                  <a:lnTo>
                    <a:pt x="368" y="1357"/>
                  </a:lnTo>
                  <a:lnTo>
                    <a:pt x="363" y="1363"/>
                  </a:lnTo>
                  <a:lnTo>
                    <a:pt x="357" y="1368"/>
                  </a:lnTo>
                  <a:lnTo>
                    <a:pt x="345" y="1377"/>
                  </a:lnTo>
                  <a:lnTo>
                    <a:pt x="343" y="1381"/>
                  </a:lnTo>
                  <a:lnTo>
                    <a:pt x="341" y="1383"/>
                  </a:lnTo>
                  <a:lnTo>
                    <a:pt x="339" y="1386"/>
                  </a:lnTo>
                  <a:lnTo>
                    <a:pt x="339" y="1390"/>
                  </a:lnTo>
                  <a:lnTo>
                    <a:pt x="339" y="1397"/>
                  </a:lnTo>
                  <a:lnTo>
                    <a:pt x="341" y="1399"/>
                  </a:lnTo>
                  <a:lnTo>
                    <a:pt x="343" y="1399"/>
                  </a:lnTo>
                  <a:lnTo>
                    <a:pt x="347" y="1397"/>
                  </a:lnTo>
                  <a:lnTo>
                    <a:pt x="350" y="1392"/>
                  </a:lnTo>
                  <a:lnTo>
                    <a:pt x="352" y="1388"/>
                  </a:lnTo>
                  <a:lnTo>
                    <a:pt x="354" y="1388"/>
                  </a:lnTo>
                  <a:lnTo>
                    <a:pt x="357" y="1386"/>
                  </a:lnTo>
                  <a:lnTo>
                    <a:pt x="359" y="1386"/>
                  </a:lnTo>
                  <a:lnTo>
                    <a:pt x="361" y="1388"/>
                  </a:lnTo>
                  <a:lnTo>
                    <a:pt x="367" y="1392"/>
                  </a:lnTo>
                  <a:lnTo>
                    <a:pt x="370" y="1392"/>
                  </a:lnTo>
                  <a:lnTo>
                    <a:pt x="374" y="1394"/>
                  </a:lnTo>
                  <a:lnTo>
                    <a:pt x="377" y="1392"/>
                  </a:lnTo>
                  <a:lnTo>
                    <a:pt x="383" y="1388"/>
                  </a:lnTo>
                  <a:lnTo>
                    <a:pt x="387" y="1385"/>
                  </a:lnTo>
                  <a:lnTo>
                    <a:pt x="390" y="1381"/>
                  </a:lnTo>
                  <a:lnTo>
                    <a:pt x="394" y="1372"/>
                  </a:lnTo>
                  <a:lnTo>
                    <a:pt x="397" y="1366"/>
                  </a:lnTo>
                  <a:lnTo>
                    <a:pt x="399" y="1363"/>
                  </a:lnTo>
                  <a:lnTo>
                    <a:pt x="403" y="1359"/>
                  </a:lnTo>
                  <a:lnTo>
                    <a:pt x="406" y="1357"/>
                  </a:lnTo>
                  <a:lnTo>
                    <a:pt x="412" y="1355"/>
                  </a:lnTo>
                  <a:lnTo>
                    <a:pt x="416" y="1355"/>
                  </a:lnTo>
                  <a:lnTo>
                    <a:pt x="416" y="1359"/>
                  </a:lnTo>
                  <a:lnTo>
                    <a:pt x="416" y="1361"/>
                  </a:lnTo>
                  <a:lnTo>
                    <a:pt x="414" y="1370"/>
                  </a:lnTo>
                  <a:lnTo>
                    <a:pt x="414" y="1374"/>
                  </a:lnTo>
                  <a:lnTo>
                    <a:pt x="414" y="1375"/>
                  </a:lnTo>
                  <a:lnTo>
                    <a:pt x="416" y="1377"/>
                  </a:lnTo>
                  <a:lnTo>
                    <a:pt x="417" y="1377"/>
                  </a:lnTo>
                  <a:lnTo>
                    <a:pt x="421" y="1377"/>
                  </a:lnTo>
                  <a:lnTo>
                    <a:pt x="428" y="1374"/>
                  </a:lnTo>
                  <a:lnTo>
                    <a:pt x="437" y="1370"/>
                  </a:lnTo>
                  <a:lnTo>
                    <a:pt x="441" y="1368"/>
                  </a:lnTo>
                  <a:lnTo>
                    <a:pt x="445" y="1368"/>
                  </a:lnTo>
                  <a:lnTo>
                    <a:pt x="448" y="1368"/>
                  </a:lnTo>
                  <a:lnTo>
                    <a:pt x="450" y="1370"/>
                  </a:lnTo>
                  <a:lnTo>
                    <a:pt x="454" y="1370"/>
                  </a:lnTo>
                  <a:lnTo>
                    <a:pt x="457" y="1368"/>
                  </a:lnTo>
                  <a:lnTo>
                    <a:pt x="463" y="1365"/>
                  </a:lnTo>
                  <a:lnTo>
                    <a:pt x="466" y="1361"/>
                  </a:lnTo>
                  <a:lnTo>
                    <a:pt x="472" y="1357"/>
                  </a:lnTo>
                  <a:lnTo>
                    <a:pt x="477" y="1354"/>
                  </a:lnTo>
                  <a:lnTo>
                    <a:pt x="481" y="1352"/>
                  </a:lnTo>
                  <a:lnTo>
                    <a:pt x="485" y="1350"/>
                  </a:lnTo>
                  <a:lnTo>
                    <a:pt x="490" y="1348"/>
                  </a:lnTo>
                  <a:lnTo>
                    <a:pt x="495" y="1348"/>
                  </a:lnTo>
                  <a:lnTo>
                    <a:pt x="501" y="1348"/>
                  </a:lnTo>
                  <a:lnTo>
                    <a:pt x="501" y="1350"/>
                  </a:lnTo>
                  <a:lnTo>
                    <a:pt x="501" y="1354"/>
                  </a:lnTo>
                  <a:lnTo>
                    <a:pt x="501" y="1355"/>
                  </a:lnTo>
                  <a:lnTo>
                    <a:pt x="503" y="1359"/>
                  </a:lnTo>
                  <a:lnTo>
                    <a:pt x="506" y="1361"/>
                  </a:lnTo>
                  <a:lnTo>
                    <a:pt x="508" y="1363"/>
                  </a:lnTo>
                  <a:lnTo>
                    <a:pt x="512" y="1361"/>
                  </a:lnTo>
                  <a:lnTo>
                    <a:pt x="515" y="1355"/>
                  </a:lnTo>
                  <a:lnTo>
                    <a:pt x="517" y="1350"/>
                  </a:lnTo>
                  <a:lnTo>
                    <a:pt x="517" y="1346"/>
                  </a:lnTo>
                  <a:lnTo>
                    <a:pt x="517" y="1345"/>
                  </a:lnTo>
                  <a:lnTo>
                    <a:pt x="517" y="1343"/>
                  </a:lnTo>
                  <a:lnTo>
                    <a:pt x="523" y="1339"/>
                  </a:lnTo>
                  <a:lnTo>
                    <a:pt x="528" y="1337"/>
                  </a:lnTo>
                  <a:lnTo>
                    <a:pt x="534" y="1337"/>
                  </a:lnTo>
                  <a:lnTo>
                    <a:pt x="539" y="1336"/>
                  </a:lnTo>
                  <a:lnTo>
                    <a:pt x="544" y="1334"/>
                  </a:lnTo>
                  <a:lnTo>
                    <a:pt x="564" y="1323"/>
                  </a:lnTo>
                  <a:lnTo>
                    <a:pt x="572" y="1317"/>
                  </a:lnTo>
                  <a:lnTo>
                    <a:pt x="573" y="1314"/>
                  </a:lnTo>
                  <a:lnTo>
                    <a:pt x="575" y="1310"/>
                  </a:lnTo>
                  <a:lnTo>
                    <a:pt x="573" y="1306"/>
                  </a:lnTo>
                  <a:lnTo>
                    <a:pt x="572" y="1303"/>
                  </a:lnTo>
                  <a:lnTo>
                    <a:pt x="570" y="1297"/>
                  </a:lnTo>
                  <a:lnTo>
                    <a:pt x="570" y="1296"/>
                  </a:lnTo>
                  <a:lnTo>
                    <a:pt x="572" y="1294"/>
                  </a:lnTo>
                  <a:lnTo>
                    <a:pt x="572" y="1292"/>
                  </a:lnTo>
                  <a:lnTo>
                    <a:pt x="573" y="1292"/>
                  </a:lnTo>
                  <a:lnTo>
                    <a:pt x="577" y="1290"/>
                  </a:lnTo>
                  <a:lnTo>
                    <a:pt x="583" y="1290"/>
                  </a:lnTo>
                  <a:lnTo>
                    <a:pt x="586" y="1290"/>
                  </a:lnTo>
                  <a:lnTo>
                    <a:pt x="590" y="1287"/>
                  </a:lnTo>
                  <a:lnTo>
                    <a:pt x="593" y="1283"/>
                  </a:lnTo>
                  <a:lnTo>
                    <a:pt x="597" y="1279"/>
                  </a:lnTo>
                  <a:lnTo>
                    <a:pt x="601" y="1276"/>
                  </a:lnTo>
                  <a:lnTo>
                    <a:pt x="604" y="1276"/>
                  </a:lnTo>
                  <a:lnTo>
                    <a:pt x="604" y="1277"/>
                  </a:lnTo>
                  <a:lnTo>
                    <a:pt x="608" y="1279"/>
                  </a:lnTo>
                  <a:lnTo>
                    <a:pt x="612" y="1281"/>
                  </a:lnTo>
                  <a:lnTo>
                    <a:pt x="613" y="1281"/>
                  </a:lnTo>
                  <a:lnTo>
                    <a:pt x="617" y="1279"/>
                  </a:lnTo>
                  <a:lnTo>
                    <a:pt x="619" y="1277"/>
                  </a:lnTo>
                  <a:lnTo>
                    <a:pt x="619" y="1274"/>
                  </a:lnTo>
                  <a:lnTo>
                    <a:pt x="621" y="1270"/>
                  </a:lnTo>
                  <a:lnTo>
                    <a:pt x="621" y="1265"/>
                  </a:lnTo>
                  <a:lnTo>
                    <a:pt x="622" y="1263"/>
                  </a:lnTo>
                  <a:lnTo>
                    <a:pt x="624" y="1261"/>
                  </a:lnTo>
                  <a:lnTo>
                    <a:pt x="626" y="1259"/>
                  </a:lnTo>
                  <a:lnTo>
                    <a:pt x="628" y="1259"/>
                  </a:lnTo>
                  <a:lnTo>
                    <a:pt x="633" y="1259"/>
                  </a:lnTo>
                  <a:lnTo>
                    <a:pt x="641" y="1257"/>
                  </a:lnTo>
                  <a:lnTo>
                    <a:pt x="646" y="1256"/>
                  </a:lnTo>
                  <a:lnTo>
                    <a:pt x="651" y="1254"/>
                  </a:lnTo>
                  <a:lnTo>
                    <a:pt x="657" y="1250"/>
                  </a:lnTo>
                  <a:lnTo>
                    <a:pt x="661" y="1245"/>
                  </a:lnTo>
                  <a:lnTo>
                    <a:pt x="664" y="1239"/>
                  </a:lnTo>
                  <a:lnTo>
                    <a:pt x="668" y="1230"/>
                  </a:lnTo>
                  <a:lnTo>
                    <a:pt x="668" y="1225"/>
                  </a:lnTo>
                  <a:lnTo>
                    <a:pt x="670" y="1221"/>
                  </a:lnTo>
                  <a:lnTo>
                    <a:pt x="671" y="1219"/>
                  </a:lnTo>
                  <a:lnTo>
                    <a:pt x="673" y="1218"/>
                  </a:lnTo>
                  <a:lnTo>
                    <a:pt x="677" y="1216"/>
                  </a:lnTo>
                  <a:lnTo>
                    <a:pt x="680" y="1214"/>
                  </a:lnTo>
                  <a:lnTo>
                    <a:pt x="686" y="1212"/>
                  </a:lnTo>
                  <a:lnTo>
                    <a:pt x="691" y="1210"/>
                  </a:lnTo>
                  <a:lnTo>
                    <a:pt x="695" y="1207"/>
                  </a:lnTo>
                  <a:lnTo>
                    <a:pt x="699" y="1201"/>
                  </a:lnTo>
                  <a:lnTo>
                    <a:pt x="702" y="1196"/>
                  </a:lnTo>
                  <a:lnTo>
                    <a:pt x="704" y="1187"/>
                  </a:lnTo>
                  <a:lnTo>
                    <a:pt x="706" y="1183"/>
                  </a:lnTo>
                  <a:lnTo>
                    <a:pt x="711" y="1181"/>
                  </a:lnTo>
                  <a:lnTo>
                    <a:pt x="713" y="1181"/>
                  </a:lnTo>
                  <a:lnTo>
                    <a:pt x="717" y="1183"/>
                  </a:lnTo>
                  <a:lnTo>
                    <a:pt x="719" y="1185"/>
                  </a:lnTo>
                  <a:lnTo>
                    <a:pt x="724" y="1183"/>
                  </a:lnTo>
                  <a:lnTo>
                    <a:pt x="726" y="1181"/>
                  </a:lnTo>
                  <a:lnTo>
                    <a:pt x="726" y="1179"/>
                  </a:lnTo>
                  <a:lnTo>
                    <a:pt x="728" y="1174"/>
                  </a:lnTo>
                  <a:lnTo>
                    <a:pt x="728" y="1170"/>
                  </a:lnTo>
                  <a:lnTo>
                    <a:pt x="729" y="1167"/>
                  </a:lnTo>
                  <a:lnTo>
                    <a:pt x="731" y="1165"/>
                  </a:lnTo>
                  <a:lnTo>
                    <a:pt x="735" y="1165"/>
                  </a:lnTo>
                  <a:lnTo>
                    <a:pt x="740" y="1165"/>
                  </a:lnTo>
                  <a:lnTo>
                    <a:pt x="746" y="1165"/>
                  </a:lnTo>
                  <a:lnTo>
                    <a:pt x="751" y="1163"/>
                  </a:lnTo>
                  <a:lnTo>
                    <a:pt x="760" y="1160"/>
                  </a:lnTo>
                  <a:lnTo>
                    <a:pt x="766" y="1156"/>
                  </a:lnTo>
                  <a:lnTo>
                    <a:pt x="769" y="1152"/>
                  </a:lnTo>
                  <a:lnTo>
                    <a:pt x="769" y="1150"/>
                  </a:lnTo>
                  <a:lnTo>
                    <a:pt x="771" y="1149"/>
                  </a:lnTo>
                  <a:lnTo>
                    <a:pt x="771" y="1143"/>
                  </a:lnTo>
                  <a:lnTo>
                    <a:pt x="771" y="1140"/>
                  </a:lnTo>
                  <a:lnTo>
                    <a:pt x="773" y="1138"/>
                  </a:lnTo>
                  <a:lnTo>
                    <a:pt x="773" y="1136"/>
                  </a:lnTo>
                  <a:lnTo>
                    <a:pt x="775" y="1132"/>
                  </a:lnTo>
                  <a:lnTo>
                    <a:pt x="778" y="1130"/>
                  </a:lnTo>
                  <a:lnTo>
                    <a:pt x="782" y="1127"/>
                  </a:lnTo>
                  <a:lnTo>
                    <a:pt x="784" y="1125"/>
                  </a:lnTo>
                  <a:lnTo>
                    <a:pt x="786" y="1121"/>
                  </a:lnTo>
                  <a:lnTo>
                    <a:pt x="786" y="1118"/>
                  </a:lnTo>
                  <a:lnTo>
                    <a:pt x="788" y="1114"/>
                  </a:lnTo>
                  <a:lnTo>
                    <a:pt x="789" y="1111"/>
                  </a:lnTo>
                  <a:lnTo>
                    <a:pt x="793" y="1109"/>
                  </a:lnTo>
                  <a:lnTo>
                    <a:pt x="797" y="1107"/>
                  </a:lnTo>
                  <a:lnTo>
                    <a:pt x="800" y="1105"/>
                  </a:lnTo>
                  <a:lnTo>
                    <a:pt x="804" y="1103"/>
                  </a:lnTo>
                  <a:lnTo>
                    <a:pt x="809" y="1100"/>
                  </a:lnTo>
                  <a:lnTo>
                    <a:pt x="811" y="1094"/>
                  </a:lnTo>
                  <a:lnTo>
                    <a:pt x="811" y="1089"/>
                  </a:lnTo>
                  <a:lnTo>
                    <a:pt x="811" y="1083"/>
                  </a:lnTo>
                  <a:lnTo>
                    <a:pt x="809" y="1078"/>
                  </a:lnTo>
                  <a:lnTo>
                    <a:pt x="806" y="1072"/>
                  </a:lnTo>
                  <a:lnTo>
                    <a:pt x="800" y="1069"/>
                  </a:lnTo>
                  <a:lnTo>
                    <a:pt x="795" y="1067"/>
                  </a:lnTo>
                  <a:lnTo>
                    <a:pt x="791" y="1065"/>
                  </a:lnTo>
                  <a:lnTo>
                    <a:pt x="788" y="1065"/>
                  </a:lnTo>
                  <a:lnTo>
                    <a:pt x="780" y="1065"/>
                  </a:lnTo>
                  <a:lnTo>
                    <a:pt x="777" y="1065"/>
                  </a:lnTo>
                  <a:lnTo>
                    <a:pt x="775" y="1063"/>
                  </a:lnTo>
                  <a:lnTo>
                    <a:pt x="773" y="1060"/>
                  </a:lnTo>
                  <a:lnTo>
                    <a:pt x="775" y="1054"/>
                  </a:lnTo>
                  <a:lnTo>
                    <a:pt x="775" y="1052"/>
                  </a:lnTo>
                  <a:lnTo>
                    <a:pt x="775" y="1051"/>
                  </a:lnTo>
                  <a:lnTo>
                    <a:pt x="777" y="1047"/>
                  </a:lnTo>
                  <a:lnTo>
                    <a:pt x="782" y="1042"/>
                  </a:lnTo>
                  <a:lnTo>
                    <a:pt x="789" y="1038"/>
                  </a:lnTo>
                  <a:lnTo>
                    <a:pt x="793" y="1036"/>
                  </a:lnTo>
                  <a:lnTo>
                    <a:pt x="795" y="1034"/>
                  </a:lnTo>
                  <a:lnTo>
                    <a:pt x="797" y="1032"/>
                  </a:lnTo>
                  <a:lnTo>
                    <a:pt x="797" y="1029"/>
                  </a:lnTo>
                  <a:lnTo>
                    <a:pt x="797" y="1023"/>
                  </a:lnTo>
                  <a:lnTo>
                    <a:pt x="797" y="1018"/>
                  </a:lnTo>
                  <a:lnTo>
                    <a:pt x="798" y="1013"/>
                  </a:lnTo>
                  <a:lnTo>
                    <a:pt x="800" y="1011"/>
                  </a:lnTo>
                  <a:lnTo>
                    <a:pt x="802" y="1011"/>
                  </a:lnTo>
                  <a:lnTo>
                    <a:pt x="804" y="1013"/>
                  </a:lnTo>
                  <a:lnTo>
                    <a:pt x="806" y="1018"/>
                  </a:lnTo>
                  <a:lnTo>
                    <a:pt x="806" y="1020"/>
                  </a:lnTo>
                  <a:lnTo>
                    <a:pt x="808" y="1020"/>
                  </a:lnTo>
                  <a:lnTo>
                    <a:pt x="811" y="1022"/>
                  </a:lnTo>
                  <a:lnTo>
                    <a:pt x="817" y="1022"/>
                  </a:lnTo>
                  <a:lnTo>
                    <a:pt x="820" y="1020"/>
                  </a:lnTo>
                  <a:lnTo>
                    <a:pt x="824" y="1016"/>
                  </a:lnTo>
                  <a:lnTo>
                    <a:pt x="824" y="1014"/>
                  </a:lnTo>
                  <a:lnTo>
                    <a:pt x="826" y="1011"/>
                  </a:lnTo>
                  <a:lnTo>
                    <a:pt x="824" y="1007"/>
                  </a:lnTo>
                  <a:lnTo>
                    <a:pt x="818" y="1000"/>
                  </a:lnTo>
                  <a:lnTo>
                    <a:pt x="813" y="993"/>
                  </a:lnTo>
                  <a:lnTo>
                    <a:pt x="811" y="983"/>
                  </a:lnTo>
                  <a:lnTo>
                    <a:pt x="811" y="978"/>
                  </a:lnTo>
                  <a:lnTo>
                    <a:pt x="811" y="974"/>
                  </a:lnTo>
                  <a:lnTo>
                    <a:pt x="813" y="969"/>
                  </a:lnTo>
                  <a:lnTo>
                    <a:pt x="815" y="965"/>
                  </a:lnTo>
                  <a:lnTo>
                    <a:pt x="818" y="960"/>
                  </a:lnTo>
                  <a:lnTo>
                    <a:pt x="822" y="958"/>
                  </a:lnTo>
                  <a:lnTo>
                    <a:pt x="826" y="958"/>
                  </a:lnTo>
                  <a:lnTo>
                    <a:pt x="829" y="960"/>
                  </a:lnTo>
                  <a:lnTo>
                    <a:pt x="835" y="962"/>
                  </a:lnTo>
                  <a:lnTo>
                    <a:pt x="838" y="964"/>
                  </a:lnTo>
                  <a:lnTo>
                    <a:pt x="844" y="964"/>
                  </a:lnTo>
                  <a:lnTo>
                    <a:pt x="847" y="962"/>
                  </a:lnTo>
                  <a:lnTo>
                    <a:pt x="851" y="960"/>
                  </a:lnTo>
                  <a:lnTo>
                    <a:pt x="853" y="954"/>
                  </a:lnTo>
                  <a:lnTo>
                    <a:pt x="857" y="949"/>
                  </a:lnTo>
                  <a:lnTo>
                    <a:pt x="860" y="936"/>
                  </a:lnTo>
                  <a:lnTo>
                    <a:pt x="860" y="934"/>
                  </a:lnTo>
                  <a:lnTo>
                    <a:pt x="862" y="933"/>
                  </a:lnTo>
                  <a:lnTo>
                    <a:pt x="866" y="927"/>
                  </a:lnTo>
                  <a:lnTo>
                    <a:pt x="871" y="925"/>
                  </a:lnTo>
                  <a:lnTo>
                    <a:pt x="875" y="924"/>
                  </a:lnTo>
                  <a:lnTo>
                    <a:pt x="876" y="922"/>
                  </a:lnTo>
                  <a:lnTo>
                    <a:pt x="878" y="918"/>
                  </a:lnTo>
                  <a:lnTo>
                    <a:pt x="878" y="915"/>
                  </a:lnTo>
                  <a:lnTo>
                    <a:pt x="878" y="909"/>
                  </a:lnTo>
                  <a:lnTo>
                    <a:pt x="878" y="907"/>
                  </a:lnTo>
                  <a:lnTo>
                    <a:pt x="878" y="905"/>
                  </a:lnTo>
                  <a:lnTo>
                    <a:pt x="880" y="904"/>
                  </a:lnTo>
                  <a:lnTo>
                    <a:pt x="882" y="904"/>
                  </a:lnTo>
                  <a:lnTo>
                    <a:pt x="886" y="900"/>
                  </a:lnTo>
                  <a:lnTo>
                    <a:pt x="889" y="898"/>
                  </a:lnTo>
                  <a:lnTo>
                    <a:pt x="893" y="896"/>
                  </a:lnTo>
                  <a:lnTo>
                    <a:pt x="898" y="895"/>
                  </a:lnTo>
                  <a:lnTo>
                    <a:pt x="902" y="891"/>
                  </a:lnTo>
                  <a:lnTo>
                    <a:pt x="907" y="882"/>
                  </a:lnTo>
                  <a:lnTo>
                    <a:pt x="911" y="876"/>
                  </a:lnTo>
                  <a:lnTo>
                    <a:pt x="913" y="873"/>
                  </a:lnTo>
                  <a:lnTo>
                    <a:pt x="915" y="873"/>
                  </a:lnTo>
                  <a:lnTo>
                    <a:pt x="916" y="871"/>
                  </a:lnTo>
                  <a:lnTo>
                    <a:pt x="922" y="871"/>
                  </a:lnTo>
                  <a:lnTo>
                    <a:pt x="925" y="871"/>
                  </a:lnTo>
                  <a:lnTo>
                    <a:pt x="931" y="871"/>
                  </a:lnTo>
                  <a:lnTo>
                    <a:pt x="935" y="869"/>
                  </a:lnTo>
                  <a:lnTo>
                    <a:pt x="938" y="869"/>
                  </a:lnTo>
                  <a:lnTo>
                    <a:pt x="942" y="866"/>
                  </a:lnTo>
                  <a:lnTo>
                    <a:pt x="949" y="858"/>
                  </a:lnTo>
                  <a:lnTo>
                    <a:pt x="955" y="855"/>
                  </a:lnTo>
                  <a:lnTo>
                    <a:pt x="958" y="853"/>
                  </a:lnTo>
                  <a:lnTo>
                    <a:pt x="962" y="851"/>
                  </a:lnTo>
                  <a:lnTo>
                    <a:pt x="965" y="853"/>
                  </a:lnTo>
                  <a:lnTo>
                    <a:pt x="967" y="855"/>
                  </a:lnTo>
                  <a:lnTo>
                    <a:pt x="967" y="856"/>
                  </a:lnTo>
                  <a:lnTo>
                    <a:pt x="967" y="858"/>
                  </a:lnTo>
                  <a:lnTo>
                    <a:pt x="965" y="860"/>
                  </a:lnTo>
                  <a:lnTo>
                    <a:pt x="960" y="864"/>
                  </a:lnTo>
                  <a:lnTo>
                    <a:pt x="956" y="867"/>
                  </a:lnTo>
                  <a:lnTo>
                    <a:pt x="955" y="871"/>
                  </a:lnTo>
                  <a:lnTo>
                    <a:pt x="953" y="875"/>
                  </a:lnTo>
                  <a:lnTo>
                    <a:pt x="956" y="882"/>
                  </a:lnTo>
                  <a:lnTo>
                    <a:pt x="956" y="884"/>
                  </a:lnTo>
                  <a:lnTo>
                    <a:pt x="958" y="887"/>
                  </a:lnTo>
                  <a:lnTo>
                    <a:pt x="960" y="889"/>
                  </a:lnTo>
                  <a:lnTo>
                    <a:pt x="960" y="891"/>
                  </a:lnTo>
                  <a:lnTo>
                    <a:pt x="958" y="893"/>
                  </a:lnTo>
                  <a:lnTo>
                    <a:pt x="956" y="896"/>
                  </a:lnTo>
                  <a:lnTo>
                    <a:pt x="955" y="898"/>
                  </a:lnTo>
                  <a:lnTo>
                    <a:pt x="949" y="900"/>
                  </a:lnTo>
                  <a:lnTo>
                    <a:pt x="945" y="902"/>
                  </a:lnTo>
                  <a:lnTo>
                    <a:pt x="944" y="900"/>
                  </a:lnTo>
                  <a:lnTo>
                    <a:pt x="942" y="900"/>
                  </a:lnTo>
                  <a:lnTo>
                    <a:pt x="940" y="896"/>
                  </a:lnTo>
                  <a:lnTo>
                    <a:pt x="936" y="895"/>
                  </a:lnTo>
                  <a:lnTo>
                    <a:pt x="931" y="895"/>
                  </a:lnTo>
                  <a:lnTo>
                    <a:pt x="925" y="898"/>
                  </a:lnTo>
                  <a:lnTo>
                    <a:pt x="920" y="902"/>
                  </a:lnTo>
                  <a:lnTo>
                    <a:pt x="909" y="911"/>
                  </a:lnTo>
                  <a:lnTo>
                    <a:pt x="900" y="918"/>
                  </a:lnTo>
                  <a:lnTo>
                    <a:pt x="896" y="922"/>
                  </a:lnTo>
                  <a:lnTo>
                    <a:pt x="893" y="925"/>
                  </a:lnTo>
                  <a:lnTo>
                    <a:pt x="893" y="927"/>
                  </a:lnTo>
                  <a:lnTo>
                    <a:pt x="893" y="929"/>
                  </a:lnTo>
                  <a:lnTo>
                    <a:pt x="895" y="934"/>
                  </a:lnTo>
                  <a:lnTo>
                    <a:pt x="896" y="940"/>
                  </a:lnTo>
                  <a:lnTo>
                    <a:pt x="896" y="945"/>
                  </a:lnTo>
                  <a:lnTo>
                    <a:pt x="896" y="953"/>
                  </a:lnTo>
                  <a:lnTo>
                    <a:pt x="895" y="960"/>
                  </a:lnTo>
                  <a:lnTo>
                    <a:pt x="889" y="973"/>
                  </a:lnTo>
                  <a:lnTo>
                    <a:pt x="882" y="985"/>
                  </a:lnTo>
                  <a:lnTo>
                    <a:pt x="880" y="993"/>
                  </a:lnTo>
                  <a:lnTo>
                    <a:pt x="878" y="998"/>
                  </a:lnTo>
                  <a:lnTo>
                    <a:pt x="880" y="1005"/>
                  </a:lnTo>
                  <a:lnTo>
                    <a:pt x="880" y="1007"/>
                  </a:lnTo>
                  <a:lnTo>
                    <a:pt x="882" y="1009"/>
                  </a:lnTo>
                  <a:lnTo>
                    <a:pt x="886" y="1011"/>
                  </a:lnTo>
                  <a:lnTo>
                    <a:pt x="891" y="1009"/>
                  </a:lnTo>
                  <a:lnTo>
                    <a:pt x="902" y="1005"/>
                  </a:lnTo>
                  <a:lnTo>
                    <a:pt x="907" y="1005"/>
                  </a:lnTo>
                  <a:lnTo>
                    <a:pt x="911" y="1005"/>
                  </a:lnTo>
                  <a:lnTo>
                    <a:pt x="913" y="1011"/>
                  </a:lnTo>
                  <a:lnTo>
                    <a:pt x="913" y="1014"/>
                  </a:lnTo>
                  <a:lnTo>
                    <a:pt x="911" y="1016"/>
                  </a:lnTo>
                  <a:lnTo>
                    <a:pt x="907" y="1022"/>
                  </a:lnTo>
                  <a:lnTo>
                    <a:pt x="904" y="1025"/>
                  </a:lnTo>
                  <a:lnTo>
                    <a:pt x="891" y="1031"/>
                  </a:lnTo>
                  <a:lnTo>
                    <a:pt x="882" y="1036"/>
                  </a:lnTo>
                  <a:lnTo>
                    <a:pt x="878" y="1040"/>
                  </a:lnTo>
                  <a:lnTo>
                    <a:pt x="875" y="1045"/>
                  </a:lnTo>
                  <a:lnTo>
                    <a:pt x="875" y="1049"/>
                  </a:lnTo>
                  <a:lnTo>
                    <a:pt x="875" y="1054"/>
                  </a:lnTo>
                  <a:lnTo>
                    <a:pt x="876" y="1058"/>
                  </a:lnTo>
                  <a:lnTo>
                    <a:pt x="880" y="1060"/>
                  </a:lnTo>
                  <a:lnTo>
                    <a:pt x="886" y="1058"/>
                  </a:lnTo>
                  <a:lnTo>
                    <a:pt x="891" y="1056"/>
                  </a:lnTo>
                  <a:lnTo>
                    <a:pt x="898" y="1051"/>
                  </a:lnTo>
                  <a:lnTo>
                    <a:pt x="904" y="1049"/>
                  </a:lnTo>
                  <a:lnTo>
                    <a:pt x="909" y="1047"/>
                  </a:lnTo>
                  <a:lnTo>
                    <a:pt x="915" y="1047"/>
                  </a:lnTo>
                  <a:lnTo>
                    <a:pt x="918" y="1049"/>
                  </a:lnTo>
                  <a:lnTo>
                    <a:pt x="924" y="1049"/>
                  </a:lnTo>
                  <a:lnTo>
                    <a:pt x="925" y="1047"/>
                  </a:lnTo>
                  <a:lnTo>
                    <a:pt x="929" y="1043"/>
                  </a:lnTo>
                  <a:lnTo>
                    <a:pt x="933" y="1040"/>
                  </a:lnTo>
                  <a:lnTo>
                    <a:pt x="935" y="1036"/>
                  </a:lnTo>
                  <a:lnTo>
                    <a:pt x="936" y="1031"/>
                  </a:lnTo>
                  <a:lnTo>
                    <a:pt x="940" y="1025"/>
                  </a:lnTo>
                  <a:lnTo>
                    <a:pt x="944" y="1020"/>
                  </a:lnTo>
                  <a:lnTo>
                    <a:pt x="949" y="1016"/>
                  </a:lnTo>
                  <a:lnTo>
                    <a:pt x="953" y="1016"/>
                  </a:lnTo>
                  <a:lnTo>
                    <a:pt x="955" y="1018"/>
                  </a:lnTo>
                  <a:lnTo>
                    <a:pt x="960" y="1014"/>
                  </a:lnTo>
                  <a:lnTo>
                    <a:pt x="964" y="1011"/>
                  </a:lnTo>
                  <a:lnTo>
                    <a:pt x="967" y="1002"/>
                  </a:lnTo>
                  <a:lnTo>
                    <a:pt x="973" y="991"/>
                  </a:lnTo>
                  <a:lnTo>
                    <a:pt x="974" y="985"/>
                  </a:lnTo>
                  <a:lnTo>
                    <a:pt x="978" y="982"/>
                  </a:lnTo>
                  <a:lnTo>
                    <a:pt x="982" y="978"/>
                  </a:lnTo>
                  <a:lnTo>
                    <a:pt x="985" y="976"/>
                  </a:lnTo>
                  <a:lnTo>
                    <a:pt x="989" y="976"/>
                  </a:lnTo>
                  <a:lnTo>
                    <a:pt x="993" y="976"/>
                  </a:lnTo>
                  <a:lnTo>
                    <a:pt x="1000" y="978"/>
                  </a:lnTo>
                  <a:lnTo>
                    <a:pt x="1009" y="980"/>
                  </a:lnTo>
                  <a:lnTo>
                    <a:pt x="1014" y="980"/>
                  </a:lnTo>
                  <a:lnTo>
                    <a:pt x="1018" y="978"/>
                  </a:lnTo>
                  <a:lnTo>
                    <a:pt x="1023" y="978"/>
                  </a:lnTo>
                  <a:lnTo>
                    <a:pt x="1025" y="974"/>
                  </a:lnTo>
                  <a:lnTo>
                    <a:pt x="1029" y="973"/>
                  </a:lnTo>
                  <a:lnTo>
                    <a:pt x="1033" y="969"/>
                  </a:lnTo>
                  <a:lnTo>
                    <a:pt x="1038" y="958"/>
                  </a:lnTo>
                  <a:lnTo>
                    <a:pt x="1043" y="945"/>
                  </a:lnTo>
                  <a:lnTo>
                    <a:pt x="1045" y="936"/>
                  </a:lnTo>
                  <a:lnTo>
                    <a:pt x="1045" y="933"/>
                  </a:lnTo>
                  <a:lnTo>
                    <a:pt x="1043" y="929"/>
                  </a:lnTo>
                  <a:lnTo>
                    <a:pt x="1040" y="925"/>
                  </a:lnTo>
                  <a:lnTo>
                    <a:pt x="1036" y="924"/>
                  </a:lnTo>
                  <a:lnTo>
                    <a:pt x="1033" y="925"/>
                  </a:lnTo>
                  <a:lnTo>
                    <a:pt x="1029" y="929"/>
                  </a:lnTo>
                  <a:lnTo>
                    <a:pt x="1027" y="924"/>
                  </a:lnTo>
                  <a:lnTo>
                    <a:pt x="1025" y="915"/>
                  </a:lnTo>
                  <a:lnTo>
                    <a:pt x="1025" y="905"/>
                  </a:lnTo>
                  <a:lnTo>
                    <a:pt x="1027" y="898"/>
                  </a:lnTo>
                  <a:lnTo>
                    <a:pt x="1029" y="889"/>
                  </a:lnTo>
                  <a:lnTo>
                    <a:pt x="1031" y="885"/>
                  </a:lnTo>
                  <a:lnTo>
                    <a:pt x="1033" y="882"/>
                  </a:lnTo>
                  <a:lnTo>
                    <a:pt x="1036" y="880"/>
                  </a:lnTo>
                  <a:lnTo>
                    <a:pt x="1038" y="878"/>
                  </a:lnTo>
                  <a:lnTo>
                    <a:pt x="1042" y="876"/>
                  </a:lnTo>
                  <a:lnTo>
                    <a:pt x="1045" y="876"/>
                  </a:lnTo>
                  <a:lnTo>
                    <a:pt x="1045" y="882"/>
                  </a:lnTo>
                  <a:lnTo>
                    <a:pt x="1045" y="887"/>
                  </a:lnTo>
                  <a:lnTo>
                    <a:pt x="1045" y="889"/>
                  </a:lnTo>
                  <a:lnTo>
                    <a:pt x="1045" y="891"/>
                  </a:lnTo>
                  <a:lnTo>
                    <a:pt x="1047" y="893"/>
                  </a:lnTo>
                  <a:lnTo>
                    <a:pt x="1051" y="895"/>
                  </a:lnTo>
                  <a:lnTo>
                    <a:pt x="1054" y="895"/>
                  </a:lnTo>
                  <a:lnTo>
                    <a:pt x="1058" y="893"/>
                  </a:lnTo>
                  <a:lnTo>
                    <a:pt x="1063" y="891"/>
                  </a:lnTo>
                  <a:lnTo>
                    <a:pt x="1071" y="885"/>
                  </a:lnTo>
                  <a:lnTo>
                    <a:pt x="1076" y="884"/>
                  </a:lnTo>
                  <a:lnTo>
                    <a:pt x="1080" y="889"/>
                  </a:lnTo>
                  <a:lnTo>
                    <a:pt x="1082" y="887"/>
                  </a:lnTo>
                  <a:lnTo>
                    <a:pt x="1085" y="885"/>
                  </a:lnTo>
                  <a:lnTo>
                    <a:pt x="1091" y="880"/>
                  </a:lnTo>
                  <a:lnTo>
                    <a:pt x="1094" y="876"/>
                  </a:lnTo>
                  <a:lnTo>
                    <a:pt x="1096" y="875"/>
                  </a:lnTo>
                  <a:lnTo>
                    <a:pt x="1100" y="873"/>
                  </a:lnTo>
                  <a:lnTo>
                    <a:pt x="1101" y="873"/>
                  </a:lnTo>
                  <a:lnTo>
                    <a:pt x="1103" y="875"/>
                  </a:lnTo>
                  <a:lnTo>
                    <a:pt x="1105" y="875"/>
                  </a:lnTo>
                  <a:lnTo>
                    <a:pt x="1105" y="876"/>
                  </a:lnTo>
                  <a:lnTo>
                    <a:pt x="1105" y="878"/>
                  </a:lnTo>
                  <a:lnTo>
                    <a:pt x="1105" y="882"/>
                  </a:lnTo>
                  <a:lnTo>
                    <a:pt x="1103" y="884"/>
                  </a:lnTo>
                  <a:lnTo>
                    <a:pt x="1100" y="889"/>
                  </a:lnTo>
                  <a:lnTo>
                    <a:pt x="1098" y="891"/>
                  </a:lnTo>
                  <a:lnTo>
                    <a:pt x="1098" y="893"/>
                  </a:lnTo>
                  <a:lnTo>
                    <a:pt x="1098" y="896"/>
                  </a:lnTo>
                  <a:lnTo>
                    <a:pt x="1100" y="898"/>
                  </a:lnTo>
                  <a:lnTo>
                    <a:pt x="1101" y="900"/>
                  </a:lnTo>
                  <a:lnTo>
                    <a:pt x="1103" y="900"/>
                  </a:lnTo>
                  <a:lnTo>
                    <a:pt x="1107" y="900"/>
                  </a:lnTo>
                  <a:lnTo>
                    <a:pt x="1114" y="898"/>
                  </a:lnTo>
                  <a:lnTo>
                    <a:pt x="1118" y="898"/>
                  </a:lnTo>
                  <a:lnTo>
                    <a:pt x="1121" y="900"/>
                  </a:lnTo>
                  <a:lnTo>
                    <a:pt x="1121" y="902"/>
                  </a:lnTo>
                  <a:lnTo>
                    <a:pt x="1123" y="904"/>
                  </a:lnTo>
                  <a:lnTo>
                    <a:pt x="1121" y="907"/>
                  </a:lnTo>
                  <a:lnTo>
                    <a:pt x="1121" y="909"/>
                  </a:lnTo>
                  <a:lnTo>
                    <a:pt x="1116" y="920"/>
                  </a:lnTo>
                  <a:lnTo>
                    <a:pt x="1120" y="920"/>
                  </a:lnTo>
                  <a:lnTo>
                    <a:pt x="1125" y="920"/>
                  </a:lnTo>
                  <a:lnTo>
                    <a:pt x="1129" y="920"/>
                  </a:lnTo>
                  <a:lnTo>
                    <a:pt x="1134" y="922"/>
                  </a:lnTo>
                  <a:lnTo>
                    <a:pt x="1147" y="927"/>
                  </a:lnTo>
                  <a:lnTo>
                    <a:pt x="1152" y="929"/>
                  </a:lnTo>
                  <a:lnTo>
                    <a:pt x="1156" y="929"/>
                  </a:lnTo>
                  <a:lnTo>
                    <a:pt x="1158" y="927"/>
                  </a:lnTo>
                  <a:close/>
                  <a:moveTo>
                    <a:pt x="1796" y="1129"/>
                  </a:moveTo>
                  <a:lnTo>
                    <a:pt x="1793" y="1129"/>
                  </a:lnTo>
                  <a:lnTo>
                    <a:pt x="1791" y="1130"/>
                  </a:lnTo>
                  <a:lnTo>
                    <a:pt x="1789" y="1132"/>
                  </a:lnTo>
                  <a:lnTo>
                    <a:pt x="1786" y="1132"/>
                  </a:lnTo>
                  <a:lnTo>
                    <a:pt x="1784" y="1136"/>
                  </a:lnTo>
                  <a:lnTo>
                    <a:pt x="1784" y="1138"/>
                  </a:lnTo>
                  <a:lnTo>
                    <a:pt x="1784" y="1140"/>
                  </a:lnTo>
                  <a:lnTo>
                    <a:pt x="1786" y="1143"/>
                  </a:lnTo>
                  <a:lnTo>
                    <a:pt x="1791" y="1147"/>
                  </a:lnTo>
                  <a:lnTo>
                    <a:pt x="1793" y="1149"/>
                  </a:lnTo>
                  <a:lnTo>
                    <a:pt x="1795" y="1149"/>
                  </a:lnTo>
                  <a:lnTo>
                    <a:pt x="1798" y="1147"/>
                  </a:lnTo>
                  <a:lnTo>
                    <a:pt x="1800" y="1143"/>
                  </a:lnTo>
                  <a:lnTo>
                    <a:pt x="1800" y="1140"/>
                  </a:lnTo>
                  <a:lnTo>
                    <a:pt x="1800" y="1136"/>
                  </a:lnTo>
                  <a:lnTo>
                    <a:pt x="1800" y="1132"/>
                  </a:lnTo>
                  <a:lnTo>
                    <a:pt x="1798" y="1129"/>
                  </a:lnTo>
                  <a:lnTo>
                    <a:pt x="1796" y="1129"/>
                  </a:lnTo>
                  <a:close/>
                  <a:moveTo>
                    <a:pt x="1815" y="1172"/>
                  </a:moveTo>
                  <a:lnTo>
                    <a:pt x="1809" y="1170"/>
                  </a:lnTo>
                  <a:lnTo>
                    <a:pt x="1806" y="1169"/>
                  </a:lnTo>
                  <a:lnTo>
                    <a:pt x="1802" y="1167"/>
                  </a:lnTo>
                  <a:lnTo>
                    <a:pt x="1795" y="1167"/>
                  </a:lnTo>
                  <a:lnTo>
                    <a:pt x="1789" y="1167"/>
                  </a:lnTo>
                  <a:lnTo>
                    <a:pt x="1789" y="1165"/>
                  </a:lnTo>
                  <a:lnTo>
                    <a:pt x="1787" y="1163"/>
                  </a:lnTo>
                  <a:lnTo>
                    <a:pt x="1787" y="1161"/>
                  </a:lnTo>
                  <a:lnTo>
                    <a:pt x="1787" y="1160"/>
                  </a:lnTo>
                  <a:lnTo>
                    <a:pt x="1787" y="1154"/>
                  </a:lnTo>
                  <a:lnTo>
                    <a:pt x="1786" y="1149"/>
                  </a:lnTo>
                  <a:lnTo>
                    <a:pt x="1784" y="1147"/>
                  </a:lnTo>
                  <a:lnTo>
                    <a:pt x="1780" y="1145"/>
                  </a:lnTo>
                  <a:lnTo>
                    <a:pt x="1778" y="1145"/>
                  </a:lnTo>
                  <a:lnTo>
                    <a:pt x="1777" y="1147"/>
                  </a:lnTo>
                  <a:lnTo>
                    <a:pt x="1773" y="1150"/>
                  </a:lnTo>
                  <a:lnTo>
                    <a:pt x="1771" y="1150"/>
                  </a:lnTo>
                  <a:lnTo>
                    <a:pt x="1767" y="1150"/>
                  </a:lnTo>
                  <a:lnTo>
                    <a:pt x="1764" y="1150"/>
                  </a:lnTo>
                  <a:lnTo>
                    <a:pt x="1762" y="1150"/>
                  </a:lnTo>
                  <a:lnTo>
                    <a:pt x="1758" y="1150"/>
                  </a:lnTo>
                  <a:lnTo>
                    <a:pt x="1758" y="1152"/>
                  </a:lnTo>
                  <a:lnTo>
                    <a:pt x="1757" y="1156"/>
                  </a:lnTo>
                  <a:lnTo>
                    <a:pt x="1757" y="1158"/>
                  </a:lnTo>
                  <a:lnTo>
                    <a:pt x="1758" y="1161"/>
                  </a:lnTo>
                  <a:lnTo>
                    <a:pt x="1760" y="1163"/>
                  </a:lnTo>
                  <a:lnTo>
                    <a:pt x="1764" y="1163"/>
                  </a:lnTo>
                  <a:lnTo>
                    <a:pt x="1766" y="1167"/>
                  </a:lnTo>
                  <a:lnTo>
                    <a:pt x="1766" y="1170"/>
                  </a:lnTo>
                  <a:lnTo>
                    <a:pt x="1764" y="1172"/>
                  </a:lnTo>
                  <a:lnTo>
                    <a:pt x="1760" y="1174"/>
                  </a:lnTo>
                  <a:lnTo>
                    <a:pt x="1758" y="1179"/>
                  </a:lnTo>
                  <a:lnTo>
                    <a:pt x="1758" y="1185"/>
                  </a:lnTo>
                  <a:lnTo>
                    <a:pt x="1760" y="1189"/>
                  </a:lnTo>
                  <a:lnTo>
                    <a:pt x="1760" y="1190"/>
                  </a:lnTo>
                  <a:lnTo>
                    <a:pt x="1764" y="1189"/>
                  </a:lnTo>
                  <a:lnTo>
                    <a:pt x="1766" y="1187"/>
                  </a:lnTo>
                  <a:lnTo>
                    <a:pt x="1767" y="1185"/>
                  </a:lnTo>
                  <a:lnTo>
                    <a:pt x="1769" y="1181"/>
                  </a:lnTo>
                  <a:lnTo>
                    <a:pt x="1771" y="1179"/>
                  </a:lnTo>
                  <a:lnTo>
                    <a:pt x="1773" y="1178"/>
                  </a:lnTo>
                  <a:lnTo>
                    <a:pt x="1775" y="1176"/>
                  </a:lnTo>
                  <a:lnTo>
                    <a:pt x="1777" y="1176"/>
                  </a:lnTo>
                  <a:lnTo>
                    <a:pt x="1778" y="1178"/>
                  </a:lnTo>
                  <a:lnTo>
                    <a:pt x="1782" y="1181"/>
                  </a:lnTo>
                  <a:lnTo>
                    <a:pt x="1784" y="1185"/>
                  </a:lnTo>
                  <a:lnTo>
                    <a:pt x="1784" y="1190"/>
                  </a:lnTo>
                  <a:lnTo>
                    <a:pt x="1782" y="1192"/>
                  </a:lnTo>
                  <a:lnTo>
                    <a:pt x="1780" y="1194"/>
                  </a:lnTo>
                  <a:lnTo>
                    <a:pt x="1777" y="1194"/>
                  </a:lnTo>
                  <a:lnTo>
                    <a:pt x="1773" y="1194"/>
                  </a:lnTo>
                  <a:lnTo>
                    <a:pt x="1769" y="1196"/>
                  </a:lnTo>
                  <a:lnTo>
                    <a:pt x="1769" y="1199"/>
                  </a:lnTo>
                  <a:lnTo>
                    <a:pt x="1769" y="1201"/>
                  </a:lnTo>
                  <a:lnTo>
                    <a:pt x="1771" y="1205"/>
                  </a:lnTo>
                  <a:lnTo>
                    <a:pt x="1773" y="1205"/>
                  </a:lnTo>
                  <a:lnTo>
                    <a:pt x="1775" y="1207"/>
                  </a:lnTo>
                  <a:lnTo>
                    <a:pt x="1777" y="1205"/>
                  </a:lnTo>
                  <a:lnTo>
                    <a:pt x="1778" y="1201"/>
                  </a:lnTo>
                  <a:lnTo>
                    <a:pt x="1780" y="1199"/>
                  </a:lnTo>
                  <a:lnTo>
                    <a:pt x="1782" y="1199"/>
                  </a:lnTo>
                  <a:lnTo>
                    <a:pt x="1784" y="1203"/>
                  </a:lnTo>
                  <a:lnTo>
                    <a:pt x="1786" y="1205"/>
                  </a:lnTo>
                  <a:lnTo>
                    <a:pt x="1787" y="1207"/>
                  </a:lnTo>
                  <a:lnTo>
                    <a:pt x="1787" y="1210"/>
                  </a:lnTo>
                  <a:lnTo>
                    <a:pt x="1787" y="1212"/>
                  </a:lnTo>
                  <a:lnTo>
                    <a:pt x="1787" y="1214"/>
                  </a:lnTo>
                  <a:lnTo>
                    <a:pt x="1786" y="1218"/>
                  </a:lnTo>
                  <a:lnTo>
                    <a:pt x="1782" y="1218"/>
                  </a:lnTo>
                  <a:lnTo>
                    <a:pt x="1780" y="1219"/>
                  </a:lnTo>
                  <a:lnTo>
                    <a:pt x="1778" y="1218"/>
                  </a:lnTo>
                  <a:lnTo>
                    <a:pt x="1777" y="1218"/>
                  </a:lnTo>
                  <a:lnTo>
                    <a:pt x="1775" y="1219"/>
                  </a:lnTo>
                  <a:lnTo>
                    <a:pt x="1773" y="1223"/>
                  </a:lnTo>
                  <a:lnTo>
                    <a:pt x="1773" y="1225"/>
                  </a:lnTo>
                  <a:lnTo>
                    <a:pt x="1775" y="1227"/>
                  </a:lnTo>
                  <a:lnTo>
                    <a:pt x="1777" y="1227"/>
                  </a:lnTo>
                  <a:lnTo>
                    <a:pt x="1778" y="1227"/>
                  </a:lnTo>
                  <a:lnTo>
                    <a:pt x="1780" y="1227"/>
                  </a:lnTo>
                  <a:lnTo>
                    <a:pt x="1782" y="1228"/>
                  </a:lnTo>
                  <a:lnTo>
                    <a:pt x="1782" y="1230"/>
                  </a:lnTo>
                  <a:lnTo>
                    <a:pt x="1782" y="1234"/>
                  </a:lnTo>
                  <a:lnTo>
                    <a:pt x="1782" y="1238"/>
                  </a:lnTo>
                  <a:lnTo>
                    <a:pt x="1782" y="1239"/>
                  </a:lnTo>
                  <a:lnTo>
                    <a:pt x="1782" y="1241"/>
                  </a:lnTo>
                  <a:lnTo>
                    <a:pt x="1784" y="1243"/>
                  </a:lnTo>
                  <a:lnTo>
                    <a:pt x="1786" y="1243"/>
                  </a:lnTo>
                  <a:lnTo>
                    <a:pt x="1789" y="1241"/>
                  </a:lnTo>
                  <a:lnTo>
                    <a:pt x="1789" y="1238"/>
                  </a:lnTo>
                  <a:lnTo>
                    <a:pt x="1789" y="1234"/>
                  </a:lnTo>
                  <a:lnTo>
                    <a:pt x="1789" y="1232"/>
                  </a:lnTo>
                  <a:lnTo>
                    <a:pt x="1791" y="1228"/>
                  </a:lnTo>
                  <a:lnTo>
                    <a:pt x="1795" y="1225"/>
                  </a:lnTo>
                  <a:lnTo>
                    <a:pt x="1796" y="1221"/>
                  </a:lnTo>
                  <a:lnTo>
                    <a:pt x="1796" y="1218"/>
                  </a:lnTo>
                  <a:lnTo>
                    <a:pt x="1795" y="1214"/>
                  </a:lnTo>
                  <a:lnTo>
                    <a:pt x="1796" y="1210"/>
                  </a:lnTo>
                  <a:lnTo>
                    <a:pt x="1798" y="1208"/>
                  </a:lnTo>
                  <a:lnTo>
                    <a:pt x="1802" y="1207"/>
                  </a:lnTo>
                  <a:lnTo>
                    <a:pt x="1802" y="1208"/>
                  </a:lnTo>
                  <a:lnTo>
                    <a:pt x="1804" y="1210"/>
                  </a:lnTo>
                  <a:lnTo>
                    <a:pt x="1804" y="1214"/>
                  </a:lnTo>
                  <a:lnTo>
                    <a:pt x="1806" y="1216"/>
                  </a:lnTo>
                  <a:lnTo>
                    <a:pt x="1807" y="1218"/>
                  </a:lnTo>
                  <a:lnTo>
                    <a:pt x="1811" y="1221"/>
                  </a:lnTo>
                  <a:lnTo>
                    <a:pt x="1811" y="1223"/>
                  </a:lnTo>
                  <a:lnTo>
                    <a:pt x="1811" y="1225"/>
                  </a:lnTo>
                  <a:lnTo>
                    <a:pt x="1811" y="1227"/>
                  </a:lnTo>
                  <a:lnTo>
                    <a:pt x="1809" y="1227"/>
                  </a:lnTo>
                  <a:lnTo>
                    <a:pt x="1807" y="1225"/>
                  </a:lnTo>
                  <a:lnTo>
                    <a:pt x="1804" y="1225"/>
                  </a:lnTo>
                  <a:lnTo>
                    <a:pt x="1802" y="1227"/>
                  </a:lnTo>
                  <a:lnTo>
                    <a:pt x="1800" y="1230"/>
                  </a:lnTo>
                  <a:lnTo>
                    <a:pt x="1802" y="1232"/>
                  </a:lnTo>
                  <a:lnTo>
                    <a:pt x="1798" y="1232"/>
                  </a:lnTo>
                  <a:lnTo>
                    <a:pt x="1796" y="1232"/>
                  </a:lnTo>
                  <a:lnTo>
                    <a:pt x="1795" y="1234"/>
                  </a:lnTo>
                  <a:lnTo>
                    <a:pt x="1793" y="1236"/>
                  </a:lnTo>
                  <a:lnTo>
                    <a:pt x="1793" y="1239"/>
                  </a:lnTo>
                  <a:lnTo>
                    <a:pt x="1793" y="1243"/>
                  </a:lnTo>
                  <a:lnTo>
                    <a:pt x="1795" y="1245"/>
                  </a:lnTo>
                  <a:lnTo>
                    <a:pt x="1798" y="1245"/>
                  </a:lnTo>
                  <a:lnTo>
                    <a:pt x="1800" y="1243"/>
                  </a:lnTo>
                  <a:lnTo>
                    <a:pt x="1802" y="1243"/>
                  </a:lnTo>
                  <a:lnTo>
                    <a:pt x="1804" y="1241"/>
                  </a:lnTo>
                  <a:lnTo>
                    <a:pt x="1807" y="1243"/>
                  </a:lnTo>
                  <a:lnTo>
                    <a:pt x="1807" y="1245"/>
                  </a:lnTo>
                  <a:lnTo>
                    <a:pt x="1809" y="1248"/>
                  </a:lnTo>
                  <a:lnTo>
                    <a:pt x="1811" y="1252"/>
                  </a:lnTo>
                  <a:lnTo>
                    <a:pt x="1813" y="1254"/>
                  </a:lnTo>
                  <a:lnTo>
                    <a:pt x="1816" y="1259"/>
                  </a:lnTo>
                  <a:lnTo>
                    <a:pt x="1827" y="1267"/>
                  </a:lnTo>
                  <a:lnTo>
                    <a:pt x="1836" y="1276"/>
                  </a:lnTo>
                  <a:lnTo>
                    <a:pt x="1840" y="1277"/>
                  </a:lnTo>
                  <a:lnTo>
                    <a:pt x="1844" y="1279"/>
                  </a:lnTo>
                  <a:lnTo>
                    <a:pt x="1845" y="1277"/>
                  </a:lnTo>
                  <a:lnTo>
                    <a:pt x="1847" y="1276"/>
                  </a:lnTo>
                  <a:lnTo>
                    <a:pt x="1845" y="1274"/>
                  </a:lnTo>
                  <a:lnTo>
                    <a:pt x="1845" y="1270"/>
                  </a:lnTo>
                  <a:lnTo>
                    <a:pt x="1844" y="1268"/>
                  </a:lnTo>
                  <a:lnTo>
                    <a:pt x="1844" y="1267"/>
                  </a:lnTo>
                  <a:lnTo>
                    <a:pt x="1845" y="1265"/>
                  </a:lnTo>
                  <a:lnTo>
                    <a:pt x="1847" y="1265"/>
                  </a:lnTo>
                  <a:lnTo>
                    <a:pt x="1847" y="1263"/>
                  </a:lnTo>
                  <a:lnTo>
                    <a:pt x="1847" y="1261"/>
                  </a:lnTo>
                  <a:lnTo>
                    <a:pt x="1847" y="1259"/>
                  </a:lnTo>
                  <a:lnTo>
                    <a:pt x="1844" y="1257"/>
                  </a:lnTo>
                  <a:lnTo>
                    <a:pt x="1842" y="1256"/>
                  </a:lnTo>
                  <a:lnTo>
                    <a:pt x="1838" y="1254"/>
                  </a:lnTo>
                  <a:lnTo>
                    <a:pt x="1838" y="1250"/>
                  </a:lnTo>
                  <a:lnTo>
                    <a:pt x="1836" y="1248"/>
                  </a:lnTo>
                  <a:lnTo>
                    <a:pt x="1836" y="1245"/>
                  </a:lnTo>
                  <a:lnTo>
                    <a:pt x="1836" y="1243"/>
                  </a:lnTo>
                  <a:lnTo>
                    <a:pt x="1836" y="1239"/>
                  </a:lnTo>
                  <a:lnTo>
                    <a:pt x="1835" y="1238"/>
                  </a:lnTo>
                  <a:lnTo>
                    <a:pt x="1835" y="1236"/>
                  </a:lnTo>
                  <a:lnTo>
                    <a:pt x="1838" y="1236"/>
                  </a:lnTo>
                  <a:lnTo>
                    <a:pt x="1842" y="1238"/>
                  </a:lnTo>
                  <a:lnTo>
                    <a:pt x="1842" y="1239"/>
                  </a:lnTo>
                  <a:lnTo>
                    <a:pt x="1844" y="1247"/>
                  </a:lnTo>
                  <a:lnTo>
                    <a:pt x="1845" y="1250"/>
                  </a:lnTo>
                  <a:lnTo>
                    <a:pt x="1845" y="1252"/>
                  </a:lnTo>
                  <a:lnTo>
                    <a:pt x="1847" y="1252"/>
                  </a:lnTo>
                  <a:lnTo>
                    <a:pt x="1849" y="1252"/>
                  </a:lnTo>
                  <a:lnTo>
                    <a:pt x="1849" y="1250"/>
                  </a:lnTo>
                  <a:lnTo>
                    <a:pt x="1851" y="1248"/>
                  </a:lnTo>
                  <a:lnTo>
                    <a:pt x="1855" y="1250"/>
                  </a:lnTo>
                  <a:lnTo>
                    <a:pt x="1855" y="1252"/>
                  </a:lnTo>
                  <a:lnTo>
                    <a:pt x="1858" y="1257"/>
                  </a:lnTo>
                  <a:lnTo>
                    <a:pt x="1860" y="1261"/>
                  </a:lnTo>
                  <a:lnTo>
                    <a:pt x="1864" y="1263"/>
                  </a:lnTo>
                  <a:lnTo>
                    <a:pt x="1867" y="1265"/>
                  </a:lnTo>
                  <a:lnTo>
                    <a:pt x="1871" y="1265"/>
                  </a:lnTo>
                  <a:lnTo>
                    <a:pt x="1875" y="1265"/>
                  </a:lnTo>
                  <a:lnTo>
                    <a:pt x="1876" y="1263"/>
                  </a:lnTo>
                  <a:lnTo>
                    <a:pt x="1876" y="1259"/>
                  </a:lnTo>
                  <a:lnTo>
                    <a:pt x="1876" y="1256"/>
                  </a:lnTo>
                  <a:lnTo>
                    <a:pt x="1875" y="1250"/>
                  </a:lnTo>
                  <a:lnTo>
                    <a:pt x="1873" y="1245"/>
                  </a:lnTo>
                  <a:lnTo>
                    <a:pt x="1873" y="1241"/>
                  </a:lnTo>
                  <a:lnTo>
                    <a:pt x="1871" y="1239"/>
                  </a:lnTo>
                  <a:lnTo>
                    <a:pt x="1869" y="1239"/>
                  </a:lnTo>
                  <a:lnTo>
                    <a:pt x="1867" y="1239"/>
                  </a:lnTo>
                  <a:lnTo>
                    <a:pt x="1865" y="1239"/>
                  </a:lnTo>
                  <a:lnTo>
                    <a:pt x="1864" y="1238"/>
                  </a:lnTo>
                  <a:lnTo>
                    <a:pt x="1862" y="1236"/>
                  </a:lnTo>
                  <a:lnTo>
                    <a:pt x="1862" y="1232"/>
                  </a:lnTo>
                  <a:lnTo>
                    <a:pt x="1865" y="1227"/>
                  </a:lnTo>
                  <a:lnTo>
                    <a:pt x="1865" y="1223"/>
                  </a:lnTo>
                  <a:lnTo>
                    <a:pt x="1865" y="1221"/>
                  </a:lnTo>
                  <a:lnTo>
                    <a:pt x="1864" y="1218"/>
                  </a:lnTo>
                  <a:lnTo>
                    <a:pt x="1862" y="1216"/>
                  </a:lnTo>
                  <a:lnTo>
                    <a:pt x="1860" y="1219"/>
                  </a:lnTo>
                  <a:lnTo>
                    <a:pt x="1856" y="1221"/>
                  </a:lnTo>
                  <a:lnTo>
                    <a:pt x="1855" y="1219"/>
                  </a:lnTo>
                  <a:lnTo>
                    <a:pt x="1855" y="1218"/>
                  </a:lnTo>
                  <a:lnTo>
                    <a:pt x="1855" y="1214"/>
                  </a:lnTo>
                  <a:lnTo>
                    <a:pt x="1853" y="1212"/>
                  </a:lnTo>
                  <a:lnTo>
                    <a:pt x="1851" y="1210"/>
                  </a:lnTo>
                  <a:lnTo>
                    <a:pt x="1849" y="1210"/>
                  </a:lnTo>
                  <a:lnTo>
                    <a:pt x="1845" y="1210"/>
                  </a:lnTo>
                  <a:lnTo>
                    <a:pt x="1838" y="1210"/>
                  </a:lnTo>
                  <a:lnTo>
                    <a:pt x="1833" y="1208"/>
                  </a:lnTo>
                  <a:lnTo>
                    <a:pt x="1831" y="1207"/>
                  </a:lnTo>
                  <a:lnTo>
                    <a:pt x="1829" y="1205"/>
                  </a:lnTo>
                  <a:lnTo>
                    <a:pt x="1827" y="1203"/>
                  </a:lnTo>
                  <a:lnTo>
                    <a:pt x="1827" y="1199"/>
                  </a:lnTo>
                  <a:lnTo>
                    <a:pt x="1827" y="1198"/>
                  </a:lnTo>
                  <a:lnTo>
                    <a:pt x="1829" y="1198"/>
                  </a:lnTo>
                  <a:lnTo>
                    <a:pt x="1833" y="1198"/>
                  </a:lnTo>
                  <a:lnTo>
                    <a:pt x="1835" y="1198"/>
                  </a:lnTo>
                  <a:lnTo>
                    <a:pt x="1838" y="1199"/>
                  </a:lnTo>
                  <a:lnTo>
                    <a:pt x="1840" y="1199"/>
                  </a:lnTo>
                  <a:lnTo>
                    <a:pt x="1840" y="1196"/>
                  </a:lnTo>
                  <a:lnTo>
                    <a:pt x="1840" y="1194"/>
                  </a:lnTo>
                  <a:lnTo>
                    <a:pt x="1835" y="1190"/>
                  </a:lnTo>
                  <a:lnTo>
                    <a:pt x="1829" y="1189"/>
                  </a:lnTo>
                  <a:lnTo>
                    <a:pt x="1827" y="1187"/>
                  </a:lnTo>
                  <a:lnTo>
                    <a:pt x="1827" y="1185"/>
                  </a:lnTo>
                  <a:lnTo>
                    <a:pt x="1826" y="1181"/>
                  </a:lnTo>
                  <a:lnTo>
                    <a:pt x="1822" y="1176"/>
                  </a:lnTo>
                  <a:lnTo>
                    <a:pt x="1818" y="1174"/>
                  </a:lnTo>
                  <a:lnTo>
                    <a:pt x="1816" y="1172"/>
                  </a:lnTo>
                  <a:lnTo>
                    <a:pt x="1815" y="1172"/>
                  </a:lnTo>
                  <a:close/>
                  <a:moveTo>
                    <a:pt x="1722" y="1098"/>
                  </a:moveTo>
                  <a:lnTo>
                    <a:pt x="1722" y="1100"/>
                  </a:lnTo>
                  <a:lnTo>
                    <a:pt x="1722" y="1101"/>
                  </a:lnTo>
                  <a:lnTo>
                    <a:pt x="1726" y="1103"/>
                  </a:lnTo>
                  <a:lnTo>
                    <a:pt x="1733" y="1109"/>
                  </a:lnTo>
                  <a:lnTo>
                    <a:pt x="1738" y="1112"/>
                  </a:lnTo>
                  <a:lnTo>
                    <a:pt x="1740" y="1114"/>
                  </a:lnTo>
                  <a:lnTo>
                    <a:pt x="1740" y="1116"/>
                  </a:lnTo>
                  <a:lnTo>
                    <a:pt x="1740" y="1118"/>
                  </a:lnTo>
                  <a:lnTo>
                    <a:pt x="1738" y="1120"/>
                  </a:lnTo>
                  <a:lnTo>
                    <a:pt x="1735" y="1123"/>
                  </a:lnTo>
                  <a:lnTo>
                    <a:pt x="1733" y="1123"/>
                  </a:lnTo>
                  <a:lnTo>
                    <a:pt x="1731" y="1123"/>
                  </a:lnTo>
                  <a:lnTo>
                    <a:pt x="1726" y="1120"/>
                  </a:lnTo>
                  <a:lnTo>
                    <a:pt x="1720" y="1116"/>
                  </a:lnTo>
                  <a:lnTo>
                    <a:pt x="1717" y="1116"/>
                  </a:lnTo>
                  <a:lnTo>
                    <a:pt x="1715" y="1118"/>
                  </a:lnTo>
                  <a:lnTo>
                    <a:pt x="1713" y="1121"/>
                  </a:lnTo>
                  <a:lnTo>
                    <a:pt x="1711" y="1123"/>
                  </a:lnTo>
                  <a:lnTo>
                    <a:pt x="1711" y="1127"/>
                  </a:lnTo>
                  <a:lnTo>
                    <a:pt x="1713" y="1130"/>
                  </a:lnTo>
                  <a:lnTo>
                    <a:pt x="1717" y="1136"/>
                  </a:lnTo>
                  <a:lnTo>
                    <a:pt x="1720" y="1140"/>
                  </a:lnTo>
                  <a:lnTo>
                    <a:pt x="1726" y="1149"/>
                  </a:lnTo>
                  <a:lnTo>
                    <a:pt x="1728" y="1152"/>
                  </a:lnTo>
                  <a:lnTo>
                    <a:pt x="1729" y="1158"/>
                  </a:lnTo>
                  <a:lnTo>
                    <a:pt x="1729" y="1165"/>
                  </a:lnTo>
                  <a:lnTo>
                    <a:pt x="1729" y="1174"/>
                  </a:lnTo>
                  <a:lnTo>
                    <a:pt x="1729" y="1178"/>
                  </a:lnTo>
                  <a:lnTo>
                    <a:pt x="1731" y="1181"/>
                  </a:lnTo>
                  <a:lnTo>
                    <a:pt x="1735" y="1185"/>
                  </a:lnTo>
                  <a:lnTo>
                    <a:pt x="1738" y="1185"/>
                  </a:lnTo>
                  <a:lnTo>
                    <a:pt x="1740" y="1185"/>
                  </a:lnTo>
                  <a:lnTo>
                    <a:pt x="1742" y="1183"/>
                  </a:lnTo>
                  <a:lnTo>
                    <a:pt x="1744" y="1181"/>
                  </a:lnTo>
                  <a:lnTo>
                    <a:pt x="1744" y="1179"/>
                  </a:lnTo>
                  <a:lnTo>
                    <a:pt x="1744" y="1172"/>
                  </a:lnTo>
                  <a:lnTo>
                    <a:pt x="1742" y="1163"/>
                  </a:lnTo>
                  <a:lnTo>
                    <a:pt x="1740" y="1156"/>
                  </a:lnTo>
                  <a:lnTo>
                    <a:pt x="1740" y="1149"/>
                  </a:lnTo>
                  <a:lnTo>
                    <a:pt x="1740" y="1145"/>
                  </a:lnTo>
                  <a:lnTo>
                    <a:pt x="1742" y="1143"/>
                  </a:lnTo>
                  <a:lnTo>
                    <a:pt x="1744" y="1141"/>
                  </a:lnTo>
                  <a:lnTo>
                    <a:pt x="1746" y="1140"/>
                  </a:lnTo>
                  <a:lnTo>
                    <a:pt x="1749" y="1140"/>
                  </a:lnTo>
                  <a:lnTo>
                    <a:pt x="1751" y="1141"/>
                  </a:lnTo>
                  <a:lnTo>
                    <a:pt x="1753" y="1143"/>
                  </a:lnTo>
                  <a:lnTo>
                    <a:pt x="1757" y="1145"/>
                  </a:lnTo>
                  <a:lnTo>
                    <a:pt x="1758" y="1143"/>
                  </a:lnTo>
                  <a:lnTo>
                    <a:pt x="1762" y="1141"/>
                  </a:lnTo>
                  <a:lnTo>
                    <a:pt x="1766" y="1140"/>
                  </a:lnTo>
                  <a:lnTo>
                    <a:pt x="1766" y="1138"/>
                  </a:lnTo>
                  <a:lnTo>
                    <a:pt x="1767" y="1136"/>
                  </a:lnTo>
                  <a:lnTo>
                    <a:pt x="1767" y="1130"/>
                  </a:lnTo>
                  <a:lnTo>
                    <a:pt x="1766" y="1127"/>
                  </a:lnTo>
                  <a:lnTo>
                    <a:pt x="1766" y="1125"/>
                  </a:lnTo>
                  <a:lnTo>
                    <a:pt x="1767" y="1121"/>
                  </a:lnTo>
                  <a:lnTo>
                    <a:pt x="1769" y="1120"/>
                  </a:lnTo>
                  <a:lnTo>
                    <a:pt x="1771" y="1120"/>
                  </a:lnTo>
                  <a:lnTo>
                    <a:pt x="1775" y="1121"/>
                  </a:lnTo>
                  <a:lnTo>
                    <a:pt x="1780" y="1123"/>
                  </a:lnTo>
                  <a:lnTo>
                    <a:pt x="1782" y="1125"/>
                  </a:lnTo>
                  <a:lnTo>
                    <a:pt x="1784" y="1125"/>
                  </a:lnTo>
                  <a:lnTo>
                    <a:pt x="1786" y="1125"/>
                  </a:lnTo>
                  <a:lnTo>
                    <a:pt x="1787" y="1121"/>
                  </a:lnTo>
                  <a:lnTo>
                    <a:pt x="1787" y="1118"/>
                  </a:lnTo>
                  <a:lnTo>
                    <a:pt x="1787" y="1116"/>
                  </a:lnTo>
                  <a:lnTo>
                    <a:pt x="1786" y="1114"/>
                  </a:lnTo>
                  <a:lnTo>
                    <a:pt x="1784" y="1112"/>
                  </a:lnTo>
                  <a:lnTo>
                    <a:pt x="1782" y="1109"/>
                  </a:lnTo>
                  <a:lnTo>
                    <a:pt x="1775" y="1105"/>
                  </a:lnTo>
                  <a:lnTo>
                    <a:pt x="1767" y="1103"/>
                  </a:lnTo>
                  <a:lnTo>
                    <a:pt x="1757" y="1098"/>
                  </a:lnTo>
                  <a:lnTo>
                    <a:pt x="1744" y="1092"/>
                  </a:lnTo>
                  <a:lnTo>
                    <a:pt x="1737" y="1091"/>
                  </a:lnTo>
                  <a:lnTo>
                    <a:pt x="1731" y="1092"/>
                  </a:lnTo>
                  <a:lnTo>
                    <a:pt x="1728" y="1092"/>
                  </a:lnTo>
                  <a:lnTo>
                    <a:pt x="1726" y="1094"/>
                  </a:lnTo>
                  <a:lnTo>
                    <a:pt x="1722" y="1098"/>
                  </a:lnTo>
                  <a:close/>
                  <a:moveTo>
                    <a:pt x="1662" y="1018"/>
                  </a:moveTo>
                  <a:lnTo>
                    <a:pt x="1662" y="1027"/>
                  </a:lnTo>
                  <a:lnTo>
                    <a:pt x="1662" y="1036"/>
                  </a:lnTo>
                  <a:lnTo>
                    <a:pt x="1666" y="1042"/>
                  </a:lnTo>
                  <a:lnTo>
                    <a:pt x="1668" y="1047"/>
                  </a:lnTo>
                  <a:lnTo>
                    <a:pt x="1675" y="1056"/>
                  </a:lnTo>
                  <a:lnTo>
                    <a:pt x="1682" y="1063"/>
                  </a:lnTo>
                  <a:lnTo>
                    <a:pt x="1684" y="1071"/>
                  </a:lnTo>
                  <a:lnTo>
                    <a:pt x="1686" y="1076"/>
                  </a:lnTo>
                  <a:lnTo>
                    <a:pt x="1686" y="1083"/>
                  </a:lnTo>
                  <a:lnTo>
                    <a:pt x="1688" y="1089"/>
                  </a:lnTo>
                  <a:lnTo>
                    <a:pt x="1688" y="1096"/>
                  </a:lnTo>
                  <a:lnTo>
                    <a:pt x="1691" y="1100"/>
                  </a:lnTo>
                  <a:lnTo>
                    <a:pt x="1693" y="1101"/>
                  </a:lnTo>
                  <a:lnTo>
                    <a:pt x="1695" y="1103"/>
                  </a:lnTo>
                  <a:lnTo>
                    <a:pt x="1699" y="1101"/>
                  </a:lnTo>
                  <a:lnTo>
                    <a:pt x="1700" y="1101"/>
                  </a:lnTo>
                  <a:lnTo>
                    <a:pt x="1700" y="1100"/>
                  </a:lnTo>
                  <a:lnTo>
                    <a:pt x="1702" y="1094"/>
                  </a:lnTo>
                  <a:lnTo>
                    <a:pt x="1704" y="1089"/>
                  </a:lnTo>
                  <a:lnTo>
                    <a:pt x="1704" y="1085"/>
                  </a:lnTo>
                  <a:lnTo>
                    <a:pt x="1704" y="1081"/>
                  </a:lnTo>
                  <a:lnTo>
                    <a:pt x="1704" y="1078"/>
                  </a:lnTo>
                  <a:lnTo>
                    <a:pt x="1704" y="1076"/>
                  </a:lnTo>
                  <a:lnTo>
                    <a:pt x="1706" y="1074"/>
                  </a:lnTo>
                  <a:lnTo>
                    <a:pt x="1706" y="1072"/>
                  </a:lnTo>
                  <a:lnTo>
                    <a:pt x="1708" y="1072"/>
                  </a:lnTo>
                  <a:lnTo>
                    <a:pt x="1711" y="1072"/>
                  </a:lnTo>
                  <a:lnTo>
                    <a:pt x="1713" y="1071"/>
                  </a:lnTo>
                  <a:lnTo>
                    <a:pt x="1715" y="1067"/>
                  </a:lnTo>
                  <a:lnTo>
                    <a:pt x="1715" y="1062"/>
                  </a:lnTo>
                  <a:lnTo>
                    <a:pt x="1711" y="1056"/>
                  </a:lnTo>
                  <a:lnTo>
                    <a:pt x="1709" y="1052"/>
                  </a:lnTo>
                  <a:lnTo>
                    <a:pt x="1706" y="1049"/>
                  </a:lnTo>
                  <a:lnTo>
                    <a:pt x="1697" y="1042"/>
                  </a:lnTo>
                  <a:lnTo>
                    <a:pt x="1693" y="1040"/>
                  </a:lnTo>
                  <a:lnTo>
                    <a:pt x="1691" y="1036"/>
                  </a:lnTo>
                  <a:lnTo>
                    <a:pt x="1684" y="1027"/>
                  </a:lnTo>
                  <a:lnTo>
                    <a:pt x="1675" y="1018"/>
                  </a:lnTo>
                  <a:lnTo>
                    <a:pt x="1671" y="1013"/>
                  </a:lnTo>
                  <a:lnTo>
                    <a:pt x="1668" y="1013"/>
                  </a:lnTo>
                  <a:lnTo>
                    <a:pt x="1666" y="1013"/>
                  </a:lnTo>
                  <a:lnTo>
                    <a:pt x="1664" y="1013"/>
                  </a:lnTo>
                  <a:lnTo>
                    <a:pt x="1662" y="1018"/>
                  </a:lnTo>
                  <a:close/>
                  <a:moveTo>
                    <a:pt x="1622" y="1029"/>
                  </a:moveTo>
                  <a:lnTo>
                    <a:pt x="1631" y="1029"/>
                  </a:lnTo>
                  <a:lnTo>
                    <a:pt x="1640" y="1031"/>
                  </a:lnTo>
                  <a:lnTo>
                    <a:pt x="1644" y="1032"/>
                  </a:lnTo>
                  <a:lnTo>
                    <a:pt x="1646" y="1032"/>
                  </a:lnTo>
                  <a:lnTo>
                    <a:pt x="1648" y="1036"/>
                  </a:lnTo>
                  <a:lnTo>
                    <a:pt x="1650" y="1038"/>
                  </a:lnTo>
                  <a:lnTo>
                    <a:pt x="1650" y="1042"/>
                  </a:lnTo>
                  <a:lnTo>
                    <a:pt x="1648" y="1047"/>
                  </a:lnTo>
                  <a:lnTo>
                    <a:pt x="1648" y="1051"/>
                  </a:lnTo>
                  <a:lnTo>
                    <a:pt x="1648" y="1054"/>
                  </a:lnTo>
                  <a:lnTo>
                    <a:pt x="1650" y="1056"/>
                  </a:lnTo>
                  <a:lnTo>
                    <a:pt x="1653" y="1058"/>
                  </a:lnTo>
                  <a:lnTo>
                    <a:pt x="1657" y="1060"/>
                  </a:lnTo>
                  <a:lnTo>
                    <a:pt x="1660" y="1062"/>
                  </a:lnTo>
                  <a:lnTo>
                    <a:pt x="1664" y="1065"/>
                  </a:lnTo>
                  <a:lnTo>
                    <a:pt x="1664" y="1067"/>
                  </a:lnTo>
                  <a:lnTo>
                    <a:pt x="1666" y="1071"/>
                  </a:lnTo>
                  <a:lnTo>
                    <a:pt x="1664" y="1072"/>
                  </a:lnTo>
                  <a:lnTo>
                    <a:pt x="1664" y="1078"/>
                  </a:lnTo>
                  <a:lnTo>
                    <a:pt x="1669" y="1089"/>
                  </a:lnTo>
                  <a:lnTo>
                    <a:pt x="1675" y="1101"/>
                  </a:lnTo>
                  <a:lnTo>
                    <a:pt x="1682" y="1112"/>
                  </a:lnTo>
                  <a:lnTo>
                    <a:pt x="1689" y="1123"/>
                  </a:lnTo>
                  <a:lnTo>
                    <a:pt x="1695" y="1136"/>
                  </a:lnTo>
                  <a:lnTo>
                    <a:pt x="1702" y="1147"/>
                  </a:lnTo>
                  <a:lnTo>
                    <a:pt x="1704" y="1154"/>
                  </a:lnTo>
                  <a:lnTo>
                    <a:pt x="1708" y="1160"/>
                  </a:lnTo>
                  <a:lnTo>
                    <a:pt x="1708" y="1167"/>
                  </a:lnTo>
                  <a:lnTo>
                    <a:pt x="1708" y="1174"/>
                  </a:lnTo>
                  <a:lnTo>
                    <a:pt x="1704" y="1174"/>
                  </a:lnTo>
                  <a:lnTo>
                    <a:pt x="1699" y="1172"/>
                  </a:lnTo>
                  <a:lnTo>
                    <a:pt x="1695" y="1169"/>
                  </a:lnTo>
                  <a:lnTo>
                    <a:pt x="1691" y="1163"/>
                  </a:lnTo>
                  <a:lnTo>
                    <a:pt x="1684" y="1154"/>
                  </a:lnTo>
                  <a:lnTo>
                    <a:pt x="1679" y="1147"/>
                  </a:lnTo>
                  <a:lnTo>
                    <a:pt x="1671" y="1141"/>
                  </a:lnTo>
                  <a:lnTo>
                    <a:pt x="1666" y="1136"/>
                  </a:lnTo>
                  <a:lnTo>
                    <a:pt x="1660" y="1130"/>
                  </a:lnTo>
                  <a:lnTo>
                    <a:pt x="1657" y="1125"/>
                  </a:lnTo>
                  <a:lnTo>
                    <a:pt x="1653" y="1114"/>
                  </a:lnTo>
                  <a:lnTo>
                    <a:pt x="1646" y="1107"/>
                  </a:lnTo>
                  <a:lnTo>
                    <a:pt x="1639" y="1100"/>
                  </a:lnTo>
                  <a:lnTo>
                    <a:pt x="1635" y="1096"/>
                  </a:lnTo>
                  <a:lnTo>
                    <a:pt x="1630" y="1092"/>
                  </a:lnTo>
                  <a:lnTo>
                    <a:pt x="1624" y="1091"/>
                  </a:lnTo>
                  <a:lnTo>
                    <a:pt x="1620" y="1089"/>
                  </a:lnTo>
                  <a:lnTo>
                    <a:pt x="1617" y="1085"/>
                  </a:lnTo>
                  <a:lnTo>
                    <a:pt x="1611" y="1078"/>
                  </a:lnTo>
                  <a:lnTo>
                    <a:pt x="1610" y="1076"/>
                  </a:lnTo>
                  <a:lnTo>
                    <a:pt x="1606" y="1072"/>
                  </a:lnTo>
                  <a:lnTo>
                    <a:pt x="1601" y="1067"/>
                  </a:lnTo>
                  <a:lnTo>
                    <a:pt x="1595" y="1063"/>
                  </a:lnTo>
                  <a:lnTo>
                    <a:pt x="1590" y="1060"/>
                  </a:lnTo>
                  <a:lnTo>
                    <a:pt x="1586" y="1052"/>
                  </a:lnTo>
                  <a:lnTo>
                    <a:pt x="1586" y="1049"/>
                  </a:lnTo>
                  <a:lnTo>
                    <a:pt x="1584" y="1045"/>
                  </a:lnTo>
                  <a:lnTo>
                    <a:pt x="1586" y="1043"/>
                  </a:lnTo>
                  <a:lnTo>
                    <a:pt x="1591" y="1042"/>
                  </a:lnTo>
                  <a:lnTo>
                    <a:pt x="1597" y="1038"/>
                  </a:lnTo>
                  <a:lnTo>
                    <a:pt x="1601" y="1036"/>
                  </a:lnTo>
                  <a:lnTo>
                    <a:pt x="1608" y="1032"/>
                  </a:lnTo>
                  <a:lnTo>
                    <a:pt x="1615" y="1029"/>
                  </a:lnTo>
                  <a:lnTo>
                    <a:pt x="1619" y="1029"/>
                  </a:lnTo>
                  <a:lnTo>
                    <a:pt x="1622" y="1029"/>
                  </a:lnTo>
                  <a:close/>
                  <a:moveTo>
                    <a:pt x="759" y="1239"/>
                  </a:moveTo>
                  <a:lnTo>
                    <a:pt x="759" y="1245"/>
                  </a:lnTo>
                  <a:lnTo>
                    <a:pt x="759" y="1250"/>
                  </a:lnTo>
                  <a:lnTo>
                    <a:pt x="760" y="1256"/>
                  </a:lnTo>
                  <a:lnTo>
                    <a:pt x="762" y="1257"/>
                  </a:lnTo>
                  <a:lnTo>
                    <a:pt x="764" y="1259"/>
                  </a:lnTo>
                  <a:lnTo>
                    <a:pt x="768" y="1259"/>
                  </a:lnTo>
                  <a:lnTo>
                    <a:pt x="769" y="1257"/>
                  </a:lnTo>
                  <a:lnTo>
                    <a:pt x="775" y="1254"/>
                  </a:lnTo>
                  <a:lnTo>
                    <a:pt x="778" y="1250"/>
                  </a:lnTo>
                  <a:lnTo>
                    <a:pt x="782" y="1250"/>
                  </a:lnTo>
                  <a:lnTo>
                    <a:pt x="782" y="1252"/>
                  </a:lnTo>
                  <a:lnTo>
                    <a:pt x="784" y="1254"/>
                  </a:lnTo>
                  <a:lnTo>
                    <a:pt x="786" y="1256"/>
                  </a:lnTo>
                  <a:lnTo>
                    <a:pt x="786" y="1257"/>
                  </a:lnTo>
                  <a:lnTo>
                    <a:pt x="782" y="1263"/>
                  </a:lnTo>
                  <a:lnTo>
                    <a:pt x="778" y="1265"/>
                  </a:lnTo>
                  <a:lnTo>
                    <a:pt x="777" y="1267"/>
                  </a:lnTo>
                  <a:lnTo>
                    <a:pt x="777" y="1270"/>
                  </a:lnTo>
                  <a:lnTo>
                    <a:pt x="777" y="1272"/>
                  </a:lnTo>
                  <a:lnTo>
                    <a:pt x="780" y="1276"/>
                  </a:lnTo>
                  <a:lnTo>
                    <a:pt x="782" y="1276"/>
                  </a:lnTo>
                  <a:lnTo>
                    <a:pt x="784" y="1276"/>
                  </a:lnTo>
                  <a:lnTo>
                    <a:pt x="788" y="1274"/>
                  </a:lnTo>
                  <a:lnTo>
                    <a:pt x="791" y="1272"/>
                  </a:lnTo>
                  <a:lnTo>
                    <a:pt x="797" y="1265"/>
                  </a:lnTo>
                  <a:lnTo>
                    <a:pt x="800" y="1257"/>
                  </a:lnTo>
                  <a:lnTo>
                    <a:pt x="802" y="1250"/>
                  </a:lnTo>
                  <a:lnTo>
                    <a:pt x="804" y="1245"/>
                  </a:lnTo>
                  <a:lnTo>
                    <a:pt x="804" y="1243"/>
                  </a:lnTo>
                  <a:lnTo>
                    <a:pt x="806" y="1241"/>
                  </a:lnTo>
                  <a:lnTo>
                    <a:pt x="809" y="1241"/>
                  </a:lnTo>
                  <a:lnTo>
                    <a:pt x="813" y="1241"/>
                  </a:lnTo>
                  <a:lnTo>
                    <a:pt x="813" y="1243"/>
                  </a:lnTo>
                  <a:lnTo>
                    <a:pt x="813" y="1245"/>
                  </a:lnTo>
                  <a:lnTo>
                    <a:pt x="815" y="1248"/>
                  </a:lnTo>
                  <a:lnTo>
                    <a:pt x="817" y="1248"/>
                  </a:lnTo>
                  <a:lnTo>
                    <a:pt x="818" y="1248"/>
                  </a:lnTo>
                  <a:lnTo>
                    <a:pt x="820" y="1248"/>
                  </a:lnTo>
                  <a:lnTo>
                    <a:pt x="822" y="1248"/>
                  </a:lnTo>
                  <a:lnTo>
                    <a:pt x="827" y="1247"/>
                  </a:lnTo>
                  <a:lnTo>
                    <a:pt x="831" y="1243"/>
                  </a:lnTo>
                  <a:lnTo>
                    <a:pt x="833" y="1239"/>
                  </a:lnTo>
                  <a:lnTo>
                    <a:pt x="833" y="1238"/>
                  </a:lnTo>
                  <a:lnTo>
                    <a:pt x="831" y="1234"/>
                  </a:lnTo>
                  <a:lnTo>
                    <a:pt x="827" y="1230"/>
                  </a:lnTo>
                  <a:lnTo>
                    <a:pt x="827" y="1228"/>
                  </a:lnTo>
                  <a:lnTo>
                    <a:pt x="826" y="1227"/>
                  </a:lnTo>
                  <a:lnTo>
                    <a:pt x="827" y="1223"/>
                  </a:lnTo>
                  <a:lnTo>
                    <a:pt x="829" y="1221"/>
                  </a:lnTo>
                  <a:lnTo>
                    <a:pt x="831" y="1219"/>
                  </a:lnTo>
                  <a:lnTo>
                    <a:pt x="833" y="1219"/>
                  </a:lnTo>
                  <a:lnTo>
                    <a:pt x="838" y="1221"/>
                  </a:lnTo>
                  <a:lnTo>
                    <a:pt x="842" y="1221"/>
                  </a:lnTo>
                  <a:lnTo>
                    <a:pt x="846" y="1221"/>
                  </a:lnTo>
                  <a:lnTo>
                    <a:pt x="847" y="1218"/>
                  </a:lnTo>
                  <a:lnTo>
                    <a:pt x="842" y="1212"/>
                  </a:lnTo>
                  <a:lnTo>
                    <a:pt x="842" y="1210"/>
                  </a:lnTo>
                  <a:lnTo>
                    <a:pt x="842" y="1208"/>
                  </a:lnTo>
                  <a:lnTo>
                    <a:pt x="842" y="1207"/>
                  </a:lnTo>
                  <a:lnTo>
                    <a:pt x="846" y="1207"/>
                  </a:lnTo>
                  <a:lnTo>
                    <a:pt x="847" y="1208"/>
                  </a:lnTo>
                  <a:lnTo>
                    <a:pt x="851" y="1210"/>
                  </a:lnTo>
                  <a:lnTo>
                    <a:pt x="855" y="1210"/>
                  </a:lnTo>
                  <a:lnTo>
                    <a:pt x="860" y="1210"/>
                  </a:lnTo>
                  <a:lnTo>
                    <a:pt x="864" y="1208"/>
                  </a:lnTo>
                  <a:lnTo>
                    <a:pt x="866" y="1207"/>
                  </a:lnTo>
                  <a:lnTo>
                    <a:pt x="867" y="1201"/>
                  </a:lnTo>
                  <a:lnTo>
                    <a:pt x="867" y="1199"/>
                  </a:lnTo>
                  <a:lnTo>
                    <a:pt x="862" y="1196"/>
                  </a:lnTo>
                  <a:lnTo>
                    <a:pt x="857" y="1192"/>
                  </a:lnTo>
                  <a:lnTo>
                    <a:pt x="855" y="1190"/>
                  </a:lnTo>
                  <a:lnTo>
                    <a:pt x="853" y="1187"/>
                  </a:lnTo>
                  <a:lnTo>
                    <a:pt x="853" y="1183"/>
                  </a:lnTo>
                  <a:lnTo>
                    <a:pt x="855" y="1179"/>
                  </a:lnTo>
                  <a:lnTo>
                    <a:pt x="857" y="1176"/>
                  </a:lnTo>
                  <a:lnTo>
                    <a:pt x="857" y="1174"/>
                  </a:lnTo>
                  <a:lnTo>
                    <a:pt x="855" y="1172"/>
                  </a:lnTo>
                  <a:lnTo>
                    <a:pt x="853" y="1170"/>
                  </a:lnTo>
                  <a:lnTo>
                    <a:pt x="849" y="1170"/>
                  </a:lnTo>
                  <a:lnTo>
                    <a:pt x="847" y="1172"/>
                  </a:lnTo>
                  <a:lnTo>
                    <a:pt x="844" y="1174"/>
                  </a:lnTo>
                  <a:lnTo>
                    <a:pt x="840" y="1179"/>
                  </a:lnTo>
                  <a:lnTo>
                    <a:pt x="838" y="1183"/>
                  </a:lnTo>
                  <a:lnTo>
                    <a:pt x="833" y="1179"/>
                  </a:lnTo>
                  <a:lnTo>
                    <a:pt x="829" y="1178"/>
                  </a:lnTo>
                  <a:lnTo>
                    <a:pt x="826" y="1178"/>
                  </a:lnTo>
                  <a:lnTo>
                    <a:pt x="822" y="1179"/>
                  </a:lnTo>
                  <a:lnTo>
                    <a:pt x="817" y="1185"/>
                  </a:lnTo>
                  <a:lnTo>
                    <a:pt x="808" y="1192"/>
                  </a:lnTo>
                  <a:lnTo>
                    <a:pt x="804" y="1189"/>
                  </a:lnTo>
                  <a:lnTo>
                    <a:pt x="802" y="1185"/>
                  </a:lnTo>
                  <a:lnTo>
                    <a:pt x="802" y="1181"/>
                  </a:lnTo>
                  <a:lnTo>
                    <a:pt x="800" y="1179"/>
                  </a:lnTo>
                  <a:lnTo>
                    <a:pt x="797" y="1178"/>
                  </a:lnTo>
                  <a:lnTo>
                    <a:pt x="793" y="1176"/>
                  </a:lnTo>
                  <a:lnTo>
                    <a:pt x="791" y="1176"/>
                  </a:lnTo>
                  <a:lnTo>
                    <a:pt x="789" y="1178"/>
                  </a:lnTo>
                  <a:lnTo>
                    <a:pt x="788" y="1179"/>
                  </a:lnTo>
                  <a:lnTo>
                    <a:pt x="788" y="1183"/>
                  </a:lnTo>
                  <a:lnTo>
                    <a:pt x="788" y="1189"/>
                  </a:lnTo>
                  <a:lnTo>
                    <a:pt x="789" y="1190"/>
                  </a:lnTo>
                  <a:lnTo>
                    <a:pt x="789" y="1192"/>
                  </a:lnTo>
                  <a:lnTo>
                    <a:pt x="793" y="1198"/>
                  </a:lnTo>
                  <a:lnTo>
                    <a:pt x="793" y="1199"/>
                  </a:lnTo>
                  <a:lnTo>
                    <a:pt x="793" y="1201"/>
                  </a:lnTo>
                  <a:lnTo>
                    <a:pt x="793" y="1203"/>
                  </a:lnTo>
                  <a:lnTo>
                    <a:pt x="789" y="1205"/>
                  </a:lnTo>
                  <a:lnTo>
                    <a:pt x="786" y="1207"/>
                  </a:lnTo>
                  <a:lnTo>
                    <a:pt x="784" y="1207"/>
                  </a:lnTo>
                  <a:lnTo>
                    <a:pt x="784" y="1205"/>
                  </a:lnTo>
                  <a:lnTo>
                    <a:pt x="782" y="1205"/>
                  </a:lnTo>
                  <a:lnTo>
                    <a:pt x="780" y="1199"/>
                  </a:lnTo>
                  <a:lnTo>
                    <a:pt x="780" y="1198"/>
                  </a:lnTo>
                  <a:lnTo>
                    <a:pt x="778" y="1196"/>
                  </a:lnTo>
                  <a:lnTo>
                    <a:pt x="777" y="1196"/>
                  </a:lnTo>
                  <a:lnTo>
                    <a:pt x="773" y="1196"/>
                  </a:lnTo>
                  <a:lnTo>
                    <a:pt x="769" y="1196"/>
                  </a:lnTo>
                  <a:lnTo>
                    <a:pt x="764" y="1199"/>
                  </a:lnTo>
                  <a:lnTo>
                    <a:pt x="759" y="1201"/>
                  </a:lnTo>
                  <a:lnTo>
                    <a:pt x="751" y="1210"/>
                  </a:lnTo>
                  <a:lnTo>
                    <a:pt x="748" y="1216"/>
                  </a:lnTo>
                  <a:lnTo>
                    <a:pt x="746" y="1219"/>
                  </a:lnTo>
                  <a:lnTo>
                    <a:pt x="746" y="1223"/>
                  </a:lnTo>
                  <a:lnTo>
                    <a:pt x="748" y="1225"/>
                  </a:lnTo>
                  <a:lnTo>
                    <a:pt x="753" y="1228"/>
                  </a:lnTo>
                  <a:lnTo>
                    <a:pt x="755" y="1230"/>
                  </a:lnTo>
                  <a:lnTo>
                    <a:pt x="757" y="1232"/>
                  </a:lnTo>
                  <a:lnTo>
                    <a:pt x="759" y="1236"/>
                  </a:lnTo>
                  <a:lnTo>
                    <a:pt x="759" y="1239"/>
                  </a:lnTo>
                  <a:close/>
                  <a:moveTo>
                    <a:pt x="811" y="1156"/>
                  </a:moveTo>
                  <a:lnTo>
                    <a:pt x="811" y="1152"/>
                  </a:lnTo>
                  <a:lnTo>
                    <a:pt x="813" y="1150"/>
                  </a:lnTo>
                  <a:lnTo>
                    <a:pt x="818" y="1147"/>
                  </a:lnTo>
                  <a:lnTo>
                    <a:pt x="826" y="1141"/>
                  </a:lnTo>
                  <a:lnTo>
                    <a:pt x="827" y="1140"/>
                  </a:lnTo>
                  <a:lnTo>
                    <a:pt x="831" y="1136"/>
                  </a:lnTo>
                  <a:lnTo>
                    <a:pt x="833" y="1130"/>
                  </a:lnTo>
                  <a:lnTo>
                    <a:pt x="837" y="1125"/>
                  </a:lnTo>
                  <a:lnTo>
                    <a:pt x="840" y="1118"/>
                  </a:lnTo>
                  <a:lnTo>
                    <a:pt x="842" y="1116"/>
                  </a:lnTo>
                  <a:lnTo>
                    <a:pt x="844" y="1114"/>
                  </a:lnTo>
                  <a:lnTo>
                    <a:pt x="849" y="1111"/>
                  </a:lnTo>
                  <a:lnTo>
                    <a:pt x="851" y="1111"/>
                  </a:lnTo>
                  <a:lnTo>
                    <a:pt x="853" y="1111"/>
                  </a:lnTo>
                  <a:lnTo>
                    <a:pt x="853" y="1112"/>
                  </a:lnTo>
                  <a:lnTo>
                    <a:pt x="851" y="1118"/>
                  </a:lnTo>
                  <a:lnTo>
                    <a:pt x="849" y="1121"/>
                  </a:lnTo>
                  <a:lnTo>
                    <a:pt x="849" y="1123"/>
                  </a:lnTo>
                  <a:lnTo>
                    <a:pt x="851" y="1127"/>
                  </a:lnTo>
                  <a:lnTo>
                    <a:pt x="855" y="1129"/>
                  </a:lnTo>
                  <a:lnTo>
                    <a:pt x="862" y="1129"/>
                  </a:lnTo>
                  <a:lnTo>
                    <a:pt x="866" y="1129"/>
                  </a:lnTo>
                  <a:lnTo>
                    <a:pt x="869" y="1130"/>
                  </a:lnTo>
                  <a:lnTo>
                    <a:pt x="871" y="1130"/>
                  </a:lnTo>
                  <a:lnTo>
                    <a:pt x="871" y="1132"/>
                  </a:lnTo>
                  <a:lnTo>
                    <a:pt x="873" y="1138"/>
                  </a:lnTo>
                  <a:lnTo>
                    <a:pt x="871" y="1141"/>
                  </a:lnTo>
                  <a:lnTo>
                    <a:pt x="871" y="1143"/>
                  </a:lnTo>
                  <a:lnTo>
                    <a:pt x="866" y="1145"/>
                  </a:lnTo>
                  <a:lnTo>
                    <a:pt x="858" y="1145"/>
                  </a:lnTo>
                  <a:lnTo>
                    <a:pt x="855" y="1145"/>
                  </a:lnTo>
                  <a:lnTo>
                    <a:pt x="853" y="1147"/>
                  </a:lnTo>
                  <a:lnTo>
                    <a:pt x="849" y="1150"/>
                  </a:lnTo>
                  <a:lnTo>
                    <a:pt x="847" y="1154"/>
                  </a:lnTo>
                  <a:lnTo>
                    <a:pt x="846" y="1160"/>
                  </a:lnTo>
                  <a:lnTo>
                    <a:pt x="842" y="1161"/>
                  </a:lnTo>
                  <a:lnTo>
                    <a:pt x="840" y="1163"/>
                  </a:lnTo>
                  <a:lnTo>
                    <a:pt x="838" y="1163"/>
                  </a:lnTo>
                  <a:lnTo>
                    <a:pt x="835" y="1161"/>
                  </a:lnTo>
                  <a:lnTo>
                    <a:pt x="833" y="1160"/>
                  </a:lnTo>
                  <a:lnTo>
                    <a:pt x="831" y="1158"/>
                  </a:lnTo>
                  <a:lnTo>
                    <a:pt x="829" y="1160"/>
                  </a:lnTo>
                  <a:lnTo>
                    <a:pt x="827" y="1161"/>
                  </a:lnTo>
                  <a:lnTo>
                    <a:pt x="818" y="1163"/>
                  </a:lnTo>
                  <a:lnTo>
                    <a:pt x="813" y="1161"/>
                  </a:lnTo>
                  <a:lnTo>
                    <a:pt x="813" y="1160"/>
                  </a:lnTo>
                  <a:lnTo>
                    <a:pt x="811" y="1156"/>
                  </a:lnTo>
                  <a:close/>
                  <a:moveTo>
                    <a:pt x="249" y="1414"/>
                  </a:moveTo>
                  <a:lnTo>
                    <a:pt x="249" y="1415"/>
                  </a:lnTo>
                  <a:lnTo>
                    <a:pt x="247" y="1417"/>
                  </a:lnTo>
                  <a:lnTo>
                    <a:pt x="240" y="1419"/>
                  </a:lnTo>
                  <a:lnTo>
                    <a:pt x="234" y="1421"/>
                  </a:lnTo>
                  <a:lnTo>
                    <a:pt x="230" y="1424"/>
                  </a:lnTo>
                  <a:lnTo>
                    <a:pt x="230" y="1426"/>
                  </a:lnTo>
                  <a:lnTo>
                    <a:pt x="230" y="1430"/>
                  </a:lnTo>
                  <a:lnTo>
                    <a:pt x="230" y="1434"/>
                  </a:lnTo>
                  <a:lnTo>
                    <a:pt x="232" y="1435"/>
                  </a:lnTo>
                  <a:lnTo>
                    <a:pt x="234" y="1437"/>
                  </a:lnTo>
                  <a:lnTo>
                    <a:pt x="240" y="1439"/>
                  </a:lnTo>
                  <a:lnTo>
                    <a:pt x="245" y="1439"/>
                  </a:lnTo>
                  <a:lnTo>
                    <a:pt x="250" y="1439"/>
                  </a:lnTo>
                  <a:lnTo>
                    <a:pt x="254" y="1435"/>
                  </a:lnTo>
                  <a:lnTo>
                    <a:pt x="263" y="1428"/>
                  </a:lnTo>
                  <a:lnTo>
                    <a:pt x="269" y="1424"/>
                  </a:lnTo>
                  <a:lnTo>
                    <a:pt x="272" y="1424"/>
                  </a:lnTo>
                  <a:lnTo>
                    <a:pt x="278" y="1424"/>
                  </a:lnTo>
                  <a:lnTo>
                    <a:pt x="283" y="1424"/>
                  </a:lnTo>
                  <a:lnTo>
                    <a:pt x="298" y="1426"/>
                  </a:lnTo>
                  <a:lnTo>
                    <a:pt x="303" y="1424"/>
                  </a:lnTo>
                  <a:lnTo>
                    <a:pt x="308" y="1421"/>
                  </a:lnTo>
                  <a:lnTo>
                    <a:pt x="308" y="1419"/>
                  </a:lnTo>
                  <a:lnTo>
                    <a:pt x="310" y="1415"/>
                  </a:lnTo>
                  <a:lnTo>
                    <a:pt x="310" y="1410"/>
                  </a:lnTo>
                  <a:lnTo>
                    <a:pt x="308" y="1404"/>
                  </a:lnTo>
                  <a:lnTo>
                    <a:pt x="305" y="1399"/>
                  </a:lnTo>
                  <a:lnTo>
                    <a:pt x="303" y="1395"/>
                  </a:lnTo>
                  <a:lnTo>
                    <a:pt x="299" y="1394"/>
                  </a:lnTo>
                  <a:lnTo>
                    <a:pt x="298" y="1392"/>
                  </a:lnTo>
                  <a:lnTo>
                    <a:pt x="296" y="1392"/>
                  </a:lnTo>
                  <a:lnTo>
                    <a:pt x="292" y="1392"/>
                  </a:lnTo>
                  <a:lnTo>
                    <a:pt x="289" y="1394"/>
                  </a:lnTo>
                  <a:lnTo>
                    <a:pt x="283" y="1395"/>
                  </a:lnTo>
                  <a:lnTo>
                    <a:pt x="276" y="1395"/>
                  </a:lnTo>
                  <a:lnTo>
                    <a:pt x="270" y="1395"/>
                  </a:lnTo>
                  <a:lnTo>
                    <a:pt x="259" y="1395"/>
                  </a:lnTo>
                  <a:lnTo>
                    <a:pt x="256" y="1397"/>
                  </a:lnTo>
                  <a:lnTo>
                    <a:pt x="254" y="1399"/>
                  </a:lnTo>
                  <a:lnTo>
                    <a:pt x="252" y="1401"/>
                  </a:lnTo>
                  <a:lnTo>
                    <a:pt x="250" y="1403"/>
                  </a:lnTo>
                  <a:lnTo>
                    <a:pt x="250" y="1404"/>
                  </a:lnTo>
                  <a:lnTo>
                    <a:pt x="249" y="1414"/>
                  </a:lnTo>
                  <a:close/>
                  <a:moveTo>
                    <a:pt x="174" y="1444"/>
                  </a:moveTo>
                  <a:lnTo>
                    <a:pt x="169" y="1448"/>
                  </a:lnTo>
                  <a:lnTo>
                    <a:pt x="167" y="1450"/>
                  </a:lnTo>
                  <a:lnTo>
                    <a:pt x="165" y="1452"/>
                  </a:lnTo>
                  <a:lnTo>
                    <a:pt x="167" y="1453"/>
                  </a:lnTo>
                  <a:lnTo>
                    <a:pt x="172" y="1457"/>
                  </a:lnTo>
                  <a:lnTo>
                    <a:pt x="176" y="1459"/>
                  </a:lnTo>
                  <a:lnTo>
                    <a:pt x="178" y="1459"/>
                  </a:lnTo>
                  <a:lnTo>
                    <a:pt x="183" y="1457"/>
                  </a:lnTo>
                  <a:lnTo>
                    <a:pt x="185" y="1455"/>
                  </a:lnTo>
                  <a:lnTo>
                    <a:pt x="185" y="1453"/>
                  </a:lnTo>
                  <a:lnTo>
                    <a:pt x="183" y="1453"/>
                  </a:lnTo>
                  <a:lnTo>
                    <a:pt x="180" y="1452"/>
                  </a:lnTo>
                  <a:lnTo>
                    <a:pt x="180" y="1448"/>
                  </a:lnTo>
                  <a:lnTo>
                    <a:pt x="180" y="1446"/>
                  </a:lnTo>
                  <a:lnTo>
                    <a:pt x="178" y="1444"/>
                  </a:lnTo>
                  <a:lnTo>
                    <a:pt x="174" y="1444"/>
                  </a:lnTo>
                  <a:close/>
                  <a:moveTo>
                    <a:pt x="127" y="1457"/>
                  </a:moveTo>
                  <a:lnTo>
                    <a:pt x="122" y="1457"/>
                  </a:lnTo>
                  <a:lnTo>
                    <a:pt x="114" y="1459"/>
                  </a:lnTo>
                  <a:lnTo>
                    <a:pt x="111" y="1461"/>
                  </a:lnTo>
                  <a:lnTo>
                    <a:pt x="111" y="1463"/>
                  </a:lnTo>
                  <a:lnTo>
                    <a:pt x="111" y="1464"/>
                  </a:lnTo>
                  <a:lnTo>
                    <a:pt x="111" y="1468"/>
                  </a:lnTo>
                  <a:lnTo>
                    <a:pt x="116" y="1472"/>
                  </a:lnTo>
                  <a:lnTo>
                    <a:pt x="120" y="1475"/>
                  </a:lnTo>
                  <a:lnTo>
                    <a:pt x="123" y="1479"/>
                  </a:lnTo>
                  <a:lnTo>
                    <a:pt x="123" y="1481"/>
                  </a:lnTo>
                  <a:lnTo>
                    <a:pt x="123" y="1484"/>
                  </a:lnTo>
                  <a:lnTo>
                    <a:pt x="120" y="1486"/>
                  </a:lnTo>
                  <a:lnTo>
                    <a:pt x="118" y="1483"/>
                  </a:lnTo>
                  <a:lnTo>
                    <a:pt x="118" y="1481"/>
                  </a:lnTo>
                  <a:lnTo>
                    <a:pt x="113" y="1479"/>
                  </a:lnTo>
                  <a:lnTo>
                    <a:pt x="111" y="1479"/>
                  </a:lnTo>
                  <a:lnTo>
                    <a:pt x="109" y="1481"/>
                  </a:lnTo>
                  <a:lnTo>
                    <a:pt x="107" y="1483"/>
                  </a:lnTo>
                  <a:lnTo>
                    <a:pt x="107" y="1484"/>
                  </a:lnTo>
                  <a:lnTo>
                    <a:pt x="107" y="1490"/>
                  </a:lnTo>
                  <a:lnTo>
                    <a:pt x="107" y="1492"/>
                  </a:lnTo>
                  <a:lnTo>
                    <a:pt x="105" y="1493"/>
                  </a:lnTo>
                  <a:lnTo>
                    <a:pt x="103" y="1495"/>
                  </a:lnTo>
                  <a:lnTo>
                    <a:pt x="100" y="1497"/>
                  </a:lnTo>
                  <a:lnTo>
                    <a:pt x="91" y="1497"/>
                  </a:lnTo>
                  <a:lnTo>
                    <a:pt x="78" y="1497"/>
                  </a:lnTo>
                  <a:lnTo>
                    <a:pt x="73" y="1499"/>
                  </a:lnTo>
                  <a:lnTo>
                    <a:pt x="69" y="1499"/>
                  </a:lnTo>
                  <a:lnTo>
                    <a:pt x="67" y="1501"/>
                  </a:lnTo>
                  <a:lnTo>
                    <a:pt x="65" y="1502"/>
                  </a:lnTo>
                  <a:lnTo>
                    <a:pt x="64" y="1506"/>
                  </a:lnTo>
                  <a:lnTo>
                    <a:pt x="65" y="1508"/>
                  </a:lnTo>
                  <a:lnTo>
                    <a:pt x="67" y="1510"/>
                  </a:lnTo>
                  <a:lnTo>
                    <a:pt x="71" y="1512"/>
                  </a:lnTo>
                  <a:lnTo>
                    <a:pt x="74" y="1512"/>
                  </a:lnTo>
                  <a:lnTo>
                    <a:pt x="78" y="1510"/>
                  </a:lnTo>
                  <a:lnTo>
                    <a:pt x="85" y="1504"/>
                  </a:lnTo>
                  <a:lnTo>
                    <a:pt x="91" y="1502"/>
                  </a:lnTo>
                  <a:lnTo>
                    <a:pt x="96" y="1501"/>
                  </a:lnTo>
                  <a:lnTo>
                    <a:pt x="102" y="1501"/>
                  </a:lnTo>
                  <a:lnTo>
                    <a:pt x="109" y="1501"/>
                  </a:lnTo>
                  <a:lnTo>
                    <a:pt x="114" y="1501"/>
                  </a:lnTo>
                  <a:lnTo>
                    <a:pt x="120" y="1501"/>
                  </a:lnTo>
                  <a:lnTo>
                    <a:pt x="125" y="1497"/>
                  </a:lnTo>
                  <a:lnTo>
                    <a:pt x="131" y="1493"/>
                  </a:lnTo>
                  <a:lnTo>
                    <a:pt x="136" y="1490"/>
                  </a:lnTo>
                  <a:lnTo>
                    <a:pt x="142" y="1488"/>
                  </a:lnTo>
                  <a:lnTo>
                    <a:pt x="154" y="1484"/>
                  </a:lnTo>
                  <a:lnTo>
                    <a:pt x="158" y="1481"/>
                  </a:lnTo>
                  <a:lnTo>
                    <a:pt x="162" y="1475"/>
                  </a:lnTo>
                  <a:lnTo>
                    <a:pt x="162" y="1473"/>
                  </a:lnTo>
                  <a:lnTo>
                    <a:pt x="160" y="1472"/>
                  </a:lnTo>
                  <a:lnTo>
                    <a:pt x="156" y="1472"/>
                  </a:lnTo>
                  <a:lnTo>
                    <a:pt x="147" y="1477"/>
                  </a:lnTo>
                  <a:lnTo>
                    <a:pt x="142" y="1477"/>
                  </a:lnTo>
                  <a:lnTo>
                    <a:pt x="142" y="1475"/>
                  </a:lnTo>
                  <a:lnTo>
                    <a:pt x="145" y="1472"/>
                  </a:lnTo>
                  <a:lnTo>
                    <a:pt x="151" y="1470"/>
                  </a:lnTo>
                  <a:lnTo>
                    <a:pt x="154" y="1468"/>
                  </a:lnTo>
                  <a:lnTo>
                    <a:pt x="156" y="1466"/>
                  </a:lnTo>
                  <a:lnTo>
                    <a:pt x="156" y="1464"/>
                  </a:lnTo>
                  <a:lnTo>
                    <a:pt x="154" y="1463"/>
                  </a:lnTo>
                  <a:lnTo>
                    <a:pt x="151" y="1461"/>
                  </a:lnTo>
                  <a:lnTo>
                    <a:pt x="149" y="1463"/>
                  </a:lnTo>
                  <a:lnTo>
                    <a:pt x="145" y="1464"/>
                  </a:lnTo>
                  <a:lnTo>
                    <a:pt x="143" y="1466"/>
                  </a:lnTo>
                  <a:lnTo>
                    <a:pt x="140" y="1470"/>
                  </a:lnTo>
                  <a:lnTo>
                    <a:pt x="138" y="1470"/>
                  </a:lnTo>
                  <a:lnTo>
                    <a:pt x="136" y="1470"/>
                  </a:lnTo>
                  <a:lnTo>
                    <a:pt x="134" y="1468"/>
                  </a:lnTo>
                  <a:lnTo>
                    <a:pt x="134" y="1466"/>
                  </a:lnTo>
                  <a:lnTo>
                    <a:pt x="134" y="1464"/>
                  </a:lnTo>
                  <a:lnTo>
                    <a:pt x="134" y="1461"/>
                  </a:lnTo>
                  <a:lnTo>
                    <a:pt x="134" y="1459"/>
                  </a:lnTo>
                  <a:lnTo>
                    <a:pt x="134" y="1457"/>
                  </a:lnTo>
                  <a:lnTo>
                    <a:pt x="132" y="1457"/>
                  </a:lnTo>
                  <a:lnTo>
                    <a:pt x="127" y="1457"/>
                  </a:lnTo>
                  <a:close/>
                  <a:moveTo>
                    <a:pt x="49" y="1481"/>
                  </a:moveTo>
                  <a:lnTo>
                    <a:pt x="44" y="1483"/>
                  </a:lnTo>
                  <a:lnTo>
                    <a:pt x="38" y="1486"/>
                  </a:lnTo>
                  <a:lnTo>
                    <a:pt x="34" y="1492"/>
                  </a:lnTo>
                  <a:lnTo>
                    <a:pt x="33" y="1495"/>
                  </a:lnTo>
                  <a:lnTo>
                    <a:pt x="33" y="1499"/>
                  </a:lnTo>
                  <a:lnTo>
                    <a:pt x="33" y="1501"/>
                  </a:lnTo>
                  <a:lnTo>
                    <a:pt x="33" y="1502"/>
                  </a:lnTo>
                  <a:lnTo>
                    <a:pt x="31" y="1504"/>
                  </a:lnTo>
                  <a:lnTo>
                    <a:pt x="27" y="1504"/>
                  </a:lnTo>
                  <a:lnTo>
                    <a:pt x="25" y="1502"/>
                  </a:lnTo>
                  <a:lnTo>
                    <a:pt x="22" y="1502"/>
                  </a:lnTo>
                  <a:lnTo>
                    <a:pt x="20" y="1502"/>
                  </a:lnTo>
                  <a:lnTo>
                    <a:pt x="16" y="1502"/>
                  </a:lnTo>
                  <a:lnTo>
                    <a:pt x="15" y="1504"/>
                  </a:lnTo>
                  <a:lnTo>
                    <a:pt x="11" y="1510"/>
                  </a:lnTo>
                  <a:lnTo>
                    <a:pt x="5" y="1519"/>
                  </a:lnTo>
                  <a:lnTo>
                    <a:pt x="2" y="1522"/>
                  </a:lnTo>
                  <a:lnTo>
                    <a:pt x="0" y="1526"/>
                  </a:lnTo>
                  <a:lnTo>
                    <a:pt x="0" y="1528"/>
                  </a:lnTo>
                  <a:lnTo>
                    <a:pt x="2" y="1528"/>
                  </a:lnTo>
                  <a:lnTo>
                    <a:pt x="9" y="1526"/>
                  </a:lnTo>
                  <a:lnTo>
                    <a:pt x="20" y="1522"/>
                  </a:lnTo>
                  <a:lnTo>
                    <a:pt x="25" y="1519"/>
                  </a:lnTo>
                  <a:lnTo>
                    <a:pt x="31" y="1515"/>
                  </a:lnTo>
                  <a:lnTo>
                    <a:pt x="38" y="1508"/>
                  </a:lnTo>
                  <a:lnTo>
                    <a:pt x="42" y="1506"/>
                  </a:lnTo>
                  <a:lnTo>
                    <a:pt x="45" y="1502"/>
                  </a:lnTo>
                  <a:lnTo>
                    <a:pt x="54" y="1501"/>
                  </a:lnTo>
                  <a:lnTo>
                    <a:pt x="60" y="1497"/>
                  </a:lnTo>
                  <a:lnTo>
                    <a:pt x="64" y="1495"/>
                  </a:lnTo>
                  <a:lnTo>
                    <a:pt x="65" y="1493"/>
                  </a:lnTo>
                  <a:lnTo>
                    <a:pt x="67" y="1492"/>
                  </a:lnTo>
                  <a:lnTo>
                    <a:pt x="67" y="1486"/>
                  </a:lnTo>
                  <a:lnTo>
                    <a:pt x="64" y="1483"/>
                  </a:lnTo>
                  <a:lnTo>
                    <a:pt x="62" y="1481"/>
                  </a:lnTo>
                  <a:lnTo>
                    <a:pt x="60" y="1479"/>
                  </a:lnTo>
                  <a:lnTo>
                    <a:pt x="56" y="1479"/>
                  </a:lnTo>
                  <a:lnTo>
                    <a:pt x="54" y="1481"/>
                  </a:lnTo>
                  <a:lnTo>
                    <a:pt x="49" y="1481"/>
                  </a:lnTo>
                  <a:close/>
                </a:path>
              </a:pathLst>
            </a:custGeom>
            <a:solidFill>
              <a:srgbClr val="2E2E38"/>
            </a:solidFill>
            <a:ln w="3175" cap="flat" cmpd="sng" algn="ctr">
              <a:solidFill>
                <a:srgbClr val="747480"/>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646464"/>
                </a:solidFill>
                <a:effectLst/>
                <a:uLnTx/>
                <a:uFillTx/>
                <a:cs typeface="Times New Roman" panose="02020603050405020304" pitchFamily="18" charset="0"/>
              </a:endParaRPr>
            </a:p>
          </p:txBody>
        </p:sp>
        <p:sp>
          <p:nvSpPr>
            <p:cNvPr id="76" name="Freeform 169">
              <a:extLst>
                <a:ext uri="{FF2B5EF4-FFF2-40B4-BE49-F238E27FC236}">
                  <a16:creationId xmlns:a16="http://schemas.microsoft.com/office/drawing/2014/main" id="{EE64DACC-50C7-CA8D-685A-DEBDD885F619}"/>
                </a:ext>
              </a:extLst>
            </p:cNvPr>
            <p:cNvSpPr>
              <a:spLocks noEditPoints="1"/>
            </p:cNvSpPr>
            <p:nvPr/>
          </p:nvSpPr>
          <p:spPr bwMode="auto">
            <a:xfrm>
              <a:off x="3843653" y="5928726"/>
              <a:ext cx="511924" cy="325457"/>
            </a:xfrm>
            <a:custGeom>
              <a:avLst/>
              <a:gdLst/>
              <a:ahLst/>
              <a:cxnLst>
                <a:cxn ang="0">
                  <a:pos x="737" y="382"/>
                </a:cxn>
                <a:cxn ang="0">
                  <a:pos x="769" y="362"/>
                </a:cxn>
                <a:cxn ang="0">
                  <a:pos x="749" y="363"/>
                </a:cxn>
                <a:cxn ang="0">
                  <a:pos x="29" y="77"/>
                </a:cxn>
                <a:cxn ang="0">
                  <a:pos x="4" y="77"/>
                </a:cxn>
                <a:cxn ang="0">
                  <a:pos x="9" y="102"/>
                </a:cxn>
                <a:cxn ang="0">
                  <a:pos x="169" y="75"/>
                </a:cxn>
                <a:cxn ang="0">
                  <a:pos x="191" y="26"/>
                </a:cxn>
                <a:cxn ang="0">
                  <a:pos x="180" y="6"/>
                </a:cxn>
                <a:cxn ang="0">
                  <a:pos x="125" y="8"/>
                </a:cxn>
                <a:cxn ang="0">
                  <a:pos x="89" y="42"/>
                </a:cxn>
                <a:cxn ang="0">
                  <a:pos x="116" y="59"/>
                </a:cxn>
                <a:cxn ang="0">
                  <a:pos x="485" y="202"/>
                </a:cxn>
                <a:cxn ang="0">
                  <a:pos x="519" y="215"/>
                </a:cxn>
                <a:cxn ang="0">
                  <a:pos x="532" y="198"/>
                </a:cxn>
                <a:cxn ang="0">
                  <a:pos x="499" y="173"/>
                </a:cxn>
                <a:cxn ang="0">
                  <a:pos x="470" y="122"/>
                </a:cxn>
                <a:cxn ang="0">
                  <a:pos x="439" y="144"/>
                </a:cxn>
                <a:cxn ang="0">
                  <a:pos x="405" y="147"/>
                </a:cxn>
                <a:cxn ang="0">
                  <a:pos x="425" y="175"/>
                </a:cxn>
                <a:cxn ang="0">
                  <a:pos x="450" y="207"/>
                </a:cxn>
                <a:cxn ang="0">
                  <a:pos x="626" y="225"/>
                </a:cxn>
                <a:cxn ang="0">
                  <a:pos x="601" y="253"/>
                </a:cxn>
                <a:cxn ang="0">
                  <a:pos x="633" y="253"/>
                </a:cxn>
                <a:cxn ang="0">
                  <a:pos x="690" y="264"/>
                </a:cxn>
                <a:cxn ang="0">
                  <a:pos x="722" y="249"/>
                </a:cxn>
                <a:cxn ang="0">
                  <a:pos x="706" y="235"/>
                </a:cxn>
                <a:cxn ang="0">
                  <a:pos x="699" y="325"/>
                </a:cxn>
                <a:cxn ang="0">
                  <a:pos x="691" y="294"/>
                </a:cxn>
                <a:cxn ang="0">
                  <a:pos x="657" y="293"/>
                </a:cxn>
                <a:cxn ang="0">
                  <a:pos x="677" y="313"/>
                </a:cxn>
                <a:cxn ang="0">
                  <a:pos x="688" y="333"/>
                </a:cxn>
                <a:cxn ang="0">
                  <a:pos x="866" y="314"/>
                </a:cxn>
                <a:cxn ang="0">
                  <a:pos x="875" y="338"/>
                </a:cxn>
                <a:cxn ang="0">
                  <a:pos x="840" y="356"/>
                </a:cxn>
                <a:cxn ang="0">
                  <a:pos x="795" y="369"/>
                </a:cxn>
                <a:cxn ang="0">
                  <a:pos x="780" y="333"/>
                </a:cxn>
                <a:cxn ang="0">
                  <a:pos x="755" y="320"/>
                </a:cxn>
                <a:cxn ang="0">
                  <a:pos x="733" y="293"/>
                </a:cxn>
                <a:cxn ang="0">
                  <a:pos x="749" y="265"/>
                </a:cxn>
                <a:cxn ang="0">
                  <a:pos x="780" y="289"/>
                </a:cxn>
                <a:cxn ang="0">
                  <a:pos x="1051" y="509"/>
                </a:cxn>
                <a:cxn ang="0">
                  <a:pos x="1067" y="545"/>
                </a:cxn>
                <a:cxn ang="0">
                  <a:pos x="1085" y="565"/>
                </a:cxn>
                <a:cxn ang="0">
                  <a:pos x="1118" y="596"/>
                </a:cxn>
                <a:cxn ang="0">
                  <a:pos x="1105" y="625"/>
                </a:cxn>
                <a:cxn ang="0">
                  <a:pos x="1038" y="654"/>
                </a:cxn>
                <a:cxn ang="0">
                  <a:pos x="994" y="676"/>
                </a:cxn>
                <a:cxn ang="0">
                  <a:pos x="955" y="725"/>
                </a:cxn>
                <a:cxn ang="0">
                  <a:pos x="929" y="717"/>
                </a:cxn>
                <a:cxn ang="0">
                  <a:pos x="896" y="681"/>
                </a:cxn>
                <a:cxn ang="0">
                  <a:pos x="880" y="585"/>
                </a:cxn>
                <a:cxn ang="0">
                  <a:pos x="866" y="547"/>
                </a:cxn>
                <a:cxn ang="0">
                  <a:pos x="900" y="498"/>
                </a:cxn>
                <a:cxn ang="0">
                  <a:pos x="896" y="461"/>
                </a:cxn>
                <a:cxn ang="0">
                  <a:pos x="902" y="434"/>
                </a:cxn>
                <a:cxn ang="0">
                  <a:pos x="960" y="454"/>
                </a:cxn>
              </a:cxnLst>
              <a:rect l="0" t="0" r="r" b="b"/>
              <a:pathLst>
                <a:path w="1120" h="730">
                  <a:moveTo>
                    <a:pt x="748" y="367"/>
                  </a:moveTo>
                  <a:lnTo>
                    <a:pt x="742" y="371"/>
                  </a:lnTo>
                  <a:lnTo>
                    <a:pt x="737" y="374"/>
                  </a:lnTo>
                  <a:lnTo>
                    <a:pt x="735" y="376"/>
                  </a:lnTo>
                  <a:lnTo>
                    <a:pt x="735" y="378"/>
                  </a:lnTo>
                  <a:lnTo>
                    <a:pt x="735" y="380"/>
                  </a:lnTo>
                  <a:lnTo>
                    <a:pt x="737" y="382"/>
                  </a:lnTo>
                  <a:lnTo>
                    <a:pt x="749" y="382"/>
                  </a:lnTo>
                  <a:lnTo>
                    <a:pt x="762" y="380"/>
                  </a:lnTo>
                  <a:lnTo>
                    <a:pt x="769" y="376"/>
                  </a:lnTo>
                  <a:lnTo>
                    <a:pt x="771" y="374"/>
                  </a:lnTo>
                  <a:lnTo>
                    <a:pt x="771" y="371"/>
                  </a:lnTo>
                  <a:lnTo>
                    <a:pt x="771" y="367"/>
                  </a:lnTo>
                  <a:lnTo>
                    <a:pt x="769" y="362"/>
                  </a:lnTo>
                  <a:lnTo>
                    <a:pt x="768" y="362"/>
                  </a:lnTo>
                  <a:lnTo>
                    <a:pt x="764" y="360"/>
                  </a:lnTo>
                  <a:lnTo>
                    <a:pt x="762" y="360"/>
                  </a:lnTo>
                  <a:lnTo>
                    <a:pt x="759" y="360"/>
                  </a:lnTo>
                  <a:lnTo>
                    <a:pt x="755" y="360"/>
                  </a:lnTo>
                  <a:lnTo>
                    <a:pt x="753" y="362"/>
                  </a:lnTo>
                  <a:lnTo>
                    <a:pt x="749" y="363"/>
                  </a:lnTo>
                  <a:lnTo>
                    <a:pt x="748" y="367"/>
                  </a:lnTo>
                  <a:close/>
                  <a:moveTo>
                    <a:pt x="16" y="82"/>
                  </a:moveTo>
                  <a:lnTo>
                    <a:pt x="18" y="78"/>
                  </a:lnTo>
                  <a:lnTo>
                    <a:pt x="20" y="78"/>
                  </a:lnTo>
                  <a:lnTo>
                    <a:pt x="24" y="77"/>
                  </a:lnTo>
                  <a:lnTo>
                    <a:pt x="27" y="77"/>
                  </a:lnTo>
                  <a:lnTo>
                    <a:pt x="29" y="77"/>
                  </a:lnTo>
                  <a:lnTo>
                    <a:pt x="31" y="75"/>
                  </a:lnTo>
                  <a:lnTo>
                    <a:pt x="35" y="71"/>
                  </a:lnTo>
                  <a:lnTo>
                    <a:pt x="35" y="62"/>
                  </a:lnTo>
                  <a:lnTo>
                    <a:pt x="33" y="49"/>
                  </a:lnTo>
                  <a:lnTo>
                    <a:pt x="15" y="66"/>
                  </a:lnTo>
                  <a:lnTo>
                    <a:pt x="5" y="73"/>
                  </a:lnTo>
                  <a:lnTo>
                    <a:pt x="4" y="77"/>
                  </a:lnTo>
                  <a:lnTo>
                    <a:pt x="0" y="82"/>
                  </a:lnTo>
                  <a:lnTo>
                    <a:pt x="0" y="88"/>
                  </a:lnTo>
                  <a:lnTo>
                    <a:pt x="0" y="93"/>
                  </a:lnTo>
                  <a:lnTo>
                    <a:pt x="2" y="98"/>
                  </a:lnTo>
                  <a:lnTo>
                    <a:pt x="4" y="100"/>
                  </a:lnTo>
                  <a:lnTo>
                    <a:pt x="5" y="100"/>
                  </a:lnTo>
                  <a:lnTo>
                    <a:pt x="9" y="102"/>
                  </a:lnTo>
                  <a:lnTo>
                    <a:pt x="11" y="100"/>
                  </a:lnTo>
                  <a:lnTo>
                    <a:pt x="13" y="98"/>
                  </a:lnTo>
                  <a:lnTo>
                    <a:pt x="15" y="95"/>
                  </a:lnTo>
                  <a:lnTo>
                    <a:pt x="16" y="82"/>
                  </a:lnTo>
                  <a:close/>
                  <a:moveTo>
                    <a:pt x="152" y="80"/>
                  </a:moveTo>
                  <a:lnTo>
                    <a:pt x="162" y="78"/>
                  </a:lnTo>
                  <a:lnTo>
                    <a:pt x="169" y="75"/>
                  </a:lnTo>
                  <a:lnTo>
                    <a:pt x="172" y="71"/>
                  </a:lnTo>
                  <a:lnTo>
                    <a:pt x="174" y="69"/>
                  </a:lnTo>
                  <a:lnTo>
                    <a:pt x="178" y="66"/>
                  </a:lnTo>
                  <a:lnTo>
                    <a:pt x="180" y="62"/>
                  </a:lnTo>
                  <a:lnTo>
                    <a:pt x="185" y="48"/>
                  </a:lnTo>
                  <a:lnTo>
                    <a:pt x="189" y="31"/>
                  </a:lnTo>
                  <a:lnTo>
                    <a:pt x="191" y="26"/>
                  </a:lnTo>
                  <a:lnTo>
                    <a:pt x="191" y="22"/>
                  </a:lnTo>
                  <a:lnTo>
                    <a:pt x="189" y="19"/>
                  </a:lnTo>
                  <a:lnTo>
                    <a:pt x="189" y="17"/>
                  </a:lnTo>
                  <a:lnTo>
                    <a:pt x="189" y="15"/>
                  </a:lnTo>
                  <a:lnTo>
                    <a:pt x="187" y="11"/>
                  </a:lnTo>
                  <a:lnTo>
                    <a:pt x="183" y="8"/>
                  </a:lnTo>
                  <a:lnTo>
                    <a:pt x="180" y="6"/>
                  </a:lnTo>
                  <a:lnTo>
                    <a:pt x="176" y="2"/>
                  </a:lnTo>
                  <a:lnTo>
                    <a:pt x="171" y="2"/>
                  </a:lnTo>
                  <a:lnTo>
                    <a:pt x="167" y="0"/>
                  </a:lnTo>
                  <a:lnTo>
                    <a:pt x="160" y="2"/>
                  </a:lnTo>
                  <a:lnTo>
                    <a:pt x="143" y="6"/>
                  </a:lnTo>
                  <a:lnTo>
                    <a:pt x="132" y="8"/>
                  </a:lnTo>
                  <a:lnTo>
                    <a:pt x="125" y="8"/>
                  </a:lnTo>
                  <a:lnTo>
                    <a:pt x="122" y="10"/>
                  </a:lnTo>
                  <a:lnTo>
                    <a:pt x="118" y="11"/>
                  </a:lnTo>
                  <a:lnTo>
                    <a:pt x="109" y="17"/>
                  </a:lnTo>
                  <a:lnTo>
                    <a:pt x="103" y="24"/>
                  </a:lnTo>
                  <a:lnTo>
                    <a:pt x="96" y="31"/>
                  </a:lnTo>
                  <a:lnTo>
                    <a:pt x="91" y="39"/>
                  </a:lnTo>
                  <a:lnTo>
                    <a:pt x="89" y="42"/>
                  </a:lnTo>
                  <a:lnTo>
                    <a:pt x="89" y="48"/>
                  </a:lnTo>
                  <a:lnTo>
                    <a:pt x="91" y="51"/>
                  </a:lnTo>
                  <a:lnTo>
                    <a:pt x="94" y="53"/>
                  </a:lnTo>
                  <a:lnTo>
                    <a:pt x="98" y="55"/>
                  </a:lnTo>
                  <a:lnTo>
                    <a:pt x="102" y="55"/>
                  </a:lnTo>
                  <a:lnTo>
                    <a:pt x="111" y="57"/>
                  </a:lnTo>
                  <a:lnTo>
                    <a:pt x="116" y="59"/>
                  </a:lnTo>
                  <a:lnTo>
                    <a:pt x="120" y="60"/>
                  </a:lnTo>
                  <a:lnTo>
                    <a:pt x="127" y="66"/>
                  </a:lnTo>
                  <a:lnTo>
                    <a:pt x="134" y="73"/>
                  </a:lnTo>
                  <a:lnTo>
                    <a:pt x="142" y="78"/>
                  </a:lnTo>
                  <a:lnTo>
                    <a:pt x="147" y="80"/>
                  </a:lnTo>
                  <a:lnTo>
                    <a:pt x="152" y="80"/>
                  </a:lnTo>
                  <a:close/>
                  <a:moveTo>
                    <a:pt x="485" y="202"/>
                  </a:moveTo>
                  <a:lnTo>
                    <a:pt x="490" y="202"/>
                  </a:lnTo>
                  <a:lnTo>
                    <a:pt x="494" y="204"/>
                  </a:lnTo>
                  <a:lnTo>
                    <a:pt x="501" y="209"/>
                  </a:lnTo>
                  <a:lnTo>
                    <a:pt x="504" y="211"/>
                  </a:lnTo>
                  <a:lnTo>
                    <a:pt x="508" y="215"/>
                  </a:lnTo>
                  <a:lnTo>
                    <a:pt x="514" y="215"/>
                  </a:lnTo>
                  <a:lnTo>
                    <a:pt x="519" y="215"/>
                  </a:lnTo>
                  <a:lnTo>
                    <a:pt x="524" y="215"/>
                  </a:lnTo>
                  <a:lnTo>
                    <a:pt x="528" y="213"/>
                  </a:lnTo>
                  <a:lnTo>
                    <a:pt x="530" y="211"/>
                  </a:lnTo>
                  <a:lnTo>
                    <a:pt x="532" y="209"/>
                  </a:lnTo>
                  <a:lnTo>
                    <a:pt x="534" y="206"/>
                  </a:lnTo>
                  <a:lnTo>
                    <a:pt x="534" y="204"/>
                  </a:lnTo>
                  <a:lnTo>
                    <a:pt x="532" y="198"/>
                  </a:lnTo>
                  <a:lnTo>
                    <a:pt x="530" y="195"/>
                  </a:lnTo>
                  <a:lnTo>
                    <a:pt x="526" y="191"/>
                  </a:lnTo>
                  <a:lnTo>
                    <a:pt x="524" y="189"/>
                  </a:lnTo>
                  <a:lnTo>
                    <a:pt x="517" y="184"/>
                  </a:lnTo>
                  <a:lnTo>
                    <a:pt x="510" y="180"/>
                  </a:lnTo>
                  <a:lnTo>
                    <a:pt x="503" y="176"/>
                  </a:lnTo>
                  <a:lnTo>
                    <a:pt x="499" y="173"/>
                  </a:lnTo>
                  <a:lnTo>
                    <a:pt x="497" y="169"/>
                  </a:lnTo>
                  <a:lnTo>
                    <a:pt x="492" y="160"/>
                  </a:lnTo>
                  <a:lnTo>
                    <a:pt x="483" y="140"/>
                  </a:lnTo>
                  <a:lnTo>
                    <a:pt x="479" y="131"/>
                  </a:lnTo>
                  <a:lnTo>
                    <a:pt x="475" y="127"/>
                  </a:lnTo>
                  <a:lnTo>
                    <a:pt x="474" y="126"/>
                  </a:lnTo>
                  <a:lnTo>
                    <a:pt x="470" y="122"/>
                  </a:lnTo>
                  <a:lnTo>
                    <a:pt x="466" y="122"/>
                  </a:lnTo>
                  <a:lnTo>
                    <a:pt x="463" y="122"/>
                  </a:lnTo>
                  <a:lnTo>
                    <a:pt x="457" y="124"/>
                  </a:lnTo>
                  <a:lnTo>
                    <a:pt x="454" y="126"/>
                  </a:lnTo>
                  <a:lnTo>
                    <a:pt x="450" y="129"/>
                  </a:lnTo>
                  <a:lnTo>
                    <a:pt x="445" y="137"/>
                  </a:lnTo>
                  <a:lnTo>
                    <a:pt x="439" y="144"/>
                  </a:lnTo>
                  <a:lnTo>
                    <a:pt x="436" y="146"/>
                  </a:lnTo>
                  <a:lnTo>
                    <a:pt x="430" y="147"/>
                  </a:lnTo>
                  <a:lnTo>
                    <a:pt x="426" y="147"/>
                  </a:lnTo>
                  <a:lnTo>
                    <a:pt x="423" y="147"/>
                  </a:lnTo>
                  <a:lnTo>
                    <a:pt x="412" y="146"/>
                  </a:lnTo>
                  <a:lnTo>
                    <a:pt x="408" y="146"/>
                  </a:lnTo>
                  <a:lnTo>
                    <a:pt x="405" y="147"/>
                  </a:lnTo>
                  <a:lnTo>
                    <a:pt x="401" y="149"/>
                  </a:lnTo>
                  <a:lnTo>
                    <a:pt x="401" y="153"/>
                  </a:lnTo>
                  <a:lnTo>
                    <a:pt x="401" y="157"/>
                  </a:lnTo>
                  <a:lnTo>
                    <a:pt x="405" y="158"/>
                  </a:lnTo>
                  <a:lnTo>
                    <a:pt x="412" y="166"/>
                  </a:lnTo>
                  <a:lnTo>
                    <a:pt x="421" y="173"/>
                  </a:lnTo>
                  <a:lnTo>
                    <a:pt x="425" y="175"/>
                  </a:lnTo>
                  <a:lnTo>
                    <a:pt x="428" y="178"/>
                  </a:lnTo>
                  <a:lnTo>
                    <a:pt x="432" y="187"/>
                  </a:lnTo>
                  <a:lnTo>
                    <a:pt x="436" y="196"/>
                  </a:lnTo>
                  <a:lnTo>
                    <a:pt x="437" y="200"/>
                  </a:lnTo>
                  <a:lnTo>
                    <a:pt x="441" y="204"/>
                  </a:lnTo>
                  <a:lnTo>
                    <a:pt x="445" y="206"/>
                  </a:lnTo>
                  <a:lnTo>
                    <a:pt x="450" y="207"/>
                  </a:lnTo>
                  <a:lnTo>
                    <a:pt x="454" y="207"/>
                  </a:lnTo>
                  <a:lnTo>
                    <a:pt x="459" y="207"/>
                  </a:lnTo>
                  <a:lnTo>
                    <a:pt x="468" y="206"/>
                  </a:lnTo>
                  <a:lnTo>
                    <a:pt x="485" y="202"/>
                  </a:lnTo>
                  <a:close/>
                  <a:moveTo>
                    <a:pt x="653" y="231"/>
                  </a:moveTo>
                  <a:lnTo>
                    <a:pt x="637" y="227"/>
                  </a:lnTo>
                  <a:lnTo>
                    <a:pt x="626" y="225"/>
                  </a:lnTo>
                  <a:lnTo>
                    <a:pt x="622" y="225"/>
                  </a:lnTo>
                  <a:lnTo>
                    <a:pt x="621" y="225"/>
                  </a:lnTo>
                  <a:lnTo>
                    <a:pt x="617" y="229"/>
                  </a:lnTo>
                  <a:lnTo>
                    <a:pt x="610" y="236"/>
                  </a:lnTo>
                  <a:lnTo>
                    <a:pt x="604" y="245"/>
                  </a:lnTo>
                  <a:lnTo>
                    <a:pt x="602" y="249"/>
                  </a:lnTo>
                  <a:lnTo>
                    <a:pt x="601" y="253"/>
                  </a:lnTo>
                  <a:lnTo>
                    <a:pt x="602" y="253"/>
                  </a:lnTo>
                  <a:lnTo>
                    <a:pt x="602" y="255"/>
                  </a:lnTo>
                  <a:lnTo>
                    <a:pt x="606" y="256"/>
                  </a:lnTo>
                  <a:lnTo>
                    <a:pt x="610" y="256"/>
                  </a:lnTo>
                  <a:lnTo>
                    <a:pt x="615" y="256"/>
                  </a:lnTo>
                  <a:lnTo>
                    <a:pt x="624" y="253"/>
                  </a:lnTo>
                  <a:lnTo>
                    <a:pt x="633" y="253"/>
                  </a:lnTo>
                  <a:lnTo>
                    <a:pt x="641" y="251"/>
                  </a:lnTo>
                  <a:lnTo>
                    <a:pt x="648" y="253"/>
                  </a:lnTo>
                  <a:lnTo>
                    <a:pt x="657" y="253"/>
                  </a:lnTo>
                  <a:lnTo>
                    <a:pt x="664" y="256"/>
                  </a:lnTo>
                  <a:lnTo>
                    <a:pt x="671" y="258"/>
                  </a:lnTo>
                  <a:lnTo>
                    <a:pt x="681" y="262"/>
                  </a:lnTo>
                  <a:lnTo>
                    <a:pt x="690" y="264"/>
                  </a:lnTo>
                  <a:lnTo>
                    <a:pt x="697" y="265"/>
                  </a:lnTo>
                  <a:lnTo>
                    <a:pt x="702" y="267"/>
                  </a:lnTo>
                  <a:lnTo>
                    <a:pt x="704" y="267"/>
                  </a:lnTo>
                  <a:lnTo>
                    <a:pt x="706" y="265"/>
                  </a:lnTo>
                  <a:lnTo>
                    <a:pt x="708" y="262"/>
                  </a:lnTo>
                  <a:lnTo>
                    <a:pt x="715" y="256"/>
                  </a:lnTo>
                  <a:lnTo>
                    <a:pt x="722" y="249"/>
                  </a:lnTo>
                  <a:lnTo>
                    <a:pt x="724" y="245"/>
                  </a:lnTo>
                  <a:lnTo>
                    <a:pt x="724" y="244"/>
                  </a:lnTo>
                  <a:lnTo>
                    <a:pt x="722" y="240"/>
                  </a:lnTo>
                  <a:lnTo>
                    <a:pt x="720" y="238"/>
                  </a:lnTo>
                  <a:lnTo>
                    <a:pt x="719" y="236"/>
                  </a:lnTo>
                  <a:lnTo>
                    <a:pt x="715" y="236"/>
                  </a:lnTo>
                  <a:lnTo>
                    <a:pt x="706" y="235"/>
                  </a:lnTo>
                  <a:lnTo>
                    <a:pt x="697" y="233"/>
                  </a:lnTo>
                  <a:lnTo>
                    <a:pt x="686" y="233"/>
                  </a:lnTo>
                  <a:lnTo>
                    <a:pt x="671" y="233"/>
                  </a:lnTo>
                  <a:lnTo>
                    <a:pt x="653" y="231"/>
                  </a:lnTo>
                  <a:close/>
                  <a:moveTo>
                    <a:pt x="688" y="333"/>
                  </a:moveTo>
                  <a:lnTo>
                    <a:pt x="693" y="329"/>
                  </a:lnTo>
                  <a:lnTo>
                    <a:pt x="699" y="325"/>
                  </a:lnTo>
                  <a:lnTo>
                    <a:pt x="700" y="322"/>
                  </a:lnTo>
                  <a:lnTo>
                    <a:pt x="702" y="318"/>
                  </a:lnTo>
                  <a:lnTo>
                    <a:pt x="702" y="314"/>
                  </a:lnTo>
                  <a:lnTo>
                    <a:pt x="702" y="309"/>
                  </a:lnTo>
                  <a:lnTo>
                    <a:pt x="699" y="302"/>
                  </a:lnTo>
                  <a:lnTo>
                    <a:pt x="695" y="298"/>
                  </a:lnTo>
                  <a:lnTo>
                    <a:pt x="691" y="294"/>
                  </a:lnTo>
                  <a:lnTo>
                    <a:pt x="688" y="291"/>
                  </a:lnTo>
                  <a:lnTo>
                    <a:pt x="682" y="289"/>
                  </a:lnTo>
                  <a:lnTo>
                    <a:pt x="679" y="287"/>
                  </a:lnTo>
                  <a:lnTo>
                    <a:pt x="673" y="287"/>
                  </a:lnTo>
                  <a:lnTo>
                    <a:pt x="668" y="287"/>
                  </a:lnTo>
                  <a:lnTo>
                    <a:pt x="662" y="289"/>
                  </a:lnTo>
                  <a:lnTo>
                    <a:pt x="657" y="293"/>
                  </a:lnTo>
                  <a:lnTo>
                    <a:pt x="655" y="296"/>
                  </a:lnTo>
                  <a:lnTo>
                    <a:pt x="655" y="298"/>
                  </a:lnTo>
                  <a:lnTo>
                    <a:pt x="655" y="300"/>
                  </a:lnTo>
                  <a:lnTo>
                    <a:pt x="661" y="302"/>
                  </a:lnTo>
                  <a:lnTo>
                    <a:pt x="671" y="307"/>
                  </a:lnTo>
                  <a:lnTo>
                    <a:pt x="675" y="309"/>
                  </a:lnTo>
                  <a:lnTo>
                    <a:pt x="677" y="313"/>
                  </a:lnTo>
                  <a:lnTo>
                    <a:pt x="677" y="316"/>
                  </a:lnTo>
                  <a:lnTo>
                    <a:pt x="677" y="320"/>
                  </a:lnTo>
                  <a:lnTo>
                    <a:pt x="673" y="329"/>
                  </a:lnTo>
                  <a:lnTo>
                    <a:pt x="673" y="333"/>
                  </a:lnTo>
                  <a:lnTo>
                    <a:pt x="675" y="334"/>
                  </a:lnTo>
                  <a:lnTo>
                    <a:pt x="681" y="334"/>
                  </a:lnTo>
                  <a:lnTo>
                    <a:pt x="688" y="333"/>
                  </a:lnTo>
                  <a:close/>
                  <a:moveTo>
                    <a:pt x="788" y="293"/>
                  </a:moveTo>
                  <a:lnTo>
                    <a:pt x="808" y="294"/>
                  </a:lnTo>
                  <a:lnTo>
                    <a:pt x="826" y="296"/>
                  </a:lnTo>
                  <a:lnTo>
                    <a:pt x="833" y="300"/>
                  </a:lnTo>
                  <a:lnTo>
                    <a:pt x="840" y="302"/>
                  </a:lnTo>
                  <a:lnTo>
                    <a:pt x="857" y="309"/>
                  </a:lnTo>
                  <a:lnTo>
                    <a:pt x="866" y="314"/>
                  </a:lnTo>
                  <a:lnTo>
                    <a:pt x="871" y="318"/>
                  </a:lnTo>
                  <a:lnTo>
                    <a:pt x="875" y="322"/>
                  </a:lnTo>
                  <a:lnTo>
                    <a:pt x="876" y="325"/>
                  </a:lnTo>
                  <a:lnTo>
                    <a:pt x="876" y="329"/>
                  </a:lnTo>
                  <a:lnTo>
                    <a:pt x="876" y="334"/>
                  </a:lnTo>
                  <a:lnTo>
                    <a:pt x="876" y="336"/>
                  </a:lnTo>
                  <a:lnTo>
                    <a:pt x="875" y="338"/>
                  </a:lnTo>
                  <a:lnTo>
                    <a:pt x="873" y="342"/>
                  </a:lnTo>
                  <a:lnTo>
                    <a:pt x="867" y="349"/>
                  </a:lnTo>
                  <a:lnTo>
                    <a:pt x="858" y="353"/>
                  </a:lnTo>
                  <a:lnTo>
                    <a:pt x="855" y="354"/>
                  </a:lnTo>
                  <a:lnTo>
                    <a:pt x="851" y="356"/>
                  </a:lnTo>
                  <a:lnTo>
                    <a:pt x="846" y="356"/>
                  </a:lnTo>
                  <a:lnTo>
                    <a:pt x="840" y="356"/>
                  </a:lnTo>
                  <a:lnTo>
                    <a:pt x="835" y="356"/>
                  </a:lnTo>
                  <a:lnTo>
                    <a:pt x="829" y="356"/>
                  </a:lnTo>
                  <a:lnTo>
                    <a:pt x="822" y="358"/>
                  </a:lnTo>
                  <a:lnTo>
                    <a:pt x="815" y="362"/>
                  </a:lnTo>
                  <a:lnTo>
                    <a:pt x="808" y="365"/>
                  </a:lnTo>
                  <a:lnTo>
                    <a:pt x="802" y="369"/>
                  </a:lnTo>
                  <a:lnTo>
                    <a:pt x="795" y="369"/>
                  </a:lnTo>
                  <a:lnTo>
                    <a:pt x="789" y="367"/>
                  </a:lnTo>
                  <a:lnTo>
                    <a:pt x="786" y="363"/>
                  </a:lnTo>
                  <a:lnTo>
                    <a:pt x="784" y="360"/>
                  </a:lnTo>
                  <a:lnTo>
                    <a:pt x="782" y="356"/>
                  </a:lnTo>
                  <a:lnTo>
                    <a:pt x="780" y="351"/>
                  </a:lnTo>
                  <a:lnTo>
                    <a:pt x="780" y="340"/>
                  </a:lnTo>
                  <a:lnTo>
                    <a:pt x="780" y="333"/>
                  </a:lnTo>
                  <a:lnTo>
                    <a:pt x="779" y="329"/>
                  </a:lnTo>
                  <a:lnTo>
                    <a:pt x="779" y="327"/>
                  </a:lnTo>
                  <a:lnTo>
                    <a:pt x="777" y="323"/>
                  </a:lnTo>
                  <a:lnTo>
                    <a:pt x="775" y="322"/>
                  </a:lnTo>
                  <a:lnTo>
                    <a:pt x="771" y="322"/>
                  </a:lnTo>
                  <a:lnTo>
                    <a:pt x="768" y="322"/>
                  </a:lnTo>
                  <a:lnTo>
                    <a:pt x="755" y="320"/>
                  </a:lnTo>
                  <a:lnTo>
                    <a:pt x="749" y="318"/>
                  </a:lnTo>
                  <a:lnTo>
                    <a:pt x="744" y="316"/>
                  </a:lnTo>
                  <a:lnTo>
                    <a:pt x="740" y="313"/>
                  </a:lnTo>
                  <a:lnTo>
                    <a:pt x="739" y="309"/>
                  </a:lnTo>
                  <a:lnTo>
                    <a:pt x="735" y="304"/>
                  </a:lnTo>
                  <a:lnTo>
                    <a:pt x="735" y="298"/>
                  </a:lnTo>
                  <a:lnTo>
                    <a:pt x="733" y="293"/>
                  </a:lnTo>
                  <a:lnTo>
                    <a:pt x="733" y="287"/>
                  </a:lnTo>
                  <a:lnTo>
                    <a:pt x="733" y="282"/>
                  </a:lnTo>
                  <a:lnTo>
                    <a:pt x="735" y="276"/>
                  </a:lnTo>
                  <a:lnTo>
                    <a:pt x="737" y="271"/>
                  </a:lnTo>
                  <a:lnTo>
                    <a:pt x="740" y="267"/>
                  </a:lnTo>
                  <a:lnTo>
                    <a:pt x="744" y="265"/>
                  </a:lnTo>
                  <a:lnTo>
                    <a:pt x="749" y="265"/>
                  </a:lnTo>
                  <a:lnTo>
                    <a:pt x="755" y="267"/>
                  </a:lnTo>
                  <a:lnTo>
                    <a:pt x="762" y="271"/>
                  </a:lnTo>
                  <a:lnTo>
                    <a:pt x="766" y="273"/>
                  </a:lnTo>
                  <a:lnTo>
                    <a:pt x="769" y="276"/>
                  </a:lnTo>
                  <a:lnTo>
                    <a:pt x="775" y="284"/>
                  </a:lnTo>
                  <a:lnTo>
                    <a:pt x="777" y="285"/>
                  </a:lnTo>
                  <a:lnTo>
                    <a:pt x="780" y="289"/>
                  </a:lnTo>
                  <a:lnTo>
                    <a:pt x="784" y="291"/>
                  </a:lnTo>
                  <a:lnTo>
                    <a:pt x="788" y="293"/>
                  </a:lnTo>
                  <a:close/>
                  <a:moveTo>
                    <a:pt x="1000" y="480"/>
                  </a:moveTo>
                  <a:lnTo>
                    <a:pt x="1018" y="487"/>
                  </a:lnTo>
                  <a:lnTo>
                    <a:pt x="1038" y="498"/>
                  </a:lnTo>
                  <a:lnTo>
                    <a:pt x="1047" y="505"/>
                  </a:lnTo>
                  <a:lnTo>
                    <a:pt x="1051" y="509"/>
                  </a:lnTo>
                  <a:lnTo>
                    <a:pt x="1056" y="512"/>
                  </a:lnTo>
                  <a:lnTo>
                    <a:pt x="1062" y="519"/>
                  </a:lnTo>
                  <a:lnTo>
                    <a:pt x="1063" y="523"/>
                  </a:lnTo>
                  <a:lnTo>
                    <a:pt x="1065" y="527"/>
                  </a:lnTo>
                  <a:lnTo>
                    <a:pt x="1065" y="536"/>
                  </a:lnTo>
                  <a:lnTo>
                    <a:pt x="1067" y="541"/>
                  </a:lnTo>
                  <a:lnTo>
                    <a:pt x="1067" y="545"/>
                  </a:lnTo>
                  <a:lnTo>
                    <a:pt x="1071" y="549"/>
                  </a:lnTo>
                  <a:lnTo>
                    <a:pt x="1072" y="550"/>
                  </a:lnTo>
                  <a:lnTo>
                    <a:pt x="1076" y="550"/>
                  </a:lnTo>
                  <a:lnTo>
                    <a:pt x="1080" y="554"/>
                  </a:lnTo>
                  <a:lnTo>
                    <a:pt x="1082" y="556"/>
                  </a:lnTo>
                  <a:lnTo>
                    <a:pt x="1083" y="561"/>
                  </a:lnTo>
                  <a:lnTo>
                    <a:pt x="1085" y="565"/>
                  </a:lnTo>
                  <a:lnTo>
                    <a:pt x="1087" y="568"/>
                  </a:lnTo>
                  <a:lnTo>
                    <a:pt x="1091" y="572"/>
                  </a:lnTo>
                  <a:lnTo>
                    <a:pt x="1094" y="574"/>
                  </a:lnTo>
                  <a:lnTo>
                    <a:pt x="1102" y="579"/>
                  </a:lnTo>
                  <a:lnTo>
                    <a:pt x="1109" y="585"/>
                  </a:lnTo>
                  <a:lnTo>
                    <a:pt x="1114" y="592"/>
                  </a:lnTo>
                  <a:lnTo>
                    <a:pt x="1118" y="596"/>
                  </a:lnTo>
                  <a:lnTo>
                    <a:pt x="1120" y="599"/>
                  </a:lnTo>
                  <a:lnTo>
                    <a:pt x="1120" y="603"/>
                  </a:lnTo>
                  <a:lnTo>
                    <a:pt x="1120" y="607"/>
                  </a:lnTo>
                  <a:lnTo>
                    <a:pt x="1118" y="612"/>
                  </a:lnTo>
                  <a:lnTo>
                    <a:pt x="1114" y="616"/>
                  </a:lnTo>
                  <a:lnTo>
                    <a:pt x="1111" y="621"/>
                  </a:lnTo>
                  <a:lnTo>
                    <a:pt x="1105" y="625"/>
                  </a:lnTo>
                  <a:lnTo>
                    <a:pt x="1087" y="639"/>
                  </a:lnTo>
                  <a:lnTo>
                    <a:pt x="1078" y="647"/>
                  </a:lnTo>
                  <a:lnTo>
                    <a:pt x="1072" y="648"/>
                  </a:lnTo>
                  <a:lnTo>
                    <a:pt x="1069" y="650"/>
                  </a:lnTo>
                  <a:lnTo>
                    <a:pt x="1058" y="652"/>
                  </a:lnTo>
                  <a:lnTo>
                    <a:pt x="1049" y="654"/>
                  </a:lnTo>
                  <a:lnTo>
                    <a:pt x="1038" y="654"/>
                  </a:lnTo>
                  <a:lnTo>
                    <a:pt x="1029" y="656"/>
                  </a:lnTo>
                  <a:lnTo>
                    <a:pt x="1020" y="659"/>
                  </a:lnTo>
                  <a:lnTo>
                    <a:pt x="1016" y="661"/>
                  </a:lnTo>
                  <a:lnTo>
                    <a:pt x="1011" y="665"/>
                  </a:lnTo>
                  <a:lnTo>
                    <a:pt x="1007" y="668"/>
                  </a:lnTo>
                  <a:lnTo>
                    <a:pt x="1004" y="670"/>
                  </a:lnTo>
                  <a:lnTo>
                    <a:pt x="994" y="676"/>
                  </a:lnTo>
                  <a:lnTo>
                    <a:pt x="985" y="681"/>
                  </a:lnTo>
                  <a:lnTo>
                    <a:pt x="978" y="686"/>
                  </a:lnTo>
                  <a:lnTo>
                    <a:pt x="973" y="694"/>
                  </a:lnTo>
                  <a:lnTo>
                    <a:pt x="969" y="701"/>
                  </a:lnTo>
                  <a:lnTo>
                    <a:pt x="965" y="708"/>
                  </a:lnTo>
                  <a:lnTo>
                    <a:pt x="960" y="717"/>
                  </a:lnTo>
                  <a:lnTo>
                    <a:pt x="955" y="725"/>
                  </a:lnTo>
                  <a:lnTo>
                    <a:pt x="951" y="728"/>
                  </a:lnTo>
                  <a:lnTo>
                    <a:pt x="947" y="730"/>
                  </a:lnTo>
                  <a:lnTo>
                    <a:pt x="942" y="730"/>
                  </a:lnTo>
                  <a:lnTo>
                    <a:pt x="938" y="728"/>
                  </a:lnTo>
                  <a:lnTo>
                    <a:pt x="936" y="725"/>
                  </a:lnTo>
                  <a:lnTo>
                    <a:pt x="933" y="719"/>
                  </a:lnTo>
                  <a:lnTo>
                    <a:pt x="929" y="717"/>
                  </a:lnTo>
                  <a:lnTo>
                    <a:pt x="925" y="715"/>
                  </a:lnTo>
                  <a:lnTo>
                    <a:pt x="916" y="710"/>
                  </a:lnTo>
                  <a:lnTo>
                    <a:pt x="909" y="706"/>
                  </a:lnTo>
                  <a:lnTo>
                    <a:pt x="902" y="699"/>
                  </a:lnTo>
                  <a:lnTo>
                    <a:pt x="900" y="696"/>
                  </a:lnTo>
                  <a:lnTo>
                    <a:pt x="898" y="690"/>
                  </a:lnTo>
                  <a:lnTo>
                    <a:pt x="896" y="681"/>
                  </a:lnTo>
                  <a:lnTo>
                    <a:pt x="895" y="670"/>
                  </a:lnTo>
                  <a:lnTo>
                    <a:pt x="896" y="661"/>
                  </a:lnTo>
                  <a:lnTo>
                    <a:pt x="896" y="650"/>
                  </a:lnTo>
                  <a:lnTo>
                    <a:pt x="896" y="641"/>
                  </a:lnTo>
                  <a:lnTo>
                    <a:pt x="896" y="630"/>
                  </a:lnTo>
                  <a:lnTo>
                    <a:pt x="893" y="621"/>
                  </a:lnTo>
                  <a:lnTo>
                    <a:pt x="880" y="585"/>
                  </a:lnTo>
                  <a:lnTo>
                    <a:pt x="876" y="576"/>
                  </a:lnTo>
                  <a:lnTo>
                    <a:pt x="871" y="568"/>
                  </a:lnTo>
                  <a:lnTo>
                    <a:pt x="869" y="565"/>
                  </a:lnTo>
                  <a:lnTo>
                    <a:pt x="867" y="561"/>
                  </a:lnTo>
                  <a:lnTo>
                    <a:pt x="866" y="558"/>
                  </a:lnTo>
                  <a:lnTo>
                    <a:pt x="866" y="552"/>
                  </a:lnTo>
                  <a:lnTo>
                    <a:pt x="866" y="547"/>
                  </a:lnTo>
                  <a:lnTo>
                    <a:pt x="867" y="543"/>
                  </a:lnTo>
                  <a:lnTo>
                    <a:pt x="869" y="536"/>
                  </a:lnTo>
                  <a:lnTo>
                    <a:pt x="875" y="529"/>
                  </a:lnTo>
                  <a:lnTo>
                    <a:pt x="880" y="521"/>
                  </a:lnTo>
                  <a:lnTo>
                    <a:pt x="893" y="509"/>
                  </a:lnTo>
                  <a:lnTo>
                    <a:pt x="896" y="501"/>
                  </a:lnTo>
                  <a:lnTo>
                    <a:pt x="900" y="498"/>
                  </a:lnTo>
                  <a:lnTo>
                    <a:pt x="902" y="494"/>
                  </a:lnTo>
                  <a:lnTo>
                    <a:pt x="904" y="492"/>
                  </a:lnTo>
                  <a:lnTo>
                    <a:pt x="904" y="489"/>
                  </a:lnTo>
                  <a:lnTo>
                    <a:pt x="904" y="483"/>
                  </a:lnTo>
                  <a:lnTo>
                    <a:pt x="904" y="478"/>
                  </a:lnTo>
                  <a:lnTo>
                    <a:pt x="902" y="472"/>
                  </a:lnTo>
                  <a:lnTo>
                    <a:pt x="896" y="461"/>
                  </a:lnTo>
                  <a:lnTo>
                    <a:pt x="896" y="458"/>
                  </a:lnTo>
                  <a:lnTo>
                    <a:pt x="895" y="456"/>
                  </a:lnTo>
                  <a:lnTo>
                    <a:pt x="895" y="449"/>
                  </a:lnTo>
                  <a:lnTo>
                    <a:pt x="896" y="445"/>
                  </a:lnTo>
                  <a:lnTo>
                    <a:pt x="896" y="441"/>
                  </a:lnTo>
                  <a:lnTo>
                    <a:pt x="900" y="436"/>
                  </a:lnTo>
                  <a:lnTo>
                    <a:pt x="902" y="434"/>
                  </a:lnTo>
                  <a:lnTo>
                    <a:pt x="904" y="434"/>
                  </a:lnTo>
                  <a:lnTo>
                    <a:pt x="911" y="432"/>
                  </a:lnTo>
                  <a:lnTo>
                    <a:pt x="916" y="434"/>
                  </a:lnTo>
                  <a:lnTo>
                    <a:pt x="925" y="436"/>
                  </a:lnTo>
                  <a:lnTo>
                    <a:pt x="933" y="440"/>
                  </a:lnTo>
                  <a:lnTo>
                    <a:pt x="942" y="443"/>
                  </a:lnTo>
                  <a:lnTo>
                    <a:pt x="960" y="454"/>
                  </a:lnTo>
                  <a:lnTo>
                    <a:pt x="976" y="465"/>
                  </a:lnTo>
                  <a:lnTo>
                    <a:pt x="991" y="474"/>
                  </a:lnTo>
                  <a:lnTo>
                    <a:pt x="1000" y="480"/>
                  </a:lnTo>
                  <a:close/>
                </a:path>
              </a:pathLst>
            </a:custGeom>
            <a:solidFill>
              <a:srgbClr val="2E2E38"/>
            </a:solidFill>
            <a:ln w="3175" cap="flat" cmpd="sng" algn="ctr">
              <a:solidFill>
                <a:srgbClr val="747480"/>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646464"/>
                </a:solidFill>
                <a:effectLst/>
                <a:uLnTx/>
                <a:uFillTx/>
                <a:cs typeface="Times New Roman" panose="02020603050405020304" pitchFamily="18" charset="0"/>
              </a:endParaRPr>
            </a:p>
          </p:txBody>
        </p:sp>
        <p:sp>
          <p:nvSpPr>
            <p:cNvPr id="77" name="TextBox 76">
              <a:extLst>
                <a:ext uri="{FF2B5EF4-FFF2-40B4-BE49-F238E27FC236}">
                  <a16:creationId xmlns:a16="http://schemas.microsoft.com/office/drawing/2014/main" id="{39648DC6-101D-AA22-80A2-1E6BFA4AC54B}"/>
                </a:ext>
              </a:extLst>
            </p:cNvPr>
            <p:cNvSpPr txBox="1"/>
            <p:nvPr/>
          </p:nvSpPr>
          <p:spPr>
            <a:xfrm>
              <a:off x="3184428" y="3734680"/>
              <a:ext cx="153576" cy="92333"/>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schemeClr val="bg1"/>
                  </a:solidFill>
                  <a:effectLst/>
                  <a:uLnTx/>
                  <a:uFillTx/>
                  <a:cs typeface="Times New Roman" panose="02020603050405020304" pitchFamily="18" charset="0"/>
                </a:rPr>
                <a:t>WA</a:t>
              </a:r>
            </a:p>
          </p:txBody>
        </p:sp>
        <p:sp>
          <p:nvSpPr>
            <p:cNvPr id="78" name="TextBox 77">
              <a:extLst>
                <a:ext uri="{FF2B5EF4-FFF2-40B4-BE49-F238E27FC236}">
                  <a16:creationId xmlns:a16="http://schemas.microsoft.com/office/drawing/2014/main" id="{EDC1B6C6-7996-EA60-A4BF-65B313D37BE5}"/>
                </a:ext>
              </a:extLst>
            </p:cNvPr>
            <p:cNvSpPr txBox="1"/>
            <p:nvPr/>
          </p:nvSpPr>
          <p:spPr>
            <a:xfrm>
              <a:off x="3091475" y="4045871"/>
              <a:ext cx="153576" cy="92333"/>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schemeClr val="bg1"/>
                  </a:solidFill>
                  <a:effectLst/>
                  <a:uLnTx/>
                  <a:uFillTx/>
                  <a:cs typeface="Times New Roman" panose="02020603050405020304" pitchFamily="18" charset="0"/>
                </a:rPr>
                <a:t>OR</a:t>
              </a:r>
            </a:p>
          </p:txBody>
        </p:sp>
        <p:sp>
          <p:nvSpPr>
            <p:cNvPr id="79" name="TextBox 78">
              <a:extLst>
                <a:ext uri="{FF2B5EF4-FFF2-40B4-BE49-F238E27FC236}">
                  <a16:creationId xmlns:a16="http://schemas.microsoft.com/office/drawing/2014/main" id="{E05A5E59-2025-2C74-1201-94351B977626}"/>
                </a:ext>
              </a:extLst>
            </p:cNvPr>
            <p:cNvSpPr txBox="1"/>
            <p:nvPr/>
          </p:nvSpPr>
          <p:spPr>
            <a:xfrm>
              <a:off x="2954109" y="4703582"/>
              <a:ext cx="153576" cy="92333"/>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schemeClr val="bg1"/>
                  </a:solidFill>
                  <a:effectLst/>
                  <a:uLnTx/>
                  <a:uFillTx/>
                  <a:cs typeface="Times New Roman" panose="02020603050405020304" pitchFamily="18" charset="0"/>
                </a:rPr>
                <a:t>CA</a:t>
              </a:r>
            </a:p>
          </p:txBody>
        </p:sp>
        <p:sp>
          <p:nvSpPr>
            <p:cNvPr id="80" name="TextBox 79">
              <a:extLst>
                <a:ext uri="{FF2B5EF4-FFF2-40B4-BE49-F238E27FC236}">
                  <a16:creationId xmlns:a16="http://schemas.microsoft.com/office/drawing/2014/main" id="{66DB4861-0CAA-9A8E-E41A-1BBEB64EEC51}"/>
                </a:ext>
              </a:extLst>
            </p:cNvPr>
            <p:cNvSpPr txBox="1"/>
            <p:nvPr/>
          </p:nvSpPr>
          <p:spPr>
            <a:xfrm>
              <a:off x="3256316" y="4577639"/>
              <a:ext cx="153576" cy="92333"/>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schemeClr val="bg1"/>
                  </a:solidFill>
                  <a:effectLst/>
                  <a:uLnTx/>
                  <a:uFillTx/>
                  <a:cs typeface="Times New Roman" panose="02020603050405020304" pitchFamily="18" charset="0"/>
                </a:rPr>
                <a:t>NV</a:t>
              </a:r>
            </a:p>
          </p:txBody>
        </p:sp>
        <p:sp>
          <p:nvSpPr>
            <p:cNvPr id="81" name="TextBox 80">
              <a:extLst>
                <a:ext uri="{FF2B5EF4-FFF2-40B4-BE49-F238E27FC236}">
                  <a16:creationId xmlns:a16="http://schemas.microsoft.com/office/drawing/2014/main" id="{8499FC64-5189-20F9-389E-A7738490D7AB}"/>
                </a:ext>
              </a:extLst>
            </p:cNvPr>
            <p:cNvSpPr txBox="1"/>
            <p:nvPr/>
          </p:nvSpPr>
          <p:spPr>
            <a:xfrm>
              <a:off x="3529219" y="4196224"/>
              <a:ext cx="153576" cy="92333"/>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srgbClr val="2E2E38"/>
                  </a:solidFill>
                  <a:effectLst/>
                  <a:uLnTx/>
                  <a:uFillTx/>
                  <a:cs typeface="Times New Roman" panose="02020603050405020304" pitchFamily="18" charset="0"/>
                </a:rPr>
                <a:t>ID</a:t>
              </a:r>
            </a:p>
          </p:txBody>
        </p:sp>
        <p:sp>
          <p:nvSpPr>
            <p:cNvPr id="82" name="TextBox 81">
              <a:extLst>
                <a:ext uri="{FF2B5EF4-FFF2-40B4-BE49-F238E27FC236}">
                  <a16:creationId xmlns:a16="http://schemas.microsoft.com/office/drawing/2014/main" id="{B9D35E16-E9CB-D725-55B7-0DDFC4DD6F5A}"/>
                </a:ext>
              </a:extLst>
            </p:cNvPr>
            <p:cNvSpPr txBox="1"/>
            <p:nvPr/>
          </p:nvSpPr>
          <p:spPr>
            <a:xfrm>
              <a:off x="3537460" y="5151534"/>
              <a:ext cx="153576" cy="92333"/>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srgbClr val="2E2E38"/>
                  </a:solidFill>
                  <a:effectLst/>
                  <a:uLnTx/>
                  <a:uFillTx/>
                  <a:cs typeface="Times New Roman" panose="02020603050405020304" pitchFamily="18" charset="0"/>
                </a:rPr>
                <a:t>AZ</a:t>
              </a:r>
            </a:p>
          </p:txBody>
        </p:sp>
        <p:sp>
          <p:nvSpPr>
            <p:cNvPr id="83" name="TextBox 82">
              <a:extLst>
                <a:ext uri="{FF2B5EF4-FFF2-40B4-BE49-F238E27FC236}">
                  <a16:creationId xmlns:a16="http://schemas.microsoft.com/office/drawing/2014/main" id="{57A68C63-D293-69FF-7150-334870CC8906}"/>
                </a:ext>
              </a:extLst>
            </p:cNvPr>
            <p:cNvSpPr txBox="1"/>
            <p:nvPr/>
          </p:nvSpPr>
          <p:spPr>
            <a:xfrm>
              <a:off x="4011379" y="5189873"/>
              <a:ext cx="153576" cy="92333"/>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srgbClr val="2E2E38"/>
                  </a:solidFill>
                  <a:effectLst/>
                  <a:uLnTx/>
                  <a:uFillTx/>
                  <a:cs typeface="Times New Roman" panose="02020603050405020304" pitchFamily="18" charset="0"/>
                </a:rPr>
                <a:t>NM</a:t>
              </a:r>
            </a:p>
          </p:txBody>
        </p:sp>
        <p:sp>
          <p:nvSpPr>
            <p:cNvPr id="84" name="TextBox 83">
              <a:extLst>
                <a:ext uri="{FF2B5EF4-FFF2-40B4-BE49-F238E27FC236}">
                  <a16:creationId xmlns:a16="http://schemas.microsoft.com/office/drawing/2014/main" id="{BF3522CA-7484-CC48-0BCA-B308F90F049C}"/>
                </a:ext>
              </a:extLst>
            </p:cNvPr>
            <p:cNvSpPr txBox="1"/>
            <p:nvPr/>
          </p:nvSpPr>
          <p:spPr>
            <a:xfrm>
              <a:off x="4102958" y="4738248"/>
              <a:ext cx="153576" cy="92333"/>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srgbClr val="2E2E38"/>
                  </a:solidFill>
                  <a:effectLst/>
                  <a:uLnTx/>
                  <a:uFillTx/>
                  <a:cs typeface="Times New Roman" panose="02020603050405020304" pitchFamily="18" charset="0"/>
                </a:rPr>
                <a:t>CO</a:t>
              </a:r>
            </a:p>
          </p:txBody>
        </p:sp>
        <p:sp>
          <p:nvSpPr>
            <p:cNvPr id="85" name="TextBox 84">
              <a:extLst>
                <a:ext uri="{FF2B5EF4-FFF2-40B4-BE49-F238E27FC236}">
                  <a16:creationId xmlns:a16="http://schemas.microsoft.com/office/drawing/2014/main" id="{A3E5E97B-0C8A-0AEC-AEA9-0B23C748601E}"/>
                </a:ext>
              </a:extLst>
            </p:cNvPr>
            <p:cNvSpPr txBox="1"/>
            <p:nvPr/>
          </p:nvSpPr>
          <p:spPr>
            <a:xfrm>
              <a:off x="3640944" y="4631694"/>
              <a:ext cx="153576" cy="92333"/>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srgbClr val="2E2E38"/>
                  </a:solidFill>
                  <a:effectLst/>
                  <a:uLnTx/>
                  <a:uFillTx/>
                  <a:cs typeface="Times New Roman" panose="02020603050405020304" pitchFamily="18" charset="0"/>
                </a:rPr>
                <a:t>UT</a:t>
              </a:r>
            </a:p>
          </p:txBody>
        </p:sp>
        <p:sp>
          <p:nvSpPr>
            <p:cNvPr id="86" name="TextBox 85">
              <a:extLst>
                <a:ext uri="{FF2B5EF4-FFF2-40B4-BE49-F238E27FC236}">
                  <a16:creationId xmlns:a16="http://schemas.microsoft.com/office/drawing/2014/main" id="{A8ED9102-9232-277C-FDE1-444572AAD8C7}"/>
                </a:ext>
              </a:extLst>
            </p:cNvPr>
            <p:cNvSpPr txBox="1"/>
            <p:nvPr/>
          </p:nvSpPr>
          <p:spPr>
            <a:xfrm>
              <a:off x="4612131" y="5540299"/>
              <a:ext cx="153576" cy="92333"/>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srgbClr val="2E2E38"/>
                  </a:solidFill>
                  <a:effectLst/>
                  <a:uLnTx/>
                  <a:uFillTx/>
                  <a:cs typeface="Times New Roman" panose="02020603050405020304" pitchFamily="18" charset="0"/>
                </a:rPr>
                <a:t>TX</a:t>
              </a:r>
            </a:p>
          </p:txBody>
        </p:sp>
        <p:sp>
          <p:nvSpPr>
            <p:cNvPr id="87" name="TextBox 86">
              <a:extLst>
                <a:ext uri="{FF2B5EF4-FFF2-40B4-BE49-F238E27FC236}">
                  <a16:creationId xmlns:a16="http://schemas.microsoft.com/office/drawing/2014/main" id="{C3032735-19E1-424B-36DC-E4F4D85D4203}"/>
                </a:ext>
              </a:extLst>
            </p:cNvPr>
            <p:cNvSpPr txBox="1"/>
            <p:nvPr/>
          </p:nvSpPr>
          <p:spPr>
            <a:xfrm>
              <a:off x="3025860" y="5602159"/>
              <a:ext cx="153576" cy="92333"/>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schemeClr val="bg1"/>
                  </a:solidFill>
                  <a:effectLst/>
                  <a:uLnTx/>
                  <a:uFillTx/>
                  <a:cs typeface="Times New Roman" panose="02020603050405020304" pitchFamily="18" charset="0"/>
                </a:rPr>
                <a:t>AK</a:t>
              </a:r>
            </a:p>
          </p:txBody>
        </p:sp>
        <p:sp>
          <p:nvSpPr>
            <p:cNvPr id="88" name="TextBox 87">
              <a:extLst>
                <a:ext uri="{FF2B5EF4-FFF2-40B4-BE49-F238E27FC236}">
                  <a16:creationId xmlns:a16="http://schemas.microsoft.com/office/drawing/2014/main" id="{023A9598-D7BF-5A86-35B1-0575D4961E76}"/>
                </a:ext>
              </a:extLst>
            </p:cNvPr>
            <p:cNvSpPr txBox="1"/>
            <p:nvPr/>
          </p:nvSpPr>
          <p:spPr>
            <a:xfrm>
              <a:off x="4759572" y="5123335"/>
              <a:ext cx="153576" cy="92333"/>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srgbClr val="2E2E38"/>
                  </a:solidFill>
                  <a:effectLst/>
                  <a:uLnTx/>
                  <a:uFillTx/>
                  <a:cs typeface="Times New Roman" panose="02020603050405020304" pitchFamily="18" charset="0"/>
                </a:rPr>
                <a:t>OK</a:t>
              </a:r>
            </a:p>
          </p:txBody>
        </p:sp>
        <p:sp>
          <p:nvSpPr>
            <p:cNvPr id="89" name="TextBox 88">
              <a:extLst>
                <a:ext uri="{FF2B5EF4-FFF2-40B4-BE49-F238E27FC236}">
                  <a16:creationId xmlns:a16="http://schemas.microsoft.com/office/drawing/2014/main" id="{334300B1-BC5B-9FA2-5587-290543731453}"/>
                </a:ext>
              </a:extLst>
            </p:cNvPr>
            <p:cNvSpPr txBox="1"/>
            <p:nvPr/>
          </p:nvSpPr>
          <p:spPr>
            <a:xfrm>
              <a:off x="5147863" y="5193441"/>
              <a:ext cx="153576" cy="92333"/>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srgbClr val="2E2E38"/>
                  </a:solidFill>
                  <a:effectLst/>
                  <a:uLnTx/>
                  <a:uFillTx/>
                  <a:cs typeface="Times New Roman" panose="02020603050405020304" pitchFamily="18" charset="0"/>
                </a:rPr>
                <a:t>AR</a:t>
              </a:r>
            </a:p>
          </p:txBody>
        </p:sp>
        <p:sp>
          <p:nvSpPr>
            <p:cNvPr id="90" name="TextBox 89">
              <a:extLst>
                <a:ext uri="{FF2B5EF4-FFF2-40B4-BE49-F238E27FC236}">
                  <a16:creationId xmlns:a16="http://schemas.microsoft.com/office/drawing/2014/main" id="{F1345932-5ED7-FD86-0CF6-476612ED1FAD}"/>
                </a:ext>
              </a:extLst>
            </p:cNvPr>
            <p:cNvSpPr txBox="1"/>
            <p:nvPr/>
          </p:nvSpPr>
          <p:spPr>
            <a:xfrm>
              <a:off x="5156105" y="5541191"/>
              <a:ext cx="153576" cy="92333"/>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schemeClr val="bg1"/>
                  </a:solidFill>
                  <a:effectLst/>
                  <a:uLnTx/>
                  <a:uFillTx/>
                  <a:cs typeface="Times New Roman" panose="02020603050405020304" pitchFamily="18" charset="0"/>
                </a:rPr>
                <a:t>LA</a:t>
              </a:r>
            </a:p>
          </p:txBody>
        </p:sp>
        <p:sp>
          <p:nvSpPr>
            <p:cNvPr id="91" name="TextBox 90">
              <a:extLst>
                <a:ext uri="{FF2B5EF4-FFF2-40B4-BE49-F238E27FC236}">
                  <a16:creationId xmlns:a16="http://schemas.microsoft.com/office/drawing/2014/main" id="{4DEC8931-32AB-A407-6EF6-3F42793A446D}"/>
                </a:ext>
              </a:extLst>
            </p:cNvPr>
            <p:cNvSpPr txBox="1"/>
            <p:nvPr/>
          </p:nvSpPr>
          <p:spPr>
            <a:xfrm>
              <a:off x="5140537" y="4839899"/>
              <a:ext cx="153576" cy="92333"/>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schemeClr val="bg1"/>
                  </a:solidFill>
                  <a:effectLst/>
                  <a:uLnTx/>
                  <a:uFillTx/>
                  <a:cs typeface="Times New Roman" panose="02020603050405020304" pitchFamily="18" charset="0"/>
                </a:rPr>
                <a:t>MO</a:t>
              </a:r>
            </a:p>
          </p:txBody>
        </p:sp>
        <p:sp>
          <p:nvSpPr>
            <p:cNvPr id="92" name="TextBox 91">
              <a:extLst>
                <a:ext uri="{FF2B5EF4-FFF2-40B4-BE49-F238E27FC236}">
                  <a16:creationId xmlns:a16="http://schemas.microsoft.com/office/drawing/2014/main" id="{0E6EC223-81F7-01ED-A92E-BC143861B0E8}"/>
                </a:ext>
              </a:extLst>
            </p:cNvPr>
            <p:cNvSpPr txBox="1"/>
            <p:nvPr/>
          </p:nvSpPr>
          <p:spPr>
            <a:xfrm>
              <a:off x="3905605" y="3904990"/>
              <a:ext cx="153576" cy="92333"/>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srgbClr val="2E2E38"/>
                  </a:solidFill>
                  <a:effectLst/>
                  <a:uLnTx/>
                  <a:uFillTx/>
                  <a:cs typeface="Times New Roman" panose="02020603050405020304" pitchFamily="18" charset="0"/>
                </a:rPr>
                <a:t>MT</a:t>
              </a:r>
            </a:p>
          </p:txBody>
        </p:sp>
        <p:sp>
          <p:nvSpPr>
            <p:cNvPr id="93" name="TextBox 92">
              <a:extLst>
                <a:ext uri="{FF2B5EF4-FFF2-40B4-BE49-F238E27FC236}">
                  <a16:creationId xmlns:a16="http://schemas.microsoft.com/office/drawing/2014/main" id="{786D1E75-44CD-80EB-1A41-1E92D8BDF98E}"/>
                </a:ext>
              </a:extLst>
            </p:cNvPr>
            <p:cNvSpPr txBox="1"/>
            <p:nvPr/>
          </p:nvSpPr>
          <p:spPr>
            <a:xfrm>
              <a:off x="3999474" y="4327190"/>
              <a:ext cx="153576" cy="92333"/>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srgbClr val="2E2E38"/>
                  </a:solidFill>
                  <a:effectLst/>
                  <a:uLnTx/>
                  <a:uFillTx/>
                  <a:cs typeface="Times New Roman" panose="02020603050405020304" pitchFamily="18" charset="0"/>
                </a:rPr>
                <a:t>WY</a:t>
              </a:r>
            </a:p>
          </p:txBody>
        </p:sp>
        <p:sp>
          <p:nvSpPr>
            <p:cNvPr id="94" name="TextBox 93">
              <a:extLst>
                <a:ext uri="{FF2B5EF4-FFF2-40B4-BE49-F238E27FC236}">
                  <a16:creationId xmlns:a16="http://schemas.microsoft.com/office/drawing/2014/main" id="{117D885E-56F0-1BC1-3231-BB42C59CFFFB}"/>
                </a:ext>
              </a:extLst>
            </p:cNvPr>
            <p:cNvSpPr txBox="1"/>
            <p:nvPr/>
          </p:nvSpPr>
          <p:spPr>
            <a:xfrm>
              <a:off x="4553978" y="3931292"/>
              <a:ext cx="153576" cy="92333"/>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schemeClr val="bg1"/>
                  </a:solidFill>
                  <a:effectLst/>
                  <a:uLnTx/>
                  <a:uFillTx/>
                  <a:cs typeface="Times New Roman" panose="02020603050405020304" pitchFamily="18" charset="0"/>
                </a:rPr>
                <a:t>ND</a:t>
              </a:r>
            </a:p>
          </p:txBody>
        </p:sp>
        <p:sp>
          <p:nvSpPr>
            <p:cNvPr id="95" name="TextBox 94">
              <a:extLst>
                <a:ext uri="{FF2B5EF4-FFF2-40B4-BE49-F238E27FC236}">
                  <a16:creationId xmlns:a16="http://schemas.microsoft.com/office/drawing/2014/main" id="{ADDD2B73-A1E3-518A-8D3F-DF69AE25D20A}"/>
                </a:ext>
              </a:extLst>
            </p:cNvPr>
            <p:cNvSpPr txBox="1"/>
            <p:nvPr/>
          </p:nvSpPr>
          <p:spPr>
            <a:xfrm>
              <a:off x="4543448" y="4228662"/>
              <a:ext cx="153576" cy="92333"/>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srgbClr val="2E2E38"/>
                  </a:solidFill>
                  <a:effectLst/>
                  <a:uLnTx/>
                  <a:uFillTx/>
                  <a:cs typeface="Times New Roman" panose="02020603050405020304" pitchFamily="18" charset="0"/>
                </a:rPr>
                <a:t>SD</a:t>
              </a:r>
            </a:p>
          </p:txBody>
        </p:sp>
        <p:sp>
          <p:nvSpPr>
            <p:cNvPr id="96" name="TextBox 95">
              <a:extLst>
                <a:ext uri="{FF2B5EF4-FFF2-40B4-BE49-F238E27FC236}">
                  <a16:creationId xmlns:a16="http://schemas.microsoft.com/office/drawing/2014/main" id="{6C2148C0-C331-0B5C-8CE7-36450673EED3}"/>
                </a:ext>
              </a:extLst>
            </p:cNvPr>
            <p:cNvSpPr txBox="1"/>
            <p:nvPr/>
          </p:nvSpPr>
          <p:spPr>
            <a:xfrm>
              <a:off x="4950055" y="4062365"/>
              <a:ext cx="153576" cy="92333"/>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schemeClr val="bg1"/>
                  </a:solidFill>
                  <a:effectLst/>
                  <a:uLnTx/>
                  <a:uFillTx/>
                  <a:cs typeface="Times New Roman" panose="02020603050405020304" pitchFamily="18" charset="0"/>
                </a:rPr>
                <a:t>MN</a:t>
              </a:r>
            </a:p>
          </p:txBody>
        </p:sp>
        <p:sp>
          <p:nvSpPr>
            <p:cNvPr id="97" name="TextBox 96">
              <a:extLst>
                <a:ext uri="{FF2B5EF4-FFF2-40B4-BE49-F238E27FC236}">
                  <a16:creationId xmlns:a16="http://schemas.microsoft.com/office/drawing/2014/main" id="{4C2CB03B-CCFF-FD63-7929-03966CCCC9E2}"/>
                </a:ext>
              </a:extLst>
            </p:cNvPr>
            <p:cNvSpPr txBox="1"/>
            <p:nvPr/>
          </p:nvSpPr>
          <p:spPr>
            <a:xfrm>
              <a:off x="5380473" y="5369099"/>
              <a:ext cx="153576" cy="92333"/>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srgbClr val="2E2E38"/>
                  </a:solidFill>
                  <a:effectLst/>
                  <a:uLnTx/>
                  <a:uFillTx/>
                  <a:cs typeface="Times New Roman" panose="02020603050405020304" pitchFamily="18" charset="0"/>
                </a:rPr>
                <a:t>MS</a:t>
              </a:r>
            </a:p>
          </p:txBody>
        </p:sp>
        <p:sp>
          <p:nvSpPr>
            <p:cNvPr id="98" name="TextBox 97">
              <a:extLst>
                <a:ext uri="{FF2B5EF4-FFF2-40B4-BE49-F238E27FC236}">
                  <a16:creationId xmlns:a16="http://schemas.microsoft.com/office/drawing/2014/main" id="{D4C40E71-3C01-9210-1EED-B8FFF6111449}"/>
                </a:ext>
              </a:extLst>
            </p:cNvPr>
            <p:cNvSpPr txBox="1"/>
            <p:nvPr/>
          </p:nvSpPr>
          <p:spPr>
            <a:xfrm>
              <a:off x="5640096" y="5349035"/>
              <a:ext cx="153576" cy="92333"/>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schemeClr val="bg1"/>
                  </a:solidFill>
                  <a:effectLst/>
                  <a:uLnTx/>
                  <a:uFillTx/>
                  <a:cs typeface="Times New Roman" panose="02020603050405020304" pitchFamily="18" charset="0"/>
                </a:rPr>
                <a:t>AL</a:t>
              </a:r>
            </a:p>
          </p:txBody>
        </p:sp>
        <p:sp>
          <p:nvSpPr>
            <p:cNvPr id="99" name="TextBox 98">
              <a:extLst>
                <a:ext uri="{FF2B5EF4-FFF2-40B4-BE49-F238E27FC236}">
                  <a16:creationId xmlns:a16="http://schemas.microsoft.com/office/drawing/2014/main" id="{3D0DCFAA-533B-C53C-96E8-C23BEC9E31AF}"/>
                </a:ext>
              </a:extLst>
            </p:cNvPr>
            <p:cNvSpPr txBox="1"/>
            <p:nvPr/>
          </p:nvSpPr>
          <p:spPr>
            <a:xfrm>
              <a:off x="5921701" y="5332094"/>
              <a:ext cx="153576" cy="92333"/>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schemeClr val="bg1"/>
                  </a:solidFill>
                  <a:effectLst/>
                  <a:uLnTx/>
                  <a:uFillTx/>
                  <a:cs typeface="Times New Roman" panose="02020603050405020304" pitchFamily="18" charset="0"/>
                </a:rPr>
                <a:t>GA</a:t>
              </a:r>
            </a:p>
          </p:txBody>
        </p:sp>
        <p:sp>
          <p:nvSpPr>
            <p:cNvPr id="100" name="TextBox 99">
              <a:extLst>
                <a:ext uri="{FF2B5EF4-FFF2-40B4-BE49-F238E27FC236}">
                  <a16:creationId xmlns:a16="http://schemas.microsoft.com/office/drawing/2014/main" id="{F555E66E-9299-490C-5949-6B09997D32F4}"/>
                </a:ext>
              </a:extLst>
            </p:cNvPr>
            <p:cNvSpPr txBox="1"/>
            <p:nvPr/>
          </p:nvSpPr>
          <p:spPr>
            <a:xfrm>
              <a:off x="6151241" y="5778817"/>
              <a:ext cx="153576" cy="92333"/>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schemeClr val="bg1"/>
                  </a:solidFill>
                  <a:effectLst/>
                  <a:uLnTx/>
                  <a:uFillTx/>
                  <a:cs typeface="Times New Roman" panose="02020603050405020304" pitchFamily="18" charset="0"/>
                </a:rPr>
                <a:t>FL</a:t>
              </a:r>
            </a:p>
          </p:txBody>
        </p:sp>
        <p:sp>
          <p:nvSpPr>
            <p:cNvPr id="101" name="TextBox 100">
              <a:extLst>
                <a:ext uri="{FF2B5EF4-FFF2-40B4-BE49-F238E27FC236}">
                  <a16:creationId xmlns:a16="http://schemas.microsoft.com/office/drawing/2014/main" id="{FB21C55A-AB1B-3062-C9A5-BA8D1366EF8C}"/>
                </a:ext>
              </a:extLst>
            </p:cNvPr>
            <p:cNvSpPr txBox="1"/>
            <p:nvPr/>
          </p:nvSpPr>
          <p:spPr>
            <a:xfrm>
              <a:off x="6117082" y="5184863"/>
              <a:ext cx="153576" cy="92333"/>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schemeClr val="bg1"/>
                  </a:solidFill>
                  <a:effectLst/>
                  <a:uLnTx/>
                  <a:uFillTx/>
                  <a:cs typeface="Times New Roman" panose="02020603050405020304" pitchFamily="18" charset="0"/>
                </a:rPr>
                <a:t>SC</a:t>
              </a:r>
            </a:p>
          </p:txBody>
        </p:sp>
        <p:sp>
          <p:nvSpPr>
            <p:cNvPr id="102" name="TextBox 101">
              <a:extLst>
                <a:ext uri="{FF2B5EF4-FFF2-40B4-BE49-F238E27FC236}">
                  <a16:creationId xmlns:a16="http://schemas.microsoft.com/office/drawing/2014/main" id="{8D9A607B-1ED3-9CE8-7198-4FFB6CEE81E4}"/>
                </a:ext>
              </a:extLst>
            </p:cNvPr>
            <p:cNvSpPr txBox="1"/>
            <p:nvPr/>
          </p:nvSpPr>
          <p:spPr>
            <a:xfrm>
              <a:off x="6153393" y="5004299"/>
              <a:ext cx="153576" cy="92333"/>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schemeClr val="bg1"/>
                  </a:solidFill>
                  <a:effectLst/>
                  <a:uLnTx/>
                  <a:uFillTx/>
                  <a:cs typeface="Times New Roman" panose="02020603050405020304" pitchFamily="18" charset="0"/>
                </a:rPr>
                <a:t>NC</a:t>
              </a:r>
            </a:p>
          </p:txBody>
        </p:sp>
        <p:sp>
          <p:nvSpPr>
            <p:cNvPr id="103" name="TextBox 102">
              <a:extLst>
                <a:ext uri="{FF2B5EF4-FFF2-40B4-BE49-F238E27FC236}">
                  <a16:creationId xmlns:a16="http://schemas.microsoft.com/office/drawing/2014/main" id="{44185099-ED55-25C9-FD5D-211F75E89EE8}"/>
                </a:ext>
              </a:extLst>
            </p:cNvPr>
            <p:cNvSpPr txBox="1"/>
            <p:nvPr/>
          </p:nvSpPr>
          <p:spPr>
            <a:xfrm>
              <a:off x="5663448" y="5059692"/>
              <a:ext cx="153576" cy="92333"/>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srgbClr val="2E2E38"/>
                  </a:solidFill>
                  <a:effectLst/>
                  <a:uLnTx/>
                  <a:uFillTx/>
                  <a:cs typeface="Times New Roman" panose="02020603050405020304" pitchFamily="18" charset="0"/>
                </a:rPr>
                <a:t>TN</a:t>
              </a:r>
            </a:p>
          </p:txBody>
        </p:sp>
        <p:sp>
          <p:nvSpPr>
            <p:cNvPr id="104" name="TextBox 103">
              <a:extLst>
                <a:ext uri="{FF2B5EF4-FFF2-40B4-BE49-F238E27FC236}">
                  <a16:creationId xmlns:a16="http://schemas.microsoft.com/office/drawing/2014/main" id="{A2D7697C-B570-872E-3E5E-C440E7283D86}"/>
                </a:ext>
              </a:extLst>
            </p:cNvPr>
            <p:cNvSpPr txBox="1"/>
            <p:nvPr/>
          </p:nvSpPr>
          <p:spPr>
            <a:xfrm>
              <a:off x="4573211" y="4518451"/>
              <a:ext cx="153576" cy="92333"/>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srgbClr val="2E2E38"/>
                  </a:solidFill>
                  <a:effectLst/>
                  <a:uLnTx/>
                  <a:uFillTx/>
                  <a:cs typeface="Times New Roman" panose="02020603050405020304" pitchFamily="18" charset="0"/>
                </a:rPr>
                <a:t>NE</a:t>
              </a:r>
            </a:p>
          </p:txBody>
        </p:sp>
        <p:sp>
          <p:nvSpPr>
            <p:cNvPr id="105" name="TextBox 104">
              <a:extLst>
                <a:ext uri="{FF2B5EF4-FFF2-40B4-BE49-F238E27FC236}">
                  <a16:creationId xmlns:a16="http://schemas.microsoft.com/office/drawing/2014/main" id="{8A2D8DE1-DE53-BFDA-9176-B397E48C345B}"/>
                </a:ext>
              </a:extLst>
            </p:cNvPr>
            <p:cNvSpPr txBox="1"/>
            <p:nvPr/>
          </p:nvSpPr>
          <p:spPr>
            <a:xfrm>
              <a:off x="4666621" y="4820280"/>
              <a:ext cx="153576" cy="92333"/>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srgbClr val="2E2E38"/>
                  </a:solidFill>
                  <a:effectLst/>
                  <a:uLnTx/>
                  <a:uFillTx/>
                  <a:cs typeface="Times New Roman" panose="02020603050405020304" pitchFamily="18" charset="0"/>
                </a:rPr>
                <a:t>KS</a:t>
              </a:r>
            </a:p>
          </p:txBody>
        </p:sp>
        <p:sp>
          <p:nvSpPr>
            <p:cNvPr id="106" name="TextBox 105">
              <a:extLst>
                <a:ext uri="{FF2B5EF4-FFF2-40B4-BE49-F238E27FC236}">
                  <a16:creationId xmlns:a16="http://schemas.microsoft.com/office/drawing/2014/main" id="{D59E0483-D2AC-068F-7DF0-3425FDDD01C1}"/>
                </a:ext>
              </a:extLst>
            </p:cNvPr>
            <p:cNvSpPr txBox="1"/>
            <p:nvPr/>
          </p:nvSpPr>
          <p:spPr>
            <a:xfrm>
              <a:off x="5373605" y="4648189"/>
              <a:ext cx="153576" cy="92333"/>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srgbClr val="2E2E38"/>
                  </a:solidFill>
                  <a:effectLst/>
                  <a:uLnTx/>
                  <a:uFillTx/>
                  <a:cs typeface="Times New Roman" panose="02020603050405020304" pitchFamily="18" charset="0"/>
                </a:rPr>
                <a:t>IL</a:t>
              </a:r>
            </a:p>
          </p:txBody>
        </p:sp>
        <p:sp>
          <p:nvSpPr>
            <p:cNvPr id="107" name="TextBox 106">
              <a:extLst>
                <a:ext uri="{FF2B5EF4-FFF2-40B4-BE49-F238E27FC236}">
                  <a16:creationId xmlns:a16="http://schemas.microsoft.com/office/drawing/2014/main" id="{486FEA92-E326-DC69-8F5B-81A640DBFE7D}"/>
                </a:ext>
              </a:extLst>
            </p:cNvPr>
            <p:cNvSpPr txBox="1"/>
            <p:nvPr/>
          </p:nvSpPr>
          <p:spPr>
            <a:xfrm>
              <a:off x="5291642" y="4215515"/>
              <a:ext cx="153576" cy="92333"/>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srgbClr val="2E2E38"/>
                  </a:solidFill>
                  <a:effectLst/>
                  <a:uLnTx/>
                  <a:uFillTx/>
                  <a:cs typeface="Times New Roman" panose="02020603050405020304" pitchFamily="18" charset="0"/>
                </a:rPr>
                <a:t>WI</a:t>
              </a:r>
            </a:p>
          </p:txBody>
        </p:sp>
        <p:sp>
          <p:nvSpPr>
            <p:cNvPr id="108" name="TextBox 107">
              <a:extLst>
                <a:ext uri="{FF2B5EF4-FFF2-40B4-BE49-F238E27FC236}">
                  <a16:creationId xmlns:a16="http://schemas.microsoft.com/office/drawing/2014/main" id="{9A79EF66-92C5-BD4A-E014-778A236CC0C9}"/>
                </a:ext>
              </a:extLst>
            </p:cNvPr>
            <p:cNvSpPr txBox="1"/>
            <p:nvPr/>
          </p:nvSpPr>
          <p:spPr>
            <a:xfrm>
              <a:off x="5690786" y="4322625"/>
              <a:ext cx="153576" cy="92333"/>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srgbClr val="2E2E38"/>
                  </a:solidFill>
                  <a:effectLst/>
                  <a:uLnTx/>
                  <a:uFillTx/>
                  <a:cs typeface="Times New Roman" panose="02020603050405020304" pitchFamily="18" charset="0"/>
                </a:rPr>
                <a:t>MI</a:t>
              </a:r>
            </a:p>
          </p:txBody>
        </p:sp>
        <p:sp>
          <p:nvSpPr>
            <p:cNvPr id="109" name="TextBox 108">
              <a:extLst>
                <a:ext uri="{FF2B5EF4-FFF2-40B4-BE49-F238E27FC236}">
                  <a16:creationId xmlns:a16="http://schemas.microsoft.com/office/drawing/2014/main" id="{239AF07C-9179-4F23-50EA-95B6CC9A0218}"/>
                </a:ext>
              </a:extLst>
            </p:cNvPr>
            <p:cNvSpPr txBox="1"/>
            <p:nvPr/>
          </p:nvSpPr>
          <p:spPr>
            <a:xfrm>
              <a:off x="5714733" y="4890503"/>
              <a:ext cx="153576" cy="92333"/>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srgbClr val="2E2E38"/>
                  </a:solidFill>
                  <a:effectLst/>
                  <a:uLnTx/>
                  <a:uFillTx/>
                  <a:cs typeface="Times New Roman" panose="02020603050405020304" pitchFamily="18" charset="0"/>
                </a:rPr>
                <a:t>KY</a:t>
              </a:r>
            </a:p>
          </p:txBody>
        </p:sp>
        <p:sp>
          <p:nvSpPr>
            <p:cNvPr id="110" name="TextBox 109">
              <a:extLst>
                <a:ext uri="{FF2B5EF4-FFF2-40B4-BE49-F238E27FC236}">
                  <a16:creationId xmlns:a16="http://schemas.microsoft.com/office/drawing/2014/main" id="{A73CF041-031B-8BDA-D1AC-A2475BFFCAEA}"/>
                </a:ext>
              </a:extLst>
            </p:cNvPr>
            <p:cNvSpPr txBox="1"/>
            <p:nvPr/>
          </p:nvSpPr>
          <p:spPr>
            <a:xfrm>
              <a:off x="6239935" y="4803567"/>
              <a:ext cx="153576" cy="92333"/>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schemeClr val="bg1"/>
                  </a:solidFill>
                  <a:effectLst/>
                  <a:uLnTx/>
                  <a:uFillTx/>
                  <a:cs typeface="Times New Roman" panose="02020603050405020304" pitchFamily="18" charset="0"/>
                </a:rPr>
                <a:t>VA</a:t>
              </a:r>
            </a:p>
          </p:txBody>
        </p:sp>
        <p:sp>
          <p:nvSpPr>
            <p:cNvPr id="111" name="TextBox 110">
              <a:extLst>
                <a:ext uri="{FF2B5EF4-FFF2-40B4-BE49-F238E27FC236}">
                  <a16:creationId xmlns:a16="http://schemas.microsoft.com/office/drawing/2014/main" id="{B324BB40-9D0C-1BDD-FAAE-14C4D765E4A9}"/>
                </a:ext>
              </a:extLst>
            </p:cNvPr>
            <p:cNvSpPr txBox="1"/>
            <p:nvPr/>
          </p:nvSpPr>
          <p:spPr>
            <a:xfrm>
              <a:off x="6031732" y="4747838"/>
              <a:ext cx="153576" cy="92333"/>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srgbClr val="2E2E38"/>
                  </a:solidFill>
                  <a:effectLst/>
                  <a:uLnTx/>
                  <a:uFillTx/>
                  <a:cs typeface="Times New Roman" panose="02020603050405020304" pitchFamily="18" charset="0"/>
                </a:rPr>
                <a:t>WV</a:t>
              </a:r>
            </a:p>
          </p:txBody>
        </p:sp>
        <p:sp>
          <p:nvSpPr>
            <p:cNvPr id="112" name="TextBox 111">
              <a:extLst>
                <a:ext uri="{FF2B5EF4-FFF2-40B4-BE49-F238E27FC236}">
                  <a16:creationId xmlns:a16="http://schemas.microsoft.com/office/drawing/2014/main" id="{6413D39E-EF28-0046-9285-89488E5FDC4D}"/>
                </a:ext>
              </a:extLst>
            </p:cNvPr>
            <p:cNvSpPr txBox="1"/>
            <p:nvPr/>
          </p:nvSpPr>
          <p:spPr>
            <a:xfrm>
              <a:off x="5615370" y="4648189"/>
              <a:ext cx="153576" cy="92333"/>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schemeClr val="bg1"/>
                  </a:solidFill>
                  <a:effectLst/>
                  <a:uLnTx/>
                  <a:uFillTx/>
                  <a:cs typeface="Times New Roman" panose="02020603050405020304" pitchFamily="18" charset="0"/>
                </a:rPr>
                <a:t>IN</a:t>
              </a:r>
            </a:p>
          </p:txBody>
        </p:sp>
        <p:sp>
          <p:nvSpPr>
            <p:cNvPr id="113" name="TextBox 112">
              <a:extLst>
                <a:ext uri="{FF2B5EF4-FFF2-40B4-BE49-F238E27FC236}">
                  <a16:creationId xmlns:a16="http://schemas.microsoft.com/office/drawing/2014/main" id="{54CD7D1A-9648-D1C4-2579-D5CB6400FADB}"/>
                </a:ext>
              </a:extLst>
            </p:cNvPr>
            <p:cNvSpPr txBox="1"/>
            <p:nvPr/>
          </p:nvSpPr>
          <p:spPr>
            <a:xfrm>
              <a:off x="5862175" y="4594691"/>
              <a:ext cx="153576" cy="92333"/>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srgbClr val="2E2E38"/>
                  </a:solidFill>
                  <a:effectLst/>
                  <a:uLnTx/>
                  <a:uFillTx/>
                  <a:cs typeface="Times New Roman" panose="02020603050405020304" pitchFamily="18" charset="0"/>
                </a:rPr>
                <a:t>OH</a:t>
              </a:r>
            </a:p>
          </p:txBody>
        </p:sp>
        <p:sp>
          <p:nvSpPr>
            <p:cNvPr id="114" name="TextBox 113">
              <a:extLst>
                <a:ext uri="{FF2B5EF4-FFF2-40B4-BE49-F238E27FC236}">
                  <a16:creationId xmlns:a16="http://schemas.microsoft.com/office/drawing/2014/main" id="{A133F122-4939-BA33-B6B4-79410FE30C72}"/>
                </a:ext>
              </a:extLst>
            </p:cNvPr>
            <p:cNvSpPr txBox="1"/>
            <p:nvPr/>
          </p:nvSpPr>
          <p:spPr>
            <a:xfrm>
              <a:off x="6239935" y="4469411"/>
              <a:ext cx="153576" cy="92333"/>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schemeClr val="bg1"/>
                  </a:solidFill>
                  <a:effectLst/>
                  <a:uLnTx/>
                  <a:uFillTx/>
                  <a:cs typeface="Times New Roman" panose="02020603050405020304" pitchFamily="18" charset="0"/>
                </a:rPr>
                <a:t>PA</a:t>
              </a:r>
            </a:p>
          </p:txBody>
        </p:sp>
        <p:sp>
          <p:nvSpPr>
            <p:cNvPr id="115" name="TextBox 114">
              <a:extLst>
                <a:ext uri="{FF2B5EF4-FFF2-40B4-BE49-F238E27FC236}">
                  <a16:creationId xmlns:a16="http://schemas.microsoft.com/office/drawing/2014/main" id="{6BB7CBEB-A4EB-05D9-6C0C-96473BD04B0A}"/>
                </a:ext>
              </a:extLst>
            </p:cNvPr>
            <p:cNvSpPr txBox="1"/>
            <p:nvPr/>
          </p:nvSpPr>
          <p:spPr>
            <a:xfrm>
              <a:off x="6386781" y="4217516"/>
              <a:ext cx="153576" cy="92333"/>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schemeClr val="bg1"/>
                  </a:solidFill>
                  <a:effectLst/>
                  <a:uLnTx/>
                  <a:uFillTx/>
                  <a:cs typeface="Times New Roman" panose="02020603050405020304" pitchFamily="18" charset="0"/>
                </a:rPr>
                <a:t>NY</a:t>
              </a:r>
            </a:p>
          </p:txBody>
        </p:sp>
        <p:sp>
          <p:nvSpPr>
            <p:cNvPr id="116" name="TextBox 115">
              <a:extLst>
                <a:ext uri="{FF2B5EF4-FFF2-40B4-BE49-F238E27FC236}">
                  <a16:creationId xmlns:a16="http://schemas.microsoft.com/office/drawing/2014/main" id="{04E5E9EC-A9AA-37D4-41FB-745FD647B6CB}"/>
                </a:ext>
              </a:extLst>
            </p:cNvPr>
            <p:cNvSpPr txBox="1"/>
            <p:nvPr/>
          </p:nvSpPr>
          <p:spPr>
            <a:xfrm>
              <a:off x="6746179" y="3889274"/>
              <a:ext cx="153576" cy="92333"/>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schemeClr val="bg1"/>
                  </a:solidFill>
                  <a:effectLst/>
                  <a:uLnTx/>
                  <a:uFillTx/>
                  <a:cs typeface="Times New Roman" panose="02020603050405020304" pitchFamily="18" charset="0"/>
                </a:rPr>
                <a:t>ME</a:t>
              </a:r>
            </a:p>
          </p:txBody>
        </p:sp>
        <p:sp>
          <p:nvSpPr>
            <p:cNvPr id="117" name="TextBox 116">
              <a:extLst>
                <a:ext uri="{FF2B5EF4-FFF2-40B4-BE49-F238E27FC236}">
                  <a16:creationId xmlns:a16="http://schemas.microsoft.com/office/drawing/2014/main" id="{BC511E79-A292-9882-C98C-0A3B2BC8A264}"/>
                </a:ext>
              </a:extLst>
            </p:cNvPr>
            <p:cNvSpPr txBox="1"/>
            <p:nvPr/>
          </p:nvSpPr>
          <p:spPr>
            <a:xfrm>
              <a:off x="6620579" y="4142169"/>
              <a:ext cx="153576" cy="92333"/>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srgbClr val="2E2E38"/>
                  </a:solidFill>
                  <a:effectLst/>
                  <a:uLnTx/>
                  <a:uFillTx/>
                  <a:cs typeface="Times New Roman" panose="02020603050405020304" pitchFamily="18" charset="0"/>
                </a:rPr>
                <a:t>NH</a:t>
              </a:r>
            </a:p>
          </p:txBody>
        </p:sp>
        <p:sp>
          <p:nvSpPr>
            <p:cNvPr id="118" name="TextBox 117">
              <a:extLst>
                <a:ext uri="{FF2B5EF4-FFF2-40B4-BE49-F238E27FC236}">
                  <a16:creationId xmlns:a16="http://schemas.microsoft.com/office/drawing/2014/main" id="{343437D1-0F02-6E61-4B33-97D45765D40C}"/>
                </a:ext>
              </a:extLst>
            </p:cNvPr>
            <p:cNvSpPr txBox="1"/>
            <p:nvPr/>
          </p:nvSpPr>
          <p:spPr>
            <a:xfrm>
              <a:off x="6523690" y="4031713"/>
              <a:ext cx="153576" cy="92333"/>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schemeClr val="bg1"/>
                  </a:solidFill>
                  <a:effectLst/>
                  <a:uLnTx/>
                  <a:uFillTx/>
                  <a:cs typeface="Times New Roman" panose="02020603050405020304" pitchFamily="18" charset="0"/>
                </a:rPr>
                <a:t>VT</a:t>
              </a:r>
            </a:p>
          </p:txBody>
        </p:sp>
        <p:sp>
          <p:nvSpPr>
            <p:cNvPr id="119" name="TextBox 118">
              <a:extLst>
                <a:ext uri="{FF2B5EF4-FFF2-40B4-BE49-F238E27FC236}">
                  <a16:creationId xmlns:a16="http://schemas.microsoft.com/office/drawing/2014/main" id="{26781920-C60B-99C8-0907-ED89A9774077}"/>
                </a:ext>
              </a:extLst>
            </p:cNvPr>
            <p:cNvSpPr txBox="1"/>
            <p:nvPr/>
          </p:nvSpPr>
          <p:spPr>
            <a:xfrm>
              <a:off x="6620579" y="4229108"/>
              <a:ext cx="153576" cy="92333"/>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schemeClr val="bg1"/>
                  </a:solidFill>
                  <a:effectLst/>
                  <a:uLnTx/>
                  <a:uFillTx/>
                  <a:cs typeface="Times New Roman" panose="02020603050405020304" pitchFamily="18" charset="0"/>
                </a:rPr>
                <a:t>MA</a:t>
              </a:r>
            </a:p>
          </p:txBody>
        </p:sp>
        <p:sp>
          <p:nvSpPr>
            <p:cNvPr id="120" name="TextBox 119">
              <a:extLst>
                <a:ext uri="{FF2B5EF4-FFF2-40B4-BE49-F238E27FC236}">
                  <a16:creationId xmlns:a16="http://schemas.microsoft.com/office/drawing/2014/main" id="{4D76E9F1-1D8C-BAED-0BCE-DF7B2B3C6111}"/>
                </a:ext>
              </a:extLst>
            </p:cNvPr>
            <p:cNvSpPr txBox="1"/>
            <p:nvPr/>
          </p:nvSpPr>
          <p:spPr>
            <a:xfrm>
              <a:off x="6586101" y="4312370"/>
              <a:ext cx="153576" cy="92333"/>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schemeClr val="bg1"/>
                  </a:solidFill>
                  <a:effectLst/>
                  <a:uLnTx/>
                  <a:uFillTx/>
                  <a:cs typeface="Times New Roman" panose="02020603050405020304" pitchFamily="18" charset="0"/>
                </a:rPr>
                <a:t>CT</a:t>
              </a:r>
            </a:p>
          </p:txBody>
        </p:sp>
        <p:sp>
          <p:nvSpPr>
            <p:cNvPr id="121" name="TextBox 120">
              <a:extLst>
                <a:ext uri="{FF2B5EF4-FFF2-40B4-BE49-F238E27FC236}">
                  <a16:creationId xmlns:a16="http://schemas.microsoft.com/office/drawing/2014/main" id="{B375659C-869B-8262-1E8C-E1E5F13CEAFE}"/>
                </a:ext>
              </a:extLst>
            </p:cNvPr>
            <p:cNvSpPr txBox="1"/>
            <p:nvPr/>
          </p:nvSpPr>
          <p:spPr>
            <a:xfrm>
              <a:off x="6645399" y="4491594"/>
              <a:ext cx="153576" cy="92333"/>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schemeClr val="bg1"/>
                  </a:solidFill>
                  <a:effectLst/>
                  <a:uLnTx/>
                  <a:uFillTx/>
                  <a:cs typeface="Times New Roman" panose="02020603050405020304" pitchFamily="18" charset="0"/>
                </a:rPr>
                <a:t>NJ</a:t>
              </a:r>
            </a:p>
          </p:txBody>
        </p:sp>
        <p:sp>
          <p:nvSpPr>
            <p:cNvPr id="122" name="TextBox 121">
              <a:extLst>
                <a:ext uri="{FF2B5EF4-FFF2-40B4-BE49-F238E27FC236}">
                  <a16:creationId xmlns:a16="http://schemas.microsoft.com/office/drawing/2014/main" id="{0E8F4511-8787-8BC4-5ED1-B44D674A502B}"/>
                </a:ext>
              </a:extLst>
            </p:cNvPr>
            <p:cNvSpPr txBox="1"/>
            <p:nvPr/>
          </p:nvSpPr>
          <p:spPr>
            <a:xfrm>
              <a:off x="6601347" y="4619548"/>
              <a:ext cx="153576" cy="92333"/>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schemeClr val="bg1"/>
                  </a:solidFill>
                  <a:effectLst/>
                  <a:uLnTx/>
                  <a:uFillTx/>
                  <a:cs typeface="Times New Roman" panose="02020603050405020304" pitchFamily="18" charset="0"/>
                </a:rPr>
                <a:t>DE</a:t>
              </a:r>
            </a:p>
          </p:txBody>
        </p:sp>
        <p:cxnSp>
          <p:nvCxnSpPr>
            <p:cNvPr id="123" name="Straight Connector 122">
              <a:extLst>
                <a:ext uri="{FF2B5EF4-FFF2-40B4-BE49-F238E27FC236}">
                  <a16:creationId xmlns:a16="http://schemas.microsoft.com/office/drawing/2014/main" id="{9CA538F8-4A30-87A4-4B10-6219707DDBB6}"/>
                </a:ext>
              </a:extLst>
            </p:cNvPr>
            <p:cNvCxnSpPr/>
            <p:nvPr/>
          </p:nvCxnSpPr>
          <p:spPr>
            <a:xfrm>
              <a:off x="6526895" y="4663571"/>
              <a:ext cx="63189" cy="0"/>
            </a:xfrm>
            <a:prstGeom prst="line">
              <a:avLst/>
            </a:prstGeom>
            <a:noFill/>
            <a:ln w="6350" cap="flat" cmpd="sng" algn="ctr">
              <a:solidFill>
                <a:srgbClr val="999999"/>
              </a:solidFill>
              <a:prstDash val="solid"/>
            </a:ln>
            <a:effectLst/>
          </p:spPr>
        </p:cxnSp>
        <p:sp>
          <p:nvSpPr>
            <p:cNvPr id="124" name="TextBox 123">
              <a:extLst>
                <a:ext uri="{FF2B5EF4-FFF2-40B4-BE49-F238E27FC236}">
                  <a16:creationId xmlns:a16="http://schemas.microsoft.com/office/drawing/2014/main" id="{66BE292E-E96D-0802-8CD3-A252AA4EE324}"/>
                </a:ext>
              </a:extLst>
            </p:cNvPr>
            <p:cNvSpPr txBox="1"/>
            <p:nvPr/>
          </p:nvSpPr>
          <p:spPr>
            <a:xfrm>
              <a:off x="6601347" y="4716243"/>
              <a:ext cx="153576" cy="92333"/>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schemeClr val="bg1"/>
                  </a:solidFill>
                  <a:effectLst/>
                  <a:uLnTx/>
                  <a:uFillTx/>
                  <a:cs typeface="Times New Roman" panose="02020603050405020304" pitchFamily="18" charset="0"/>
                </a:rPr>
                <a:t>MD</a:t>
              </a:r>
            </a:p>
          </p:txBody>
        </p:sp>
        <p:sp>
          <p:nvSpPr>
            <p:cNvPr id="125" name="TextBox 124">
              <a:extLst>
                <a:ext uri="{FF2B5EF4-FFF2-40B4-BE49-F238E27FC236}">
                  <a16:creationId xmlns:a16="http://schemas.microsoft.com/office/drawing/2014/main" id="{25A199E8-94F3-22B3-0B0E-694F96E82DE9}"/>
                </a:ext>
              </a:extLst>
            </p:cNvPr>
            <p:cNvSpPr txBox="1"/>
            <p:nvPr/>
          </p:nvSpPr>
          <p:spPr>
            <a:xfrm>
              <a:off x="4216377" y="5923604"/>
              <a:ext cx="153576" cy="92333"/>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schemeClr val="bg1"/>
                  </a:solidFill>
                  <a:effectLst/>
                  <a:uLnTx/>
                  <a:uFillTx/>
                  <a:cs typeface="Times New Roman" panose="02020603050405020304" pitchFamily="18" charset="0"/>
                </a:rPr>
                <a:t>HI</a:t>
              </a:r>
            </a:p>
          </p:txBody>
        </p:sp>
        <p:cxnSp>
          <p:nvCxnSpPr>
            <p:cNvPr id="126" name="Straight Connector 125">
              <a:extLst>
                <a:ext uri="{FF2B5EF4-FFF2-40B4-BE49-F238E27FC236}">
                  <a16:creationId xmlns:a16="http://schemas.microsoft.com/office/drawing/2014/main" id="{B14B8E79-CCCA-4961-B33F-E3CAF611626C}"/>
                </a:ext>
              </a:extLst>
            </p:cNvPr>
            <p:cNvCxnSpPr>
              <a:cxnSpLocks/>
            </p:cNvCxnSpPr>
            <p:nvPr/>
          </p:nvCxnSpPr>
          <p:spPr>
            <a:xfrm flipV="1">
              <a:off x="4200808" y="6001396"/>
              <a:ext cx="41669" cy="63307"/>
            </a:xfrm>
            <a:prstGeom prst="line">
              <a:avLst/>
            </a:prstGeom>
            <a:noFill/>
            <a:ln w="6350" cap="flat" cmpd="sng" algn="ctr">
              <a:solidFill>
                <a:srgbClr val="999999"/>
              </a:solidFill>
              <a:prstDash val="solid"/>
            </a:ln>
            <a:effectLst/>
          </p:spPr>
        </p:cxnSp>
        <p:sp>
          <p:nvSpPr>
            <p:cNvPr id="127" name="Freeform 10">
              <a:extLst>
                <a:ext uri="{FF2B5EF4-FFF2-40B4-BE49-F238E27FC236}">
                  <a16:creationId xmlns:a16="http://schemas.microsoft.com/office/drawing/2014/main" id="{8D68899F-C09E-F8C9-EE3E-A741EB654921}"/>
                </a:ext>
              </a:extLst>
            </p:cNvPr>
            <p:cNvSpPr>
              <a:spLocks/>
            </p:cNvSpPr>
            <p:nvPr/>
          </p:nvSpPr>
          <p:spPr bwMode="auto">
            <a:xfrm>
              <a:off x="4883982" y="4363858"/>
              <a:ext cx="483533" cy="309407"/>
            </a:xfrm>
            <a:custGeom>
              <a:avLst/>
              <a:gdLst/>
              <a:ahLst/>
              <a:cxnLst>
                <a:cxn ang="0">
                  <a:pos x="432" y="12"/>
                </a:cxn>
                <a:cxn ang="0">
                  <a:pos x="58" y="16"/>
                </a:cxn>
                <a:cxn ang="0">
                  <a:pos x="12" y="16"/>
                </a:cxn>
                <a:cxn ang="0">
                  <a:pos x="9" y="31"/>
                </a:cxn>
                <a:cxn ang="0">
                  <a:pos x="14" y="78"/>
                </a:cxn>
                <a:cxn ang="0">
                  <a:pos x="23" y="121"/>
                </a:cxn>
                <a:cxn ang="0">
                  <a:pos x="9" y="156"/>
                </a:cxn>
                <a:cxn ang="0">
                  <a:pos x="0" y="187"/>
                </a:cxn>
                <a:cxn ang="0">
                  <a:pos x="22" y="232"/>
                </a:cxn>
                <a:cxn ang="0">
                  <a:pos x="40" y="268"/>
                </a:cxn>
                <a:cxn ang="0">
                  <a:pos x="42" y="312"/>
                </a:cxn>
                <a:cxn ang="0">
                  <a:pos x="63" y="350"/>
                </a:cxn>
                <a:cxn ang="0">
                  <a:pos x="83" y="392"/>
                </a:cxn>
                <a:cxn ang="0">
                  <a:pos x="85" y="441"/>
                </a:cxn>
                <a:cxn ang="0">
                  <a:pos x="96" y="472"/>
                </a:cxn>
                <a:cxn ang="0">
                  <a:pos x="120" y="535"/>
                </a:cxn>
                <a:cxn ang="0">
                  <a:pos x="120" y="571"/>
                </a:cxn>
                <a:cxn ang="0">
                  <a:pos x="118" y="604"/>
                </a:cxn>
                <a:cxn ang="0">
                  <a:pos x="129" y="648"/>
                </a:cxn>
                <a:cxn ang="0">
                  <a:pos x="348" y="664"/>
                </a:cxn>
                <a:cxn ang="0">
                  <a:pos x="766" y="648"/>
                </a:cxn>
                <a:cxn ang="0">
                  <a:pos x="805" y="648"/>
                </a:cxn>
                <a:cxn ang="0">
                  <a:pos x="824" y="660"/>
                </a:cxn>
                <a:cxn ang="0">
                  <a:pos x="853" y="684"/>
                </a:cxn>
                <a:cxn ang="0">
                  <a:pos x="867" y="687"/>
                </a:cxn>
                <a:cxn ang="0">
                  <a:pos x="865" y="658"/>
                </a:cxn>
                <a:cxn ang="0">
                  <a:pos x="876" y="648"/>
                </a:cxn>
                <a:cxn ang="0">
                  <a:pos x="898" y="640"/>
                </a:cxn>
                <a:cxn ang="0">
                  <a:pos x="909" y="620"/>
                </a:cxn>
                <a:cxn ang="0">
                  <a:pos x="929" y="571"/>
                </a:cxn>
                <a:cxn ang="0">
                  <a:pos x="932" y="546"/>
                </a:cxn>
                <a:cxn ang="0">
                  <a:pos x="918" y="526"/>
                </a:cxn>
                <a:cxn ang="0">
                  <a:pos x="902" y="502"/>
                </a:cxn>
                <a:cxn ang="0">
                  <a:pos x="911" y="473"/>
                </a:cxn>
                <a:cxn ang="0">
                  <a:pos x="951" y="453"/>
                </a:cxn>
                <a:cxn ang="0">
                  <a:pos x="1007" y="432"/>
                </a:cxn>
                <a:cxn ang="0">
                  <a:pos x="1029" y="401"/>
                </a:cxn>
                <a:cxn ang="0">
                  <a:pos x="1050" y="352"/>
                </a:cxn>
                <a:cxn ang="0">
                  <a:pos x="1054" y="317"/>
                </a:cxn>
                <a:cxn ang="0">
                  <a:pos x="1041" y="290"/>
                </a:cxn>
                <a:cxn ang="0">
                  <a:pos x="1018" y="281"/>
                </a:cxn>
                <a:cxn ang="0">
                  <a:pos x="1007" y="268"/>
                </a:cxn>
                <a:cxn ang="0">
                  <a:pos x="996" y="248"/>
                </a:cxn>
                <a:cxn ang="0">
                  <a:pos x="978" y="219"/>
                </a:cxn>
                <a:cxn ang="0">
                  <a:pos x="971" y="199"/>
                </a:cxn>
                <a:cxn ang="0">
                  <a:pos x="945" y="181"/>
                </a:cxn>
                <a:cxn ang="0">
                  <a:pos x="916" y="168"/>
                </a:cxn>
                <a:cxn ang="0">
                  <a:pos x="885" y="121"/>
                </a:cxn>
                <a:cxn ang="0">
                  <a:pos x="878" y="80"/>
                </a:cxn>
                <a:cxn ang="0">
                  <a:pos x="885" y="51"/>
                </a:cxn>
                <a:cxn ang="0">
                  <a:pos x="873" y="21"/>
                </a:cxn>
              </a:cxnLst>
              <a:rect l="0" t="0" r="r" b="b"/>
              <a:pathLst>
                <a:path w="1056" h="693">
                  <a:moveTo>
                    <a:pt x="862" y="0"/>
                  </a:moveTo>
                  <a:lnTo>
                    <a:pt x="662" y="7"/>
                  </a:lnTo>
                  <a:lnTo>
                    <a:pt x="524" y="11"/>
                  </a:lnTo>
                  <a:lnTo>
                    <a:pt x="432" y="12"/>
                  </a:lnTo>
                  <a:lnTo>
                    <a:pt x="283" y="14"/>
                  </a:lnTo>
                  <a:lnTo>
                    <a:pt x="185" y="16"/>
                  </a:lnTo>
                  <a:lnTo>
                    <a:pt x="96" y="16"/>
                  </a:lnTo>
                  <a:lnTo>
                    <a:pt x="58" y="16"/>
                  </a:lnTo>
                  <a:lnTo>
                    <a:pt x="34" y="16"/>
                  </a:lnTo>
                  <a:lnTo>
                    <a:pt x="27" y="16"/>
                  </a:lnTo>
                  <a:lnTo>
                    <a:pt x="16" y="16"/>
                  </a:lnTo>
                  <a:lnTo>
                    <a:pt x="12" y="16"/>
                  </a:lnTo>
                  <a:lnTo>
                    <a:pt x="9" y="16"/>
                  </a:lnTo>
                  <a:lnTo>
                    <a:pt x="9" y="20"/>
                  </a:lnTo>
                  <a:lnTo>
                    <a:pt x="9" y="29"/>
                  </a:lnTo>
                  <a:lnTo>
                    <a:pt x="9" y="31"/>
                  </a:lnTo>
                  <a:lnTo>
                    <a:pt x="11" y="56"/>
                  </a:lnTo>
                  <a:lnTo>
                    <a:pt x="11" y="61"/>
                  </a:lnTo>
                  <a:lnTo>
                    <a:pt x="11" y="67"/>
                  </a:lnTo>
                  <a:lnTo>
                    <a:pt x="14" y="78"/>
                  </a:lnTo>
                  <a:lnTo>
                    <a:pt x="20" y="96"/>
                  </a:lnTo>
                  <a:lnTo>
                    <a:pt x="23" y="105"/>
                  </a:lnTo>
                  <a:lnTo>
                    <a:pt x="23" y="114"/>
                  </a:lnTo>
                  <a:lnTo>
                    <a:pt x="23" y="121"/>
                  </a:lnTo>
                  <a:lnTo>
                    <a:pt x="22" y="129"/>
                  </a:lnTo>
                  <a:lnTo>
                    <a:pt x="20" y="136"/>
                  </a:lnTo>
                  <a:lnTo>
                    <a:pt x="16" y="143"/>
                  </a:lnTo>
                  <a:lnTo>
                    <a:pt x="9" y="156"/>
                  </a:lnTo>
                  <a:lnTo>
                    <a:pt x="2" y="168"/>
                  </a:lnTo>
                  <a:lnTo>
                    <a:pt x="0" y="176"/>
                  </a:lnTo>
                  <a:lnTo>
                    <a:pt x="0" y="183"/>
                  </a:lnTo>
                  <a:lnTo>
                    <a:pt x="0" y="187"/>
                  </a:lnTo>
                  <a:lnTo>
                    <a:pt x="2" y="196"/>
                  </a:lnTo>
                  <a:lnTo>
                    <a:pt x="3" y="203"/>
                  </a:lnTo>
                  <a:lnTo>
                    <a:pt x="12" y="217"/>
                  </a:lnTo>
                  <a:lnTo>
                    <a:pt x="22" y="232"/>
                  </a:lnTo>
                  <a:lnTo>
                    <a:pt x="31" y="245"/>
                  </a:lnTo>
                  <a:lnTo>
                    <a:pt x="36" y="254"/>
                  </a:lnTo>
                  <a:lnTo>
                    <a:pt x="38" y="261"/>
                  </a:lnTo>
                  <a:lnTo>
                    <a:pt x="40" y="268"/>
                  </a:lnTo>
                  <a:lnTo>
                    <a:pt x="40" y="274"/>
                  </a:lnTo>
                  <a:lnTo>
                    <a:pt x="40" y="294"/>
                  </a:lnTo>
                  <a:lnTo>
                    <a:pt x="40" y="305"/>
                  </a:lnTo>
                  <a:lnTo>
                    <a:pt x="42" y="312"/>
                  </a:lnTo>
                  <a:lnTo>
                    <a:pt x="45" y="321"/>
                  </a:lnTo>
                  <a:lnTo>
                    <a:pt x="49" y="328"/>
                  </a:lnTo>
                  <a:lnTo>
                    <a:pt x="54" y="335"/>
                  </a:lnTo>
                  <a:lnTo>
                    <a:pt x="63" y="350"/>
                  </a:lnTo>
                  <a:lnTo>
                    <a:pt x="72" y="363"/>
                  </a:lnTo>
                  <a:lnTo>
                    <a:pt x="80" y="377"/>
                  </a:lnTo>
                  <a:lnTo>
                    <a:pt x="81" y="384"/>
                  </a:lnTo>
                  <a:lnTo>
                    <a:pt x="83" y="392"/>
                  </a:lnTo>
                  <a:lnTo>
                    <a:pt x="85" y="404"/>
                  </a:lnTo>
                  <a:lnTo>
                    <a:pt x="85" y="419"/>
                  </a:lnTo>
                  <a:lnTo>
                    <a:pt x="85" y="435"/>
                  </a:lnTo>
                  <a:lnTo>
                    <a:pt x="85" y="441"/>
                  </a:lnTo>
                  <a:lnTo>
                    <a:pt x="87" y="450"/>
                  </a:lnTo>
                  <a:lnTo>
                    <a:pt x="89" y="457"/>
                  </a:lnTo>
                  <a:lnTo>
                    <a:pt x="92" y="464"/>
                  </a:lnTo>
                  <a:lnTo>
                    <a:pt x="96" y="472"/>
                  </a:lnTo>
                  <a:lnTo>
                    <a:pt x="103" y="488"/>
                  </a:lnTo>
                  <a:lnTo>
                    <a:pt x="109" y="504"/>
                  </a:lnTo>
                  <a:lnTo>
                    <a:pt x="116" y="526"/>
                  </a:lnTo>
                  <a:lnTo>
                    <a:pt x="120" y="535"/>
                  </a:lnTo>
                  <a:lnTo>
                    <a:pt x="123" y="546"/>
                  </a:lnTo>
                  <a:lnTo>
                    <a:pt x="123" y="553"/>
                  </a:lnTo>
                  <a:lnTo>
                    <a:pt x="121" y="562"/>
                  </a:lnTo>
                  <a:lnTo>
                    <a:pt x="120" y="571"/>
                  </a:lnTo>
                  <a:lnTo>
                    <a:pt x="118" y="580"/>
                  </a:lnTo>
                  <a:lnTo>
                    <a:pt x="116" y="589"/>
                  </a:lnTo>
                  <a:lnTo>
                    <a:pt x="116" y="591"/>
                  </a:lnTo>
                  <a:lnTo>
                    <a:pt x="118" y="604"/>
                  </a:lnTo>
                  <a:lnTo>
                    <a:pt x="121" y="617"/>
                  </a:lnTo>
                  <a:lnTo>
                    <a:pt x="125" y="640"/>
                  </a:lnTo>
                  <a:lnTo>
                    <a:pt x="127" y="644"/>
                  </a:lnTo>
                  <a:lnTo>
                    <a:pt x="129" y="648"/>
                  </a:lnTo>
                  <a:lnTo>
                    <a:pt x="134" y="655"/>
                  </a:lnTo>
                  <a:lnTo>
                    <a:pt x="141" y="660"/>
                  </a:lnTo>
                  <a:lnTo>
                    <a:pt x="149" y="664"/>
                  </a:lnTo>
                  <a:lnTo>
                    <a:pt x="348" y="664"/>
                  </a:lnTo>
                  <a:lnTo>
                    <a:pt x="439" y="664"/>
                  </a:lnTo>
                  <a:lnTo>
                    <a:pt x="526" y="662"/>
                  </a:lnTo>
                  <a:lnTo>
                    <a:pt x="653" y="657"/>
                  </a:lnTo>
                  <a:lnTo>
                    <a:pt x="766" y="648"/>
                  </a:lnTo>
                  <a:lnTo>
                    <a:pt x="780" y="648"/>
                  </a:lnTo>
                  <a:lnTo>
                    <a:pt x="793" y="646"/>
                  </a:lnTo>
                  <a:lnTo>
                    <a:pt x="802" y="646"/>
                  </a:lnTo>
                  <a:lnTo>
                    <a:pt x="805" y="648"/>
                  </a:lnTo>
                  <a:lnTo>
                    <a:pt x="809" y="649"/>
                  </a:lnTo>
                  <a:lnTo>
                    <a:pt x="813" y="651"/>
                  </a:lnTo>
                  <a:lnTo>
                    <a:pt x="816" y="653"/>
                  </a:lnTo>
                  <a:lnTo>
                    <a:pt x="824" y="660"/>
                  </a:lnTo>
                  <a:lnTo>
                    <a:pt x="829" y="666"/>
                  </a:lnTo>
                  <a:lnTo>
                    <a:pt x="835" y="671"/>
                  </a:lnTo>
                  <a:lnTo>
                    <a:pt x="851" y="684"/>
                  </a:lnTo>
                  <a:lnTo>
                    <a:pt x="853" y="684"/>
                  </a:lnTo>
                  <a:lnTo>
                    <a:pt x="854" y="686"/>
                  </a:lnTo>
                  <a:lnTo>
                    <a:pt x="865" y="693"/>
                  </a:lnTo>
                  <a:lnTo>
                    <a:pt x="865" y="691"/>
                  </a:lnTo>
                  <a:lnTo>
                    <a:pt x="867" y="687"/>
                  </a:lnTo>
                  <a:lnTo>
                    <a:pt x="865" y="677"/>
                  </a:lnTo>
                  <a:lnTo>
                    <a:pt x="865" y="666"/>
                  </a:lnTo>
                  <a:lnTo>
                    <a:pt x="865" y="662"/>
                  </a:lnTo>
                  <a:lnTo>
                    <a:pt x="865" y="658"/>
                  </a:lnTo>
                  <a:lnTo>
                    <a:pt x="867" y="655"/>
                  </a:lnTo>
                  <a:lnTo>
                    <a:pt x="869" y="651"/>
                  </a:lnTo>
                  <a:lnTo>
                    <a:pt x="871" y="649"/>
                  </a:lnTo>
                  <a:lnTo>
                    <a:pt x="876" y="648"/>
                  </a:lnTo>
                  <a:lnTo>
                    <a:pt x="885" y="646"/>
                  </a:lnTo>
                  <a:lnTo>
                    <a:pt x="889" y="644"/>
                  </a:lnTo>
                  <a:lnTo>
                    <a:pt x="893" y="644"/>
                  </a:lnTo>
                  <a:lnTo>
                    <a:pt x="898" y="640"/>
                  </a:lnTo>
                  <a:lnTo>
                    <a:pt x="902" y="638"/>
                  </a:lnTo>
                  <a:lnTo>
                    <a:pt x="903" y="635"/>
                  </a:lnTo>
                  <a:lnTo>
                    <a:pt x="905" y="629"/>
                  </a:lnTo>
                  <a:lnTo>
                    <a:pt x="909" y="620"/>
                  </a:lnTo>
                  <a:lnTo>
                    <a:pt x="911" y="611"/>
                  </a:lnTo>
                  <a:lnTo>
                    <a:pt x="913" y="602"/>
                  </a:lnTo>
                  <a:lnTo>
                    <a:pt x="923" y="580"/>
                  </a:lnTo>
                  <a:lnTo>
                    <a:pt x="929" y="571"/>
                  </a:lnTo>
                  <a:lnTo>
                    <a:pt x="931" y="566"/>
                  </a:lnTo>
                  <a:lnTo>
                    <a:pt x="932" y="559"/>
                  </a:lnTo>
                  <a:lnTo>
                    <a:pt x="932" y="550"/>
                  </a:lnTo>
                  <a:lnTo>
                    <a:pt x="932" y="546"/>
                  </a:lnTo>
                  <a:lnTo>
                    <a:pt x="932" y="540"/>
                  </a:lnTo>
                  <a:lnTo>
                    <a:pt x="929" y="535"/>
                  </a:lnTo>
                  <a:lnTo>
                    <a:pt x="923" y="530"/>
                  </a:lnTo>
                  <a:lnTo>
                    <a:pt x="918" y="526"/>
                  </a:lnTo>
                  <a:lnTo>
                    <a:pt x="913" y="522"/>
                  </a:lnTo>
                  <a:lnTo>
                    <a:pt x="907" y="517"/>
                  </a:lnTo>
                  <a:lnTo>
                    <a:pt x="903" y="511"/>
                  </a:lnTo>
                  <a:lnTo>
                    <a:pt x="902" y="502"/>
                  </a:lnTo>
                  <a:lnTo>
                    <a:pt x="902" y="497"/>
                  </a:lnTo>
                  <a:lnTo>
                    <a:pt x="902" y="488"/>
                  </a:lnTo>
                  <a:lnTo>
                    <a:pt x="905" y="481"/>
                  </a:lnTo>
                  <a:lnTo>
                    <a:pt x="911" y="473"/>
                  </a:lnTo>
                  <a:lnTo>
                    <a:pt x="916" y="468"/>
                  </a:lnTo>
                  <a:lnTo>
                    <a:pt x="923" y="462"/>
                  </a:lnTo>
                  <a:lnTo>
                    <a:pt x="932" y="459"/>
                  </a:lnTo>
                  <a:lnTo>
                    <a:pt x="951" y="453"/>
                  </a:lnTo>
                  <a:lnTo>
                    <a:pt x="971" y="448"/>
                  </a:lnTo>
                  <a:lnTo>
                    <a:pt x="991" y="441"/>
                  </a:lnTo>
                  <a:lnTo>
                    <a:pt x="998" y="437"/>
                  </a:lnTo>
                  <a:lnTo>
                    <a:pt x="1007" y="432"/>
                  </a:lnTo>
                  <a:lnTo>
                    <a:pt x="1012" y="426"/>
                  </a:lnTo>
                  <a:lnTo>
                    <a:pt x="1016" y="424"/>
                  </a:lnTo>
                  <a:lnTo>
                    <a:pt x="1018" y="421"/>
                  </a:lnTo>
                  <a:lnTo>
                    <a:pt x="1029" y="401"/>
                  </a:lnTo>
                  <a:lnTo>
                    <a:pt x="1036" y="388"/>
                  </a:lnTo>
                  <a:lnTo>
                    <a:pt x="1041" y="377"/>
                  </a:lnTo>
                  <a:lnTo>
                    <a:pt x="1047" y="364"/>
                  </a:lnTo>
                  <a:lnTo>
                    <a:pt x="1050" y="352"/>
                  </a:lnTo>
                  <a:lnTo>
                    <a:pt x="1054" y="339"/>
                  </a:lnTo>
                  <a:lnTo>
                    <a:pt x="1054" y="332"/>
                  </a:lnTo>
                  <a:lnTo>
                    <a:pt x="1056" y="326"/>
                  </a:lnTo>
                  <a:lnTo>
                    <a:pt x="1054" y="317"/>
                  </a:lnTo>
                  <a:lnTo>
                    <a:pt x="1054" y="312"/>
                  </a:lnTo>
                  <a:lnTo>
                    <a:pt x="1052" y="306"/>
                  </a:lnTo>
                  <a:lnTo>
                    <a:pt x="1047" y="299"/>
                  </a:lnTo>
                  <a:lnTo>
                    <a:pt x="1041" y="290"/>
                  </a:lnTo>
                  <a:lnTo>
                    <a:pt x="1038" y="288"/>
                  </a:lnTo>
                  <a:lnTo>
                    <a:pt x="1034" y="286"/>
                  </a:lnTo>
                  <a:lnTo>
                    <a:pt x="1025" y="285"/>
                  </a:lnTo>
                  <a:lnTo>
                    <a:pt x="1018" y="281"/>
                  </a:lnTo>
                  <a:lnTo>
                    <a:pt x="1012" y="279"/>
                  </a:lnTo>
                  <a:lnTo>
                    <a:pt x="1011" y="277"/>
                  </a:lnTo>
                  <a:lnTo>
                    <a:pt x="1009" y="274"/>
                  </a:lnTo>
                  <a:lnTo>
                    <a:pt x="1007" y="268"/>
                  </a:lnTo>
                  <a:lnTo>
                    <a:pt x="1007" y="261"/>
                  </a:lnTo>
                  <a:lnTo>
                    <a:pt x="1005" y="259"/>
                  </a:lnTo>
                  <a:lnTo>
                    <a:pt x="1003" y="256"/>
                  </a:lnTo>
                  <a:lnTo>
                    <a:pt x="996" y="248"/>
                  </a:lnTo>
                  <a:lnTo>
                    <a:pt x="989" y="239"/>
                  </a:lnTo>
                  <a:lnTo>
                    <a:pt x="981" y="230"/>
                  </a:lnTo>
                  <a:lnTo>
                    <a:pt x="978" y="225"/>
                  </a:lnTo>
                  <a:lnTo>
                    <a:pt x="978" y="219"/>
                  </a:lnTo>
                  <a:lnTo>
                    <a:pt x="978" y="217"/>
                  </a:lnTo>
                  <a:lnTo>
                    <a:pt x="980" y="216"/>
                  </a:lnTo>
                  <a:lnTo>
                    <a:pt x="976" y="207"/>
                  </a:lnTo>
                  <a:lnTo>
                    <a:pt x="971" y="199"/>
                  </a:lnTo>
                  <a:lnTo>
                    <a:pt x="965" y="194"/>
                  </a:lnTo>
                  <a:lnTo>
                    <a:pt x="960" y="188"/>
                  </a:lnTo>
                  <a:lnTo>
                    <a:pt x="952" y="185"/>
                  </a:lnTo>
                  <a:lnTo>
                    <a:pt x="945" y="181"/>
                  </a:lnTo>
                  <a:lnTo>
                    <a:pt x="936" y="178"/>
                  </a:lnTo>
                  <a:lnTo>
                    <a:pt x="929" y="176"/>
                  </a:lnTo>
                  <a:lnTo>
                    <a:pt x="922" y="174"/>
                  </a:lnTo>
                  <a:lnTo>
                    <a:pt x="916" y="168"/>
                  </a:lnTo>
                  <a:lnTo>
                    <a:pt x="909" y="163"/>
                  </a:lnTo>
                  <a:lnTo>
                    <a:pt x="903" y="156"/>
                  </a:lnTo>
                  <a:lnTo>
                    <a:pt x="893" y="139"/>
                  </a:lnTo>
                  <a:lnTo>
                    <a:pt x="885" y="121"/>
                  </a:lnTo>
                  <a:lnTo>
                    <a:pt x="880" y="105"/>
                  </a:lnTo>
                  <a:lnTo>
                    <a:pt x="878" y="96"/>
                  </a:lnTo>
                  <a:lnTo>
                    <a:pt x="878" y="87"/>
                  </a:lnTo>
                  <a:lnTo>
                    <a:pt x="878" y="80"/>
                  </a:lnTo>
                  <a:lnTo>
                    <a:pt x="880" y="72"/>
                  </a:lnTo>
                  <a:lnTo>
                    <a:pt x="882" y="65"/>
                  </a:lnTo>
                  <a:lnTo>
                    <a:pt x="884" y="58"/>
                  </a:lnTo>
                  <a:lnTo>
                    <a:pt x="885" y="51"/>
                  </a:lnTo>
                  <a:lnTo>
                    <a:pt x="885" y="47"/>
                  </a:lnTo>
                  <a:lnTo>
                    <a:pt x="885" y="45"/>
                  </a:lnTo>
                  <a:lnTo>
                    <a:pt x="880" y="34"/>
                  </a:lnTo>
                  <a:lnTo>
                    <a:pt x="873" y="21"/>
                  </a:lnTo>
                  <a:lnTo>
                    <a:pt x="865" y="11"/>
                  </a:lnTo>
                  <a:lnTo>
                    <a:pt x="862" y="0"/>
                  </a:lnTo>
                  <a:close/>
                </a:path>
              </a:pathLst>
            </a:custGeom>
            <a:solidFill>
              <a:srgbClr val="2E2E38"/>
            </a:solidFill>
            <a:ln w="3175" cap="flat" cmpd="sng" algn="ctr">
              <a:solidFill>
                <a:srgbClr val="747480"/>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646464"/>
                </a:solidFill>
                <a:effectLst/>
                <a:uLnTx/>
                <a:uFillTx/>
                <a:cs typeface="Times New Roman" panose="02020603050405020304" pitchFamily="18" charset="0"/>
              </a:endParaRPr>
            </a:p>
          </p:txBody>
        </p:sp>
        <p:sp>
          <p:nvSpPr>
            <p:cNvPr id="128" name="TextBox 127">
              <a:extLst>
                <a:ext uri="{FF2B5EF4-FFF2-40B4-BE49-F238E27FC236}">
                  <a16:creationId xmlns:a16="http://schemas.microsoft.com/office/drawing/2014/main" id="{F8944881-9F1F-5AAA-D29E-40C605B963BD}"/>
                </a:ext>
              </a:extLst>
            </p:cNvPr>
            <p:cNvSpPr txBox="1"/>
            <p:nvPr/>
          </p:nvSpPr>
          <p:spPr>
            <a:xfrm>
              <a:off x="5048960" y="4479666"/>
              <a:ext cx="153576" cy="92333"/>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schemeClr val="bg1"/>
                  </a:solidFill>
                  <a:effectLst/>
                  <a:uLnTx/>
                  <a:uFillTx/>
                  <a:cs typeface="Times New Roman" panose="02020603050405020304" pitchFamily="18" charset="0"/>
                </a:rPr>
                <a:t>IA</a:t>
              </a:r>
            </a:p>
          </p:txBody>
        </p:sp>
        <p:cxnSp>
          <p:nvCxnSpPr>
            <p:cNvPr id="129" name="Straight Connector 128">
              <a:extLst>
                <a:ext uri="{FF2B5EF4-FFF2-40B4-BE49-F238E27FC236}">
                  <a16:creationId xmlns:a16="http://schemas.microsoft.com/office/drawing/2014/main" id="{97893D72-3B84-F59E-6873-89FE5DD44FC5}"/>
                </a:ext>
              </a:extLst>
            </p:cNvPr>
            <p:cNvCxnSpPr/>
            <p:nvPr/>
          </p:nvCxnSpPr>
          <p:spPr>
            <a:xfrm>
              <a:off x="6526895" y="4758279"/>
              <a:ext cx="63189" cy="0"/>
            </a:xfrm>
            <a:prstGeom prst="line">
              <a:avLst/>
            </a:prstGeom>
            <a:noFill/>
            <a:ln w="6350" cap="flat" cmpd="sng" algn="ctr">
              <a:solidFill>
                <a:srgbClr val="999999"/>
              </a:solidFill>
              <a:prstDash val="solid"/>
            </a:ln>
            <a:effectLst/>
          </p:spPr>
        </p:cxnSp>
        <p:cxnSp>
          <p:nvCxnSpPr>
            <p:cNvPr id="130" name="Straight Connector 129">
              <a:extLst>
                <a:ext uri="{FF2B5EF4-FFF2-40B4-BE49-F238E27FC236}">
                  <a16:creationId xmlns:a16="http://schemas.microsoft.com/office/drawing/2014/main" id="{9A4BCF2E-7924-24C7-4327-4328A11DC093}"/>
                </a:ext>
              </a:extLst>
            </p:cNvPr>
            <p:cNvCxnSpPr/>
            <p:nvPr/>
          </p:nvCxnSpPr>
          <p:spPr>
            <a:xfrm>
              <a:off x="6572067" y="4531307"/>
              <a:ext cx="63189" cy="0"/>
            </a:xfrm>
            <a:prstGeom prst="line">
              <a:avLst/>
            </a:prstGeom>
            <a:noFill/>
            <a:ln w="6350" cap="flat" cmpd="sng" algn="ctr">
              <a:solidFill>
                <a:srgbClr val="999999"/>
              </a:solidFill>
              <a:prstDash val="solid"/>
            </a:ln>
            <a:effectLst/>
          </p:spPr>
        </p:cxnSp>
      </p:grpSp>
      <p:grpSp>
        <p:nvGrpSpPr>
          <p:cNvPr id="133" name="Group 132">
            <a:extLst>
              <a:ext uri="{FF2B5EF4-FFF2-40B4-BE49-F238E27FC236}">
                <a16:creationId xmlns:a16="http://schemas.microsoft.com/office/drawing/2014/main" id="{C0DACD70-8786-3CE6-3D0C-7822771C6F03}"/>
              </a:ext>
            </a:extLst>
          </p:cNvPr>
          <p:cNvGrpSpPr>
            <a:grpSpLocks/>
          </p:cNvGrpSpPr>
          <p:nvPr/>
        </p:nvGrpSpPr>
        <p:grpSpPr>
          <a:xfrm>
            <a:off x="7606211" y="5202696"/>
            <a:ext cx="1873983" cy="479810"/>
            <a:chOff x="6854657" y="4414485"/>
            <a:chExt cx="2079851" cy="532520"/>
          </a:xfrm>
        </p:grpSpPr>
        <p:sp>
          <p:nvSpPr>
            <p:cNvPr id="134" name="TextBox 133">
              <a:extLst>
                <a:ext uri="{FF2B5EF4-FFF2-40B4-BE49-F238E27FC236}">
                  <a16:creationId xmlns:a16="http://schemas.microsoft.com/office/drawing/2014/main" id="{FF1AA06A-7517-A7D5-668F-F46FB2CD82E8}"/>
                </a:ext>
              </a:extLst>
            </p:cNvPr>
            <p:cNvSpPr txBox="1"/>
            <p:nvPr/>
          </p:nvSpPr>
          <p:spPr>
            <a:xfrm>
              <a:off x="7407284" y="4414485"/>
              <a:ext cx="1527224" cy="498598"/>
            </a:xfrm>
            <a:prstGeom prst="rect">
              <a:avLst/>
            </a:prstGeom>
            <a:noFill/>
          </p:spPr>
          <p:txBody>
            <a:bodyPr wrap="square" lIns="0" tIns="36576" rIns="0" bIns="0" rtlCol="0">
              <a:spAutoFit/>
            </a:bodyPr>
            <a:lstStyle/>
            <a:p>
              <a:pPr>
                <a:spcAft>
                  <a:spcPts val="1200"/>
                </a:spcAft>
                <a:buClr>
                  <a:srgbClr val="FFD200"/>
                </a:buClr>
                <a:buSzPct val="70000"/>
              </a:pPr>
              <a:r>
                <a:rPr lang="en-US" sz="1000" b="1" dirty="0">
                  <a:solidFill>
                    <a:schemeClr val="bg1"/>
                  </a:solidFill>
                </a:rPr>
                <a:t>Production volume tax</a:t>
              </a:r>
            </a:p>
            <a:p>
              <a:pPr>
                <a:spcAft>
                  <a:spcPts val="1200"/>
                </a:spcAft>
                <a:buClr>
                  <a:srgbClr val="FFD200"/>
                </a:buClr>
                <a:buSzPct val="70000"/>
              </a:pPr>
              <a:r>
                <a:rPr lang="en-US" sz="1000" b="1" dirty="0">
                  <a:solidFill>
                    <a:schemeClr val="bg1"/>
                  </a:solidFill>
                </a:rPr>
                <a:t>Production value tax</a:t>
              </a:r>
              <a:endParaRPr lang="en-US" sz="1000" dirty="0">
                <a:solidFill>
                  <a:schemeClr val="bg1"/>
                </a:solidFill>
              </a:endParaRPr>
            </a:p>
          </p:txBody>
        </p:sp>
        <p:sp>
          <p:nvSpPr>
            <p:cNvPr id="135" name="Rectangle 134">
              <a:extLst>
                <a:ext uri="{FF2B5EF4-FFF2-40B4-BE49-F238E27FC236}">
                  <a16:creationId xmlns:a16="http://schemas.microsoft.com/office/drawing/2014/main" id="{548CCA40-9BC1-69C0-0E2C-C6021187DB6E}"/>
                </a:ext>
              </a:extLst>
            </p:cNvPr>
            <p:cNvSpPr>
              <a:spLocks/>
            </p:cNvSpPr>
            <p:nvPr/>
          </p:nvSpPr>
          <p:spPr>
            <a:xfrm>
              <a:off x="6854657" y="4449457"/>
              <a:ext cx="436880" cy="163183"/>
            </a:xfrm>
            <a:prstGeom prst="rect">
              <a:avLst/>
            </a:prstGeom>
            <a:solidFill>
              <a:srgbClr val="747480"/>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00" dirty="0">
                <a:solidFill>
                  <a:schemeClr val="tx1"/>
                </a:solidFill>
              </a:endParaRPr>
            </a:p>
          </p:txBody>
        </p:sp>
        <p:sp>
          <p:nvSpPr>
            <p:cNvPr id="136" name="Rectangle 135">
              <a:extLst>
                <a:ext uri="{FF2B5EF4-FFF2-40B4-BE49-F238E27FC236}">
                  <a16:creationId xmlns:a16="http://schemas.microsoft.com/office/drawing/2014/main" id="{719D5246-4934-FD4A-4CA6-78CC4D5C8A3C}"/>
                </a:ext>
              </a:extLst>
            </p:cNvPr>
            <p:cNvSpPr>
              <a:spLocks/>
            </p:cNvSpPr>
            <p:nvPr/>
          </p:nvSpPr>
          <p:spPr>
            <a:xfrm>
              <a:off x="6854657" y="4783822"/>
              <a:ext cx="436880" cy="163183"/>
            </a:xfrm>
            <a:prstGeom prst="rect">
              <a:avLst/>
            </a:prstGeom>
            <a:solidFill>
              <a:srgbClr val="FFE600"/>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00" dirty="0">
                <a:solidFill>
                  <a:schemeClr val="tx1"/>
                </a:solidFill>
              </a:endParaRPr>
            </a:p>
          </p:txBody>
        </p:sp>
      </p:grpSp>
    </p:spTree>
    <p:extLst>
      <p:ext uri="{BB962C8B-B14F-4D97-AF65-F5344CB8AC3E}">
        <p14:creationId xmlns:p14="http://schemas.microsoft.com/office/powerpoint/2010/main" val="162228329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A6BC1C-739C-6400-21BD-8EE8D8F61B75}"/>
              </a:ext>
            </a:extLst>
          </p:cNvPr>
          <p:cNvSpPr>
            <a:spLocks noGrp="1"/>
          </p:cNvSpPr>
          <p:nvPr>
            <p:ph type="title"/>
          </p:nvPr>
        </p:nvSpPr>
        <p:spPr/>
        <p:txBody>
          <a:bodyPr/>
          <a:lstStyle/>
          <a:p>
            <a:r>
              <a:rPr lang="en-US" dirty="0"/>
              <a:t>State severance tax rates</a:t>
            </a:r>
          </a:p>
        </p:txBody>
      </p:sp>
      <p:graphicFrame>
        <p:nvGraphicFramePr>
          <p:cNvPr id="7" name="Table 6">
            <a:extLst>
              <a:ext uri="{FF2B5EF4-FFF2-40B4-BE49-F238E27FC236}">
                <a16:creationId xmlns:a16="http://schemas.microsoft.com/office/drawing/2014/main" id="{58BF506E-424C-52C7-BAD7-2C47F7ABD251}"/>
              </a:ext>
            </a:extLst>
          </p:cNvPr>
          <p:cNvGraphicFramePr>
            <a:graphicFrameLocks noGrp="1"/>
          </p:cNvGraphicFramePr>
          <p:nvPr>
            <p:extLst>
              <p:ext uri="{D42A27DB-BD31-4B8C-83A1-F6EECF244321}">
                <p14:modId xmlns:p14="http://schemas.microsoft.com/office/powerpoint/2010/main" val="2434368964"/>
              </p:ext>
            </p:extLst>
          </p:nvPr>
        </p:nvGraphicFramePr>
        <p:xfrm>
          <a:off x="442762" y="1325229"/>
          <a:ext cx="11421612" cy="4785372"/>
        </p:xfrm>
        <a:graphic>
          <a:graphicData uri="http://schemas.openxmlformats.org/drawingml/2006/table">
            <a:tbl>
              <a:tblPr firstRow="1">
                <a:tableStyleId>{2D5ABB26-0587-4C30-8999-92F81FD0307C}</a:tableStyleId>
              </a:tblPr>
              <a:tblGrid>
                <a:gridCol w="840784">
                  <a:extLst>
                    <a:ext uri="{9D8B030D-6E8A-4147-A177-3AD203B41FA5}">
                      <a16:colId xmlns:a16="http://schemas.microsoft.com/office/drawing/2014/main" val="3063439409"/>
                    </a:ext>
                  </a:extLst>
                </a:gridCol>
                <a:gridCol w="2358524">
                  <a:extLst>
                    <a:ext uri="{9D8B030D-6E8A-4147-A177-3AD203B41FA5}">
                      <a16:colId xmlns:a16="http://schemas.microsoft.com/office/drawing/2014/main" val="3258372393"/>
                    </a:ext>
                  </a:extLst>
                </a:gridCol>
                <a:gridCol w="4111152">
                  <a:extLst>
                    <a:ext uri="{9D8B030D-6E8A-4147-A177-3AD203B41FA5}">
                      <a16:colId xmlns:a16="http://schemas.microsoft.com/office/drawing/2014/main" val="3759932726"/>
                    </a:ext>
                  </a:extLst>
                </a:gridCol>
                <a:gridCol w="4111152">
                  <a:extLst>
                    <a:ext uri="{9D8B030D-6E8A-4147-A177-3AD203B41FA5}">
                      <a16:colId xmlns:a16="http://schemas.microsoft.com/office/drawing/2014/main" val="3292186612"/>
                    </a:ext>
                  </a:extLst>
                </a:gridCol>
              </a:tblGrid>
              <a:tr h="446758">
                <a:tc>
                  <a:txBody>
                    <a:bodyPr/>
                    <a:lstStyle/>
                    <a:p>
                      <a:pPr marL="0" algn="l" defTabSz="685434" rtl="0" eaLnBrk="1" fontAlgn="ctr" latinLnBrk="0" hangingPunct="1"/>
                      <a:r>
                        <a:rPr lang="en-US" sz="1400" b="1" kern="1200" dirty="0">
                          <a:solidFill>
                            <a:schemeClr val="tx1"/>
                          </a:solidFill>
                        </a:rPr>
                        <a:t>State</a:t>
                      </a:r>
                      <a:endParaRPr lang="en-US" sz="1400" b="1" kern="1200" dirty="0">
                        <a:solidFill>
                          <a:schemeClr val="tx1"/>
                        </a:solidFill>
                        <a:latin typeface="+mn-lt"/>
                        <a:ea typeface="+mn-ea"/>
                        <a:cs typeface="+mn-cs"/>
                      </a:endParaRPr>
                    </a:p>
                  </a:txBody>
                  <a:tcPr marL="7064" marR="7064" marT="7064" marB="0" anchor="ctr">
                    <a:lnL>
                      <a:noFill/>
                    </a:lnL>
                    <a:lnR>
                      <a:noFill/>
                    </a:lnR>
                    <a:lnT>
                      <a:noFill/>
                    </a:lnT>
                    <a:lnB>
                      <a:noFill/>
                    </a:lnB>
                    <a:lnTlToBr w="12700" cmpd="sng">
                      <a:noFill/>
                      <a:prstDash val="solid"/>
                    </a:lnTlToBr>
                    <a:lnBlToTr w="12700" cmpd="sng">
                      <a:noFill/>
                      <a:prstDash val="solid"/>
                    </a:lnBlToTr>
                    <a:solidFill>
                      <a:schemeClr val="tx1">
                        <a:lumMod val="40000"/>
                        <a:lumOff val="60000"/>
                      </a:schemeClr>
                    </a:solidFill>
                  </a:tcPr>
                </a:tc>
                <a:tc>
                  <a:txBody>
                    <a:bodyPr/>
                    <a:lstStyle/>
                    <a:p>
                      <a:pPr marL="0" algn="l" defTabSz="685434" rtl="0" eaLnBrk="1" fontAlgn="ctr" latinLnBrk="0" hangingPunct="1"/>
                      <a:r>
                        <a:rPr lang="en-US" sz="1400" b="1" kern="1200" dirty="0">
                          <a:solidFill>
                            <a:schemeClr val="tx1"/>
                          </a:solidFill>
                        </a:rPr>
                        <a:t>Oil severance tax rate</a:t>
                      </a:r>
                      <a:endParaRPr lang="en-US" sz="1400" b="1" kern="1200" dirty="0">
                        <a:solidFill>
                          <a:schemeClr val="tx1"/>
                        </a:solidFill>
                        <a:latin typeface="+mn-lt"/>
                        <a:ea typeface="+mn-ea"/>
                        <a:cs typeface="+mn-cs"/>
                      </a:endParaRPr>
                    </a:p>
                  </a:txBody>
                  <a:tcPr marL="7064" marR="7064" marT="7064" marB="0" anchor="ctr">
                    <a:lnL>
                      <a:noFill/>
                    </a:lnL>
                    <a:lnR>
                      <a:noFill/>
                    </a:lnR>
                    <a:lnT>
                      <a:noFill/>
                    </a:lnT>
                    <a:lnB>
                      <a:noFill/>
                    </a:lnB>
                    <a:lnTlToBr w="12700" cmpd="sng">
                      <a:noFill/>
                      <a:prstDash val="solid"/>
                    </a:lnTlToBr>
                    <a:lnBlToTr w="12700" cmpd="sng">
                      <a:noFill/>
                      <a:prstDash val="solid"/>
                    </a:lnBlToTr>
                    <a:solidFill>
                      <a:schemeClr val="tx1">
                        <a:lumMod val="40000"/>
                        <a:lumOff val="60000"/>
                      </a:schemeClr>
                    </a:solidFill>
                  </a:tcPr>
                </a:tc>
                <a:tc>
                  <a:txBody>
                    <a:bodyPr/>
                    <a:lstStyle/>
                    <a:p>
                      <a:pPr marL="0" algn="l" defTabSz="685434" rtl="0" eaLnBrk="1" fontAlgn="ctr" latinLnBrk="0" hangingPunct="1"/>
                      <a:r>
                        <a:rPr lang="en-US" sz="1400" b="1" kern="1200" dirty="0">
                          <a:solidFill>
                            <a:schemeClr val="tx1"/>
                          </a:solidFill>
                        </a:rPr>
                        <a:t>Natural gas severance tax rate</a:t>
                      </a:r>
                      <a:endParaRPr lang="en-US" sz="1400" b="1" kern="1200" dirty="0">
                        <a:solidFill>
                          <a:schemeClr val="tx1"/>
                        </a:solidFill>
                        <a:latin typeface="+mn-lt"/>
                        <a:ea typeface="+mn-ea"/>
                        <a:cs typeface="+mn-cs"/>
                      </a:endParaRPr>
                    </a:p>
                  </a:txBody>
                  <a:tcPr marL="7064" marR="7064" marT="7064" marB="0" anchor="ctr">
                    <a:lnL>
                      <a:noFill/>
                    </a:lnL>
                    <a:lnR>
                      <a:noFill/>
                    </a:lnR>
                    <a:lnT>
                      <a:noFill/>
                    </a:lnT>
                    <a:lnB>
                      <a:noFill/>
                    </a:lnB>
                    <a:lnTlToBr w="12700" cmpd="sng">
                      <a:noFill/>
                      <a:prstDash val="solid"/>
                    </a:lnTlToBr>
                    <a:lnBlToTr w="12700" cmpd="sng">
                      <a:noFill/>
                      <a:prstDash val="solid"/>
                    </a:lnBlToTr>
                    <a:solidFill>
                      <a:schemeClr val="tx1">
                        <a:lumMod val="40000"/>
                        <a:lumOff val="60000"/>
                      </a:schemeClr>
                    </a:solidFill>
                  </a:tcPr>
                </a:tc>
                <a:tc>
                  <a:txBody>
                    <a:bodyPr/>
                    <a:lstStyle/>
                    <a:p>
                      <a:pPr marL="0" algn="l" defTabSz="685434" rtl="0" eaLnBrk="1" fontAlgn="ctr" latinLnBrk="0" hangingPunct="1"/>
                      <a:r>
                        <a:rPr lang="en-US" sz="1400" b="1" kern="1200" dirty="0">
                          <a:solidFill>
                            <a:schemeClr val="tx1"/>
                          </a:solidFill>
                        </a:rPr>
                        <a:t>Exemptions and incentives</a:t>
                      </a:r>
                      <a:endParaRPr lang="en-US" sz="1400" b="1" kern="1200" dirty="0">
                        <a:solidFill>
                          <a:schemeClr val="tx1"/>
                        </a:solidFill>
                        <a:latin typeface="+mn-lt"/>
                        <a:ea typeface="+mn-ea"/>
                        <a:cs typeface="+mn-cs"/>
                      </a:endParaRPr>
                    </a:p>
                  </a:txBody>
                  <a:tcPr marL="7064" marR="7064" marT="7064" marB="0" anchor="ctr">
                    <a:lnL>
                      <a:noFill/>
                    </a:lnL>
                    <a:lnR>
                      <a:noFill/>
                    </a:lnR>
                    <a:lnT>
                      <a:noFill/>
                    </a:lnT>
                    <a:lnB>
                      <a:noFill/>
                    </a:lnB>
                    <a:lnTlToBr w="12700" cmpd="sng">
                      <a:noFill/>
                      <a:prstDash val="solid"/>
                    </a:lnTlToBr>
                    <a:lnBlToTr w="12700" cmpd="sng">
                      <a:noFill/>
                      <a:prstDash val="solid"/>
                    </a:lnBlToTr>
                    <a:solidFill>
                      <a:schemeClr val="tx1">
                        <a:lumMod val="40000"/>
                        <a:lumOff val="60000"/>
                      </a:schemeClr>
                    </a:solidFill>
                  </a:tcPr>
                </a:tc>
                <a:extLst>
                  <a:ext uri="{0D108BD9-81ED-4DB2-BD59-A6C34878D82A}">
                    <a16:rowId xmlns:a16="http://schemas.microsoft.com/office/drawing/2014/main" val="477630516"/>
                  </a:ext>
                </a:extLst>
              </a:tr>
              <a:tr h="399379">
                <a:tc>
                  <a:txBody>
                    <a:bodyPr/>
                    <a:lstStyle/>
                    <a:p>
                      <a:pPr marL="0" algn="l" defTabSz="685434" rtl="0" eaLnBrk="1" fontAlgn="ctr" latinLnBrk="0" hangingPunct="1"/>
                      <a:r>
                        <a:rPr lang="en-US" sz="1000" b="1" kern="1200" dirty="0">
                          <a:solidFill>
                            <a:schemeClr val="bg1"/>
                          </a:solidFill>
                        </a:rPr>
                        <a:t>Arkansas</a:t>
                      </a:r>
                      <a:endParaRPr lang="en-US" sz="1000" b="1" kern="1200" dirty="0">
                        <a:solidFill>
                          <a:schemeClr val="bg1"/>
                        </a:solidFill>
                        <a:latin typeface="+mn-lt"/>
                        <a:ea typeface="+mn-ea"/>
                        <a:cs typeface="+mn-cs"/>
                      </a:endParaRPr>
                    </a:p>
                  </a:txBody>
                  <a:tcPr marL="7064" marR="7064" marT="7064" marB="0" anchor="ctr">
                    <a:lnL>
                      <a:noFill/>
                    </a:lnL>
                    <a:lnR>
                      <a:noFill/>
                    </a:lnR>
                    <a:lnT>
                      <a:noFill/>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434" rtl="0" eaLnBrk="1" fontAlgn="ctr" latinLnBrk="0" hangingPunct="1"/>
                      <a:r>
                        <a:rPr lang="en-US" sz="1000" b="0" kern="1200" dirty="0">
                          <a:solidFill>
                            <a:schemeClr val="bg1"/>
                          </a:solidFill>
                        </a:rPr>
                        <a:t>5% of market value for oil</a:t>
                      </a:r>
                      <a:endParaRPr lang="en-US" sz="1000" b="0" kern="1200" dirty="0">
                        <a:solidFill>
                          <a:schemeClr val="bg1"/>
                        </a:solidFill>
                        <a:latin typeface="+mn-lt"/>
                        <a:ea typeface="+mn-ea"/>
                        <a:cs typeface="+mn-cs"/>
                      </a:endParaRPr>
                    </a:p>
                  </a:txBody>
                  <a:tcPr marL="7064" marR="7064" marT="7064" marB="0" anchor="ctr">
                    <a:lnL>
                      <a:noFill/>
                    </a:lnL>
                    <a:lnR>
                      <a:noFill/>
                    </a:lnR>
                    <a:lnT>
                      <a:noFill/>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434" rtl="0" eaLnBrk="1" fontAlgn="ctr" latinLnBrk="0" hangingPunct="1"/>
                      <a:r>
                        <a:rPr lang="en-US" sz="1000" b="0" kern="1200" dirty="0">
                          <a:solidFill>
                            <a:schemeClr val="bg1"/>
                          </a:solidFill>
                        </a:rPr>
                        <a:t>5% of market value</a:t>
                      </a:r>
                      <a:endParaRPr lang="en-US" sz="1000" b="0" kern="1200" dirty="0">
                        <a:solidFill>
                          <a:schemeClr val="bg1"/>
                        </a:solidFill>
                        <a:latin typeface="+mn-lt"/>
                        <a:ea typeface="+mn-ea"/>
                        <a:cs typeface="+mn-cs"/>
                      </a:endParaRPr>
                    </a:p>
                  </a:txBody>
                  <a:tcPr marL="7064" marR="7064" marT="7064" marB="0" anchor="ctr">
                    <a:lnL>
                      <a:noFill/>
                    </a:lnL>
                    <a:lnR>
                      <a:noFill/>
                    </a:lnR>
                    <a:lnT>
                      <a:noFill/>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434" rtl="0" eaLnBrk="1" fontAlgn="ctr" latinLnBrk="0" hangingPunct="1"/>
                      <a:r>
                        <a:rPr lang="en-US" sz="1000" b="0" kern="1200" dirty="0">
                          <a:solidFill>
                            <a:schemeClr val="bg1"/>
                          </a:solidFill>
                        </a:rPr>
                        <a:t>High-cost gas (HCG); stripper wells (SWs); marketing cost (MC)</a:t>
                      </a:r>
                      <a:endParaRPr lang="en-US" sz="1000" b="0" kern="1200" dirty="0">
                        <a:solidFill>
                          <a:schemeClr val="bg1"/>
                        </a:solidFill>
                        <a:latin typeface="+mn-lt"/>
                        <a:ea typeface="+mn-ea"/>
                        <a:cs typeface="+mn-cs"/>
                      </a:endParaRPr>
                    </a:p>
                  </a:txBody>
                  <a:tcPr marL="7064" marR="7064" marT="7064" marB="0" anchor="ctr">
                    <a:lnL>
                      <a:noFill/>
                    </a:lnL>
                    <a:lnR>
                      <a:noFill/>
                    </a:lnR>
                    <a:lnT>
                      <a:noFill/>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87977430"/>
                  </a:ext>
                </a:extLst>
              </a:tr>
              <a:tr h="428040">
                <a:tc>
                  <a:txBody>
                    <a:bodyPr/>
                    <a:lstStyle/>
                    <a:p>
                      <a:pPr marL="0" algn="l" defTabSz="685434" rtl="0" eaLnBrk="1" fontAlgn="ctr" latinLnBrk="0" hangingPunct="1"/>
                      <a:r>
                        <a:rPr lang="en-US" sz="1000" b="1" kern="1200" dirty="0">
                          <a:solidFill>
                            <a:schemeClr val="bg1"/>
                          </a:solidFill>
                        </a:rPr>
                        <a:t>Colorado</a:t>
                      </a:r>
                      <a:endParaRPr lang="en-US" sz="1000" b="1" kern="1200" dirty="0">
                        <a:solidFill>
                          <a:schemeClr val="bg1"/>
                        </a:solidFill>
                        <a:latin typeface="+mn-lt"/>
                        <a:ea typeface="+mn-ea"/>
                        <a:cs typeface="+mn-cs"/>
                      </a:endParaRPr>
                    </a:p>
                  </a:txBody>
                  <a:tcPr marL="7064" marR="7064" marT="7064" marB="0" anchor="ctr">
                    <a:lnL>
                      <a:noFill/>
                    </a:lnL>
                    <a:lnR>
                      <a:noFill/>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434" rtl="0" eaLnBrk="1" fontAlgn="ctr" latinLnBrk="0" hangingPunct="1"/>
                      <a:r>
                        <a:rPr lang="en-US" sz="1000" b="0" kern="1200" dirty="0">
                          <a:solidFill>
                            <a:schemeClr val="bg1"/>
                          </a:solidFill>
                        </a:rPr>
                        <a:t>2% - 5% of gross income, with rates increasing as income increases</a:t>
                      </a:r>
                      <a:endParaRPr lang="en-US" sz="1000" b="0" kern="1200" dirty="0">
                        <a:solidFill>
                          <a:schemeClr val="bg1"/>
                        </a:solidFill>
                        <a:latin typeface="+mn-lt"/>
                        <a:ea typeface="+mn-ea"/>
                        <a:cs typeface="+mn-cs"/>
                      </a:endParaRPr>
                    </a:p>
                  </a:txBody>
                  <a:tcPr marL="7064" marR="7064" marT="7064" marB="0" anchor="ctr">
                    <a:lnL>
                      <a:noFill/>
                    </a:lnL>
                    <a:lnR>
                      <a:noFill/>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434" rtl="0" eaLnBrk="1" fontAlgn="ctr" latinLnBrk="0" hangingPunct="1"/>
                      <a:r>
                        <a:rPr lang="en-US" sz="1000" b="0" kern="1200" dirty="0">
                          <a:solidFill>
                            <a:schemeClr val="bg1"/>
                          </a:solidFill>
                        </a:rPr>
                        <a:t>2%-5% of gross income, with rates increasing as income increases</a:t>
                      </a:r>
                      <a:endParaRPr lang="en-US" sz="1000" b="0" kern="1200" dirty="0">
                        <a:solidFill>
                          <a:schemeClr val="bg1"/>
                        </a:solidFill>
                        <a:latin typeface="+mn-lt"/>
                        <a:ea typeface="+mn-ea"/>
                        <a:cs typeface="+mn-cs"/>
                      </a:endParaRPr>
                    </a:p>
                  </a:txBody>
                  <a:tcPr marL="7064" marR="7064" marT="7064" marB="0" anchor="ctr">
                    <a:lnL>
                      <a:noFill/>
                    </a:lnL>
                    <a:lnR>
                      <a:noFill/>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434" rtl="0" eaLnBrk="1" fontAlgn="ctr" latinLnBrk="0" hangingPunct="1"/>
                      <a:r>
                        <a:rPr lang="en-US" sz="1000" b="0" kern="1200" dirty="0">
                          <a:solidFill>
                            <a:schemeClr val="bg1"/>
                          </a:solidFill>
                        </a:rPr>
                        <a:t>SW; ad </a:t>
                      </a:r>
                      <a:r>
                        <a:rPr lang="en-US" sz="1000" b="0" kern="1200">
                          <a:solidFill>
                            <a:schemeClr val="bg1"/>
                          </a:solidFill>
                        </a:rPr>
                        <a:t>valorem credit; MC</a:t>
                      </a:r>
                      <a:endParaRPr lang="en-US" sz="1000" b="0" kern="1200" dirty="0">
                        <a:solidFill>
                          <a:schemeClr val="bg1"/>
                        </a:solidFill>
                        <a:latin typeface="+mn-lt"/>
                        <a:ea typeface="+mn-ea"/>
                        <a:cs typeface="+mn-cs"/>
                      </a:endParaRPr>
                    </a:p>
                  </a:txBody>
                  <a:tcPr marL="7064" marR="7064" marT="7064" marB="0" anchor="ctr">
                    <a:lnL>
                      <a:noFill/>
                    </a:lnL>
                    <a:lnR>
                      <a:noFill/>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4928181"/>
                  </a:ext>
                </a:extLst>
              </a:tr>
              <a:tr h="286405">
                <a:tc>
                  <a:txBody>
                    <a:bodyPr/>
                    <a:lstStyle/>
                    <a:p>
                      <a:pPr marL="0" algn="l" defTabSz="685434" rtl="0" eaLnBrk="1" fontAlgn="ctr" latinLnBrk="0" hangingPunct="1"/>
                      <a:r>
                        <a:rPr lang="en-US" sz="1000" b="1" kern="1200" dirty="0">
                          <a:solidFill>
                            <a:schemeClr val="bg1"/>
                          </a:solidFill>
                        </a:rPr>
                        <a:t>Kansas</a:t>
                      </a:r>
                      <a:endParaRPr lang="en-US" sz="1000" b="1" kern="1200" dirty="0">
                        <a:solidFill>
                          <a:schemeClr val="bg1"/>
                        </a:solidFill>
                        <a:latin typeface="+mn-lt"/>
                        <a:ea typeface="+mn-ea"/>
                        <a:cs typeface="+mn-cs"/>
                      </a:endParaRPr>
                    </a:p>
                  </a:txBody>
                  <a:tcPr marL="7064" marR="7064" marT="7064" marB="0" anchor="ctr">
                    <a:lnL>
                      <a:noFill/>
                    </a:lnL>
                    <a:lnR>
                      <a:noFill/>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434" rtl="0" eaLnBrk="1" fontAlgn="ctr" latinLnBrk="0" hangingPunct="1"/>
                      <a:r>
                        <a:rPr lang="en-US" sz="1000" b="0" kern="1200" dirty="0">
                          <a:solidFill>
                            <a:schemeClr val="bg1"/>
                          </a:solidFill>
                        </a:rPr>
                        <a:t>8% of gross value</a:t>
                      </a:r>
                      <a:endParaRPr lang="en-US" sz="1000" b="0" kern="1200" dirty="0">
                        <a:solidFill>
                          <a:schemeClr val="bg1"/>
                        </a:solidFill>
                        <a:latin typeface="+mn-lt"/>
                        <a:ea typeface="+mn-ea"/>
                        <a:cs typeface="+mn-cs"/>
                      </a:endParaRPr>
                    </a:p>
                  </a:txBody>
                  <a:tcPr marL="7064" marR="7064" marT="7064" marB="0" anchor="ctr">
                    <a:lnL>
                      <a:noFill/>
                    </a:lnL>
                    <a:lnR>
                      <a:noFill/>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434" rtl="0" eaLnBrk="1" fontAlgn="ctr" latinLnBrk="0" hangingPunct="1"/>
                      <a:r>
                        <a:rPr lang="en-US" sz="1000" b="0" kern="1200" dirty="0">
                          <a:solidFill>
                            <a:schemeClr val="bg1"/>
                          </a:solidFill>
                        </a:rPr>
                        <a:t>8% of gross value</a:t>
                      </a:r>
                      <a:endParaRPr lang="en-US" sz="1000" b="0" kern="1200" dirty="0">
                        <a:solidFill>
                          <a:schemeClr val="bg1"/>
                        </a:solidFill>
                        <a:latin typeface="+mn-lt"/>
                        <a:ea typeface="+mn-ea"/>
                        <a:cs typeface="+mn-cs"/>
                      </a:endParaRPr>
                    </a:p>
                  </a:txBody>
                  <a:tcPr marL="7064" marR="7064" marT="7064" marB="0" anchor="ctr">
                    <a:lnL>
                      <a:noFill/>
                    </a:lnL>
                    <a:lnR>
                      <a:noFill/>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434" rtl="0" eaLnBrk="1" fontAlgn="ctr" latinLnBrk="0" hangingPunct="1"/>
                      <a:r>
                        <a:rPr lang="en-US" sz="1000" b="0" kern="1200" dirty="0">
                          <a:solidFill>
                            <a:schemeClr val="bg1"/>
                          </a:solidFill>
                        </a:rPr>
                        <a:t>Low-producing (LP); lease use (LU); vented or flared </a:t>
                      </a:r>
                      <a:endParaRPr lang="en-US" sz="1000" b="0" kern="1200" dirty="0">
                        <a:solidFill>
                          <a:schemeClr val="bg1"/>
                        </a:solidFill>
                        <a:latin typeface="+mn-lt"/>
                        <a:ea typeface="+mn-ea"/>
                        <a:cs typeface="+mn-cs"/>
                      </a:endParaRPr>
                    </a:p>
                  </a:txBody>
                  <a:tcPr marL="7064" marR="7064" marT="7064" marB="0" anchor="ctr">
                    <a:lnL>
                      <a:noFill/>
                    </a:lnL>
                    <a:lnR>
                      <a:noFill/>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12095512"/>
                  </a:ext>
                </a:extLst>
              </a:tr>
              <a:tr h="286405">
                <a:tc>
                  <a:txBody>
                    <a:bodyPr/>
                    <a:lstStyle/>
                    <a:p>
                      <a:pPr marL="0" algn="l" defTabSz="685434" rtl="0" eaLnBrk="1" fontAlgn="ctr" latinLnBrk="0" hangingPunct="1"/>
                      <a:r>
                        <a:rPr lang="en-US" sz="1000" b="1" kern="1200" dirty="0">
                          <a:solidFill>
                            <a:schemeClr val="bg1"/>
                          </a:solidFill>
                        </a:rPr>
                        <a:t>Louisiana</a:t>
                      </a:r>
                      <a:endParaRPr lang="en-US" sz="1000" b="1" kern="1200" dirty="0">
                        <a:solidFill>
                          <a:schemeClr val="bg1"/>
                        </a:solidFill>
                        <a:latin typeface="+mn-lt"/>
                        <a:ea typeface="+mn-ea"/>
                        <a:cs typeface="+mn-cs"/>
                      </a:endParaRPr>
                    </a:p>
                  </a:txBody>
                  <a:tcPr marL="7064" marR="7064" marT="7064" marB="0" anchor="ctr">
                    <a:lnL>
                      <a:noFill/>
                    </a:lnL>
                    <a:lnR>
                      <a:noFill/>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434" rtl="0" eaLnBrk="1" fontAlgn="ctr" latinLnBrk="0" hangingPunct="1"/>
                      <a:r>
                        <a:rPr lang="en-US" sz="1000" b="0" kern="1200" dirty="0">
                          <a:solidFill>
                            <a:schemeClr val="bg1"/>
                          </a:solidFill>
                        </a:rPr>
                        <a:t>12.5% of value at the wellhead</a:t>
                      </a:r>
                      <a:endParaRPr lang="en-US" sz="1000" b="0" kern="1200" dirty="0">
                        <a:solidFill>
                          <a:schemeClr val="bg1"/>
                        </a:solidFill>
                        <a:latin typeface="+mn-lt"/>
                        <a:ea typeface="+mn-ea"/>
                        <a:cs typeface="+mn-cs"/>
                      </a:endParaRPr>
                    </a:p>
                  </a:txBody>
                  <a:tcPr marL="7064" marR="7064" marT="7064" marB="0" anchor="ctr">
                    <a:lnL>
                      <a:noFill/>
                    </a:lnL>
                    <a:lnR>
                      <a:noFill/>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434" rtl="0" eaLnBrk="1" fontAlgn="ctr" latinLnBrk="0" hangingPunct="1"/>
                      <a:r>
                        <a:rPr lang="en-US" sz="1000" b="0" kern="1200" dirty="0">
                          <a:solidFill>
                            <a:schemeClr val="bg1"/>
                          </a:solidFill>
                        </a:rPr>
                        <a:t>9.8 cents per MCF (thousand cubic feet)</a:t>
                      </a:r>
                      <a:endParaRPr lang="en-US" sz="1000" b="0" kern="1200" dirty="0">
                        <a:solidFill>
                          <a:schemeClr val="bg1"/>
                        </a:solidFill>
                        <a:latin typeface="+mn-lt"/>
                        <a:ea typeface="+mn-ea"/>
                        <a:cs typeface="+mn-cs"/>
                      </a:endParaRPr>
                    </a:p>
                  </a:txBody>
                  <a:tcPr marL="7064" marR="7064" marT="7064" marB="0" anchor="ctr">
                    <a:lnL>
                      <a:noFill/>
                    </a:lnL>
                    <a:lnR>
                      <a:noFill/>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434" rtl="0" eaLnBrk="1" fontAlgn="ctr" latinLnBrk="0" hangingPunct="1"/>
                      <a:r>
                        <a:rPr lang="en-US" sz="1000" b="0" kern="1200" dirty="0">
                          <a:solidFill>
                            <a:schemeClr val="bg1"/>
                          </a:solidFill>
                        </a:rPr>
                        <a:t>SW</a:t>
                      </a:r>
                      <a:endParaRPr lang="en-US" sz="1000" b="0" kern="1200" dirty="0">
                        <a:solidFill>
                          <a:schemeClr val="bg1"/>
                        </a:solidFill>
                        <a:latin typeface="+mn-lt"/>
                        <a:ea typeface="+mn-ea"/>
                        <a:cs typeface="+mn-cs"/>
                      </a:endParaRPr>
                    </a:p>
                  </a:txBody>
                  <a:tcPr marL="7064" marR="7064" marT="7064" marB="0" anchor="ctr">
                    <a:lnL>
                      <a:noFill/>
                    </a:lnL>
                    <a:lnR>
                      <a:noFill/>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68405510"/>
                  </a:ext>
                </a:extLst>
              </a:tr>
              <a:tr h="286405">
                <a:tc>
                  <a:txBody>
                    <a:bodyPr/>
                    <a:lstStyle/>
                    <a:p>
                      <a:pPr marL="0" algn="l" defTabSz="685434" rtl="0" eaLnBrk="1" fontAlgn="ctr" latinLnBrk="0" hangingPunct="1"/>
                      <a:r>
                        <a:rPr lang="en-US" sz="1000" b="1" kern="1200" dirty="0">
                          <a:solidFill>
                            <a:schemeClr val="bg1"/>
                          </a:solidFill>
                        </a:rPr>
                        <a:t>Michigan</a:t>
                      </a:r>
                      <a:endParaRPr lang="en-US" sz="1000" b="1" kern="1200" dirty="0">
                        <a:solidFill>
                          <a:schemeClr val="bg1"/>
                        </a:solidFill>
                        <a:latin typeface="+mn-lt"/>
                        <a:ea typeface="+mn-ea"/>
                        <a:cs typeface="+mn-cs"/>
                      </a:endParaRPr>
                    </a:p>
                  </a:txBody>
                  <a:tcPr marL="7064" marR="7064" marT="7064" marB="0" anchor="ctr">
                    <a:lnL>
                      <a:noFill/>
                    </a:lnL>
                    <a:lnR>
                      <a:noFill/>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434" rtl="0" eaLnBrk="1" fontAlgn="ctr" latinLnBrk="0" hangingPunct="1"/>
                      <a:r>
                        <a:rPr lang="en-US" sz="1000" b="0" kern="1200" dirty="0">
                          <a:solidFill>
                            <a:schemeClr val="bg1"/>
                          </a:solidFill>
                        </a:rPr>
                        <a:t>6.6% of gross value</a:t>
                      </a:r>
                      <a:endParaRPr lang="en-US" sz="1000" b="0" kern="1200" dirty="0">
                        <a:solidFill>
                          <a:schemeClr val="bg1"/>
                        </a:solidFill>
                        <a:latin typeface="+mn-lt"/>
                        <a:ea typeface="+mn-ea"/>
                        <a:cs typeface="+mn-cs"/>
                      </a:endParaRPr>
                    </a:p>
                  </a:txBody>
                  <a:tcPr marL="7064" marR="7064" marT="7064" marB="0" anchor="ctr">
                    <a:lnL>
                      <a:noFill/>
                    </a:lnL>
                    <a:lnR>
                      <a:noFill/>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434" rtl="0" eaLnBrk="1" fontAlgn="ctr" latinLnBrk="0" hangingPunct="1"/>
                      <a:r>
                        <a:rPr lang="en-US" sz="1000" b="0" kern="1200" dirty="0">
                          <a:solidFill>
                            <a:schemeClr val="bg1"/>
                          </a:solidFill>
                        </a:rPr>
                        <a:t>5% of gross value</a:t>
                      </a:r>
                      <a:endParaRPr lang="en-US" sz="1000" b="0" kern="1200" dirty="0">
                        <a:solidFill>
                          <a:schemeClr val="bg1"/>
                        </a:solidFill>
                        <a:latin typeface="+mn-lt"/>
                        <a:ea typeface="+mn-ea"/>
                        <a:cs typeface="+mn-cs"/>
                      </a:endParaRPr>
                    </a:p>
                  </a:txBody>
                  <a:tcPr marL="7064" marR="7064" marT="7064" marB="0" anchor="ctr">
                    <a:lnL>
                      <a:noFill/>
                    </a:lnL>
                    <a:lnR>
                      <a:noFill/>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434" rtl="0" eaLnBrk="1" fontAlgn="ctr" latinLnBrk="0" hangingPunct="1"/>
                      <a:r>
                        <a:rPr lang="en-US" sz="1000" b="0" kern="1200" dirty="0">
                          <a:solidFill>
                            <a:schemeClr val="bg1"/>
                          </a:solidFill>
                        </a:rPr>
                        <a:t>SW </a:t>
                      </a:r>
                      <a:endParaRPr lang="en-US" sz="1000" b="0" kern="1200" dirty="0">
                        <a:solidFill>
                          <a:schemeClr val="bg1"/>
                        </a:solidFill>
                        <a:latin typeface="+mn-lt"/>
                        <a:ea typeface="+mn-ea"/>
                        <a:cs typeface="+mn-cs"/>
                      </a:endParaRPr>
                    </a:p>
                  </a:txBody>
                  <a:tcPr marL="7064" marR="7064" marT="7064" marB="0" anchor="ctr">
                    <a:lnL>
                      <a:noFill/>
                    </a:lnL>
                    <a:lnR>
                      <a:noFill/>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77516763"/>
                  </a:ext>
                </a:extLst>
              </a:tr>
              <a:tr h="286405">
                <a:tc>
                  <a:txBody>
                    <a:bodyPr/>
                    <a:lstStyle/>
                    <a:p>
                      <a:pPr marL="0" algn="l" defTabSz="685434" rtl="0" eaLnBrk="1" fontAlgn="ctr" latinLnBrk="0" hangingPunct="1"/>
                      <a:r>
                        <a:rPr lang="en-US" sz="1000" b="1" kern="1200" dirty="0">
                          <a:solidFill>
                            <a:schemeClr val="bg1"/>
                          </a:solidFill>
                        </a:rPr>
                        <a:t>Mississippi</a:t>
                      </a:r>
                      <a:endParaRPr lang="en-US" sz="1000" b="1" kern="1200" dirty="0">
                        <a:solidFill>
                          <a:schemeClr val="bg1"/>
                        </a:solidFill>
                        <a:latin typeface="+mn-lt"/>
                        <a:ea typeface="+mn-ea"/>
                        <a:cs typeface="+mn-cs"/>
                      </a:endParaRPr>
                    </a:p>
                  </a:txBody>
                  <a:tcPr marL="7064" marR="7064" marT="7064" marB="0" anchor="ctr">
                    <a:lnL>
                      <a:noFill/>
                    </a:lnL>
                    <a:lnR>
                      <a:noFill/>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434" rtl="0" eaLnBrk="1" fontAlgn="ctr" latinLnBrk="0" hangingPunct="1"/>
                      <a:r>
                        <a:rPr lang="en-US" sz="1000" b="0" kern="1200" dirty="0">
                          <a:solidFill>
                            <a:schemeClr val="bg1"/>
                          </a:solidFill>
                        </a:rPr>
                        <a:t>6% of market value</a:t>
                      </a:r>
                      <a:endParaRPr lang="en-US" sz="1000" b="0" kern="1200" dirty="0">
                        <a:solidFill>
                          <a:schemeClr val="bg1"/>
                        </a:solidFill>
                        <a:latin typeface="+mn-lt"/>
                        <a:ea typeface="+mn-ea"/>
                        <a:cs typeface="+mn-cs"/>
                      </a:endParaRPr>
                    </a:p>
                  </a:txBody>
                  <a:tcPr marL="7064" marR="7064" marT="7064" marB="0" anchor="ctr">
                    <a:lnL>
                      <a:noFill/>
                    </a:lnL>
                    <a:lnR>
                      <a:noFill/>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434" rtl="0" eaLnBrk="1" fontAlgn="ctr" latinLnBrk="0" hangingPunct="1"/>
                      <a:r>
                        <a:rPr lang="en-US" sz="1000" b="0" kern="1200" dirty="0">
                          <a:solidFill>
                            <a:schemeClr val="bg1"/>
                          </a:solidFill>
                        </a:rPr>
                        <a:t>6% of market value</a:t>
                      </a:r>
                      <a:endParaRPr lang="en-US" sz="1000" b="0" kern="1200" dirty="0">
                        <a:solidFill>
                          <a:schemeClr val="bg1"/>
                        </a:solidFill>
                        <a:latin typeface="+mn-lt"/>
                        <a:ea typeface="+mn-ea"/>
                        <a:cs typeface="+mn-cs"/>
                      </a:endParaRPr>
                    </a:p>
                  </a:txBody>
                  <a:tcPr marL="7064" marR="7064" marT="7064" marB="0" anchor="ctr">
                    <a:lnL>
                      <a:noFill/>
                    </a:lnL>
                    <a:lnR>
                      <a:noFill/>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434" rtl="0" eaLnBrk="1" fontAlgn="ctr" latinLnBrk="0" hangingPunct="1"/>
                      <a:r>
                        <a:rPr lang="en-US" sz="1000" b="0" kern="1200" dirty="0">
                          <a:solidFill>
                            <a:schemeClr val="bg1"/>
                          </a:solidFill>
                        </a:rPr>
                        <a:t>Enhance oil recovery (EOR) wells</a:t>
                      </a:r>
                      <a:endParaRPr lang="en-US" sz="1000" b="0" kern="1200" dirty="0">
                        <a:solidFill>
                          <a:schemeClr val="bg1"/>
                        </a:solidFill>
                        <a:latin typeface="+mn-lt"/>
                        <a:ea typeface="+mn-ea"/>
                        <a:cs typeface="+mn-cs"/>
                      </a:endParaRPr>
                    </a:p>
                  </a:txBody>
                  <a:tcPr marL="7064" marR="7064" marT="7064" marB="0" anchor="ctr">
                    <a:lnL>
                      <a:noFill/>
                    </a:lnL>
                    <a:lnR>
                      <a:noFill/>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68120829"/>
                  </a:ext>
                </a:extLst>
              </a:tr>
              <a:tr h="284363">
                <a:tc>
                  <a:txBody>
                    <a:bodyPr/>
                    <a:lstStyle/>
                    <a:p>
                      <a:pPr marL="0" algn="l" defTabSz="685434" rtl="0" eaLnBrk="1" fontAlgn="ctr" latinLnBrk="0" hangingPunct="1"/>
                      <a:r>
                        <a:rPr lang="en-US" sz="1000" b="1" kern="1200" dirty="0">
                          <a:solidFill>
                            <a:schemeClr val="bg1"/>
                          </a:solidFill>
                        </a:rPr>
                        <a:t>Montana</a:t>
                      </a:r>
                      <a:endParaRPr lang="en-US" sz="1000" b="1" kern="1200" dirty="0">
                        <a:solidFill>
                          <a:schemeClr val="bg1"/>
                        </a:solidFill>
                        <a:latin typeface="+mn-lt"/>
                        <a:ea typeface="+mn-ea"/>
                        <a:cs typeface="+mn-cs"/>
                      </a:endParaRPr>
                    </a:p>
                  </a:txBody>
                  <a:tcPr marL="7064" marR="7064" marT="7064" marB="0" anchor="ctr">
                    <a:lnL>
                      <a:noFill/>
                    </a:lnL>
                    <a:lnR>
                      <a:noFill/>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434" rtl="0" eaLnBrk="1" fontAlgn="ctr" latinLnBrk="0" hangingPunct="1"/>
                      <a:r>
                        <a:rPr lang="en-US" sz="1000" b="0" kern="1200" dirty="0">
                          <a:solidFill>
                            <a:schemeClr val="bg1"/>
                          </a:solidFill>
                        </a:rPr>
                        <a:t>9% of gross value</a:t>
                      </a:r>
                      <a:endParaRPr lang="en-US" sz="1000" b="0" kern="1200" dirty="0">
                        <a:solidFill>
                          <a:schemeClr val="bg1"/>
                        </a:solidFill>
                        <a:latin typeface="+mn-lt"/>
                        <a:ea typeface="+mn-ea"/>
                        <a:cs typeface="+mn-cs"/>
                      </a:endParaRPr>
                    </a:p>
                  </a:txBody>
                  <a:tcPr marL="7064" marR="7064" marT="7064" marB="0" anchor="ctr">
                    <a:lnL>
                      <a:noFill/>
                    </a:lnL>
                    <a:lnR>
                      <a:noFill/>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434" rtl="0" eaLnBrk="1" fontAlgn="ctr" latinLnBrk="0" hangingPunct="1"/>
                      <a:r>
                        <a:rPr lang="en-US" sz="1000" b="0" kern="1200" dirty="0">
                          <a:solidFill>
                            <a:schemeClr val="bg1"/>
                          </a:solidFill>
                        </a:rPr>
                        <a:t>9% of gross value </a:t>
                      </a:r>
                      <a:endParaRPr lang="en-US" sz="1000" b="0" kern="1200" dirty="0">
                        <a:solidFill>
                          <a:schemeClr val="bg1"/>
                        </a:solidFill>
                        <a:latin typeface="+mn-lt"/>
                        <a:ea typeface="+mn-ea"/>
                        <a:cs typeface="+mn-cs"/>
                      </a:endParaRPr>
                    </a:p>
                  </a:txBody>
                  <a:tcPr marL="7064" marR="7064" marT="7064" marB="0" anchor="ctr">
                    <a:lnL>
                      <a:noFill/>
                    </a:lnL>
                    <a:lnR>
                      <a:noFill/>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434" rtl="0" eaLnBrk="1" fontAlgn="ctr" latinLnBrk="0" hangingPunct="1"/>
                      <a:r>
                        <a:rPr lang="en-US" sz="1000" b="0" kern="1200" dirty="0">
                          <a:solidFill>
                            <a:schemeClr val="bg1"/>
                          </a:solidFill>
                        </a:rPr>
                        <a:t>SW; EOR; MC</a:t>
                      </a:r>
                      <a:endParaRPr lang="en-US" sz="1000" b="0" kern="1200" dirty="0">
                        <a:solidFill>
                          <a:schemeClr val="bg1"/>
                        </a:solidFill>
                        <a:latin typeface="+mn-lt"/>
                        <a:ea typeface="+mn-ea"/>
                        <a:cs typeface="+mn-cs"/>
                      </a:endParaRPr>
                    </a:p>
                  </a:txBody>
                  <a:tcPr marL="7064" marR="7064" marT="7064" marB="0" anchor="ctr">
                    <a:lnL>
                      <a:noFill/>
                    </a:lnL>
                    <a:lnR>
                      <a:noFill/>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68107447"/>
                  </a:ext>
                </a:extLst>
              </a:tr>
              <a:tr h="286405">
                <a:tc>
                  <a:txBody>
                    <a:bodyPr/>
                    <a:lstStyle/>
                    <a:p>
                      <a:pPr marL="0" algn="l" defTabSz="685434" rtl="0" eaLnBrk="1" fontAlgn="ctr" latinLnBrk="0" hangingPunct="1"/>
                      <a:r>
                        <a:rPr lang="en-US" sz="1000" b="1" kern="1200" dirty="0">
                          <a:solidFill>
                            <a:schemeClr val="bg1"/>
                          </a:solidFill>
                        </a:rPr>
                        <a:t>New Mexico</a:t>
                      </a:r>
                      <a:endParaRPr lang="en-US" sz="1000" b="1" kern="1200" dirty="0">
                        <a:solidFill>
                          <a:schemeClr val="bg1"/>
                        </a:solidFill>
                        <a:latin typeface="+mn-lt"/>
                        <a:ea typeface="+mn-ea"/>
                        <a:cs typeface="+mn-cs"/>
                      </a:endParaRPr>
                    </a:p>
                  </a:txBody>
                  <a:tcPr marL="7064" marR="7064" marT="7064" marB="0" anchor="ctr">
                    <a:lnL>
                      <a:noFill/>
                    </a:lnL>
                    <a:lnR>
                      <a:noFill/>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434" rtl="0" eaLnBrk="1" fontAlgn="ctr" latinLnBrk="0" hangingPunct="1"/>
                      <a:r>
                        <a:rPr lang="en-US" sz="1000" b="0" kern="1200" dirty="0">
                          <a:solidFill>
                            <a:schemeClr val="bg1"/>
                          </a:solidFill>
                        </a:rPr>
                        <a:t>3.75% of market value</a:t>
                      </a:r>
                      <a:endParaRPr lang="en-US" sz="1000" b="0" kern="1200" dirty="0">
                        <a:solidFill>
                          <a:schemeClr val="bg1"/>
                        </a:solidFill>
                        <a:latin typeface="+mn-lt"/>
                        <a:ea typeface="+mn-ea"/>
                        <a:cs typeface="+mn-cs"/>
                      </a:endParaRPr>
                    </a:p>
                  </a:txBody>
                  <a:tcPr marL="7064" marR="7064" marT="7064" marB="0" anchor="ctr">
                    <a:lnL>
                      <a:noFill/>
                    </a:lnL>
                    <a:lnR>
                      <a:noFill/>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434" rtl="0" eaLnBrk="1" fontAlgn="ctr" latinLnBrk="0" hangingPunct="1"/>
                      <a:r>
                        <a:rPr lang="en-US" sz="1000" b="0" kern="1200" dirty="0">
                          <a:solidFill>
                            <a:schemeClr val="bg1"/>
                          </a:solidFill>
                        </a:rPr>
                        <a:t>3.75% of market value</a:t>
                      </a:r>
                      <a:endParaRPr lang="en-US" sz="1000" b="0" kern="1200" dirty="0">
                        <a:solidFill>
                          <a:schemeClr val="bg1"/>
                        </a:solidFill>
                        <a:latin typeface="+mn-lt"/>
                        <a:ea typeface="+mn-ea"/>
                        <a:cs typeface="+mn-cs"/>
                      </a:endParaRPr>
                    </a:p>
                  </a:txBody>
                  <a:tcPr marL="7064" marR="7064" marT="7064" marB="0" anchor="ctr">
                    <a:lnL>
                      <a:noFill/>
                    </a:lnL>
                    <a:lnR>
                      <a:noFill/>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434" rtl="0" eaLnBrk="1" fontAlgn="ctr" latinLnBrk="0" hangingPunct="1"/>
                      <a:r>
                        <a:rPr lang="en-US" sz="1000" b="0" kern="1200" dirty="0">
                          <a:solidFill>
                            <a:schemeClr val="bg1"/>
                          </a:solidFill>
                        </a:rPr>
                        <a:t>Royalty deductions; MC</a:t>
                      </a:r>
                      <a:endParaRPr lang="en-US" sz="1000" b="0" kern="1200" dirty="0">
                        <a:solidFill>
                          <a:schemeClr val="bg1"/>
                        </a:solidFill>
                        <a:latin typeface="+mn-lt"/>
                        <a:ea typeface="+mn-ea"/>
                        <a:cs typeface="+mn-cs"/>
                      </a:endParaRPr>
                    </a:p>
                  </a:txBody>
                  <a:tcPr marL="7064" marR="7064" marT="7064" marB="0" anchor="ctr">
                    <a:lnL>
                      <a:noFill/>
                    </a:lnL>
                    <a:lnR>
                      <a:noFill/>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86223709"/>
                  </a:ext>
                </a:extLst>
              </a:tr>
              <a:tr h="286405">
                <a:tc>
                  <a:txBody>
                    <a:bodyPr/>
                    <a:lstStyle/>
                    <a:p>
                      <a:pPr marL="0" algn="l" defTabSz="685434" rtl="0" eaLnBrk="1" fontAlgn="ctr" latinLnBrk="0" hangingPunct="1"/>
                      <a:r>
                        <a:rPr lang="en-US" sz="1000" b="1" kern="1200" dirty="0">
                          <a:solidFill>
                            <a:schemeClr val="bg1"/>
                          </a:solidFill>
                        </a:rPr>
                        <a:t>North Dakota</a:t>
                      </a:r>
                      <a:endParaRPr lang="en-US" sz="1000" b="1" kern="1200" dirty="0">
                        <a:solidFill>
                          <a:schemeClr val="bg1"/>
                        </a:solidFill>
                        <a:latin typeface="+mn-lt"/>
                        <a:ea typeface="+mn-ea"/>
                        <a:cs typeface="+mn-cs"/>
                      </a:endParaRPr>
                    </a:p>
                  </a:txBody>
                  <a:tcPr marL="7064" marR="7064" marT="7064" marB="0" anchor="ctr">
                    <a:lnL>
                      <a:noFill/>
                    </a:lnL>
                    <a:lnR>
                      <a:noFill/>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434" rtl="0" eaLnBrk="1" fontAlgn="ctr" latinLnBrk="0" hangingPunct="1"/>
                      <a:r>
                        <a:rPr lang="en-US" sz="1000" b="0" kern="1200" dirty="0">
                          <a:solidFill>
                            <a:schemeClr val="bg1"/>
                          </a:solidFill>
                        </a:rPr>
                        <a:t>5% of gross value</a:t>
                      </a:r>
                      <a:endParaRPr lang="en-US" sz="1000" b="0" kern="1200" dirty="0">
                        <a:solidFill>
                          <a:schemeClr val="bg1"/>
                        </a:solidFill>
                        <a:latin typeface="+mn-lt"/>
                        <a:ea typeface="+mn-ea"/>
                        <a:cs typeface="+mn-cs"/>
                      </a:endParaRPr>
                    </a:p>
                  </a:txBody>
                  <a:tcPr marL="7064" marR="7064" marT="7064" marB="0" anchor="ctr">
                    <a:lnL>
                      <a:noFill/>
                    </a:lnL>
                    <a:lnR>
                      <a:noFill/>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434" rtl="0" eaLnBrk="1" fontAlgn="ctr" latinLnBrk="0" hangingPunct="1"/>
                      <a:r>
                        <a:rPr lang="en-US" sz="1000" b="0" kern="1200" dirty="0">
                          <a:solidFill>
                            <a:schemeClr val="bg1"/>
                          </a:solidFill>
                        </a:rPr>
                        <a:t>5% of gross value</a:t>
                      </a:r>
                      <a:endParaRPr lang="en-US" sz="1000" b="0" kern="1200" dirty="0">
                        <a:solidFill>
                          <a:schemeClr val="bg1"/>
                        </a:solidFill>
                        <a:latin typeface="+mn-lt"/>
                        <a:ea typeface="+mn-ea"/>
                        <a:cs typeface="+mn-cs"/>
                      </a:endParaRPr>
                    </a:p>
                  </a:txBody>
                  <a:tcPr marL="7064" marR="7064" marT="7064" marB="0" anchor="ctr">
                    <a:lnL>
                      <a:noFill/>
                    </a:lnL>
                    <a:lnR>
                      <a:noFill/>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434" rtl="0" eaLnBrk="1" fontAlgn="ctr" latinLnBrk="0" hangingPunct="1"/>
                      <a:r>
                        <a:rPr lang="en-US" sz="1000" b="0" kern="1200" dirty="0">
                          <a:solidFill>
                            <a:schemeClr val="bg1"/>
                          </a:solidFill>
                        </a:rPr>
                        <a:t>SW; incremental production from secondary and tertiary </a:t>
                      </a:r>
                      <a:r>
                        <a:rPr lang="en-US" sz="1000" b="0" kern="1200">
                          <a:solidFill>
                            <a:schemeClr val="bg1"/>
                          </a:solidFill>
                        </a:rPr>
                        <a:t>recovery wells; MC</a:t>
                      </a:r>
                      <a:endParaRPr lang="en-US" sz="1000" b="0" kern="1200" dirty="0">
                        <a:solidFill>
                          <a:schemeClr val="bg1"/>
                        </a:solidFill>
                        <a:latin typeface="+mn-lt"/>
                        <a:ea typeface="+mn-ea"/>
                        <a:cs typeface="+mn-cs"/>
                      </a:endParaRPr>
                    </a:p>
                  </a:txBody>
                  <a:tcPr marL="7064" marR="7064" marT="7064" marB="0" anchor="ctr">
                    <a:lnL>
                      <a:noFill/>
                    </a:lnL>
                    <a:lnR>
                      <a:noFill/>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51029445"/>
                  </a:ext>
                </a:extLst>
              </a:tr>
              <a:tr h="286405">
                <a:tc>
                  <a:txBody>
                    <a:bodyPr/>
                    <a:lstStyle/>
                    <a:p>
                      <a:pPr marL="0" algn="l" defTabSz="685434" rtl="0" eaLnBrk="1" fontAlgn="ctr" latinLnBrk="0" hangingPunct="1"/>
                      <a:r>
                        <a:rPr lang="en-US" sz="1000" b="1" kern="1200" dirty="0">
                          <a:solidFill>
                            <a:schemeClr val="bg1"/>
                          </a:solidFill>
                        </a:rPr>
                        <a:t>Oklahoma</a:t>
                      </a:r>
                      <a:endParaRPr lang="en-US" sz="1000" b="1" kern="1200" dirty="0">
                        <a:solidFill>
                          <a:schemeClr val="bg1"/>
                        </a:solidFill>
                        <a:latin typeface="+mn-lt"/>
                        <a:ea typeface="+mn-ea"/>
                        <a:cs typeface="+mn-cs"/>
                      </a:endParaRPr>
                    </a:p>
                  </a:txBody>
                  <a:tcPr marL="7064" marR="7064" marT="7064" marB="0" anchor="ctr">
                    <a:lnL>
                      <a:noFill/>
                    </a:lnL>
                    <a:lnR>
                      <a:noFill/>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434" rtl="0" eaLnBrk="1" fontAlgn="ctr" latinLnBrk="0" hangingPunct="1"/>
                      <a:r>
                        <a:rPr lang="en-US" sz="1000" b="0" kern="1200" dirty="0">
                          <a:solidFill>
                            <a:schemeClr val="bg1"/>
                          </a:solidFill>
                        </a:rPr>
                        <a:t>7% of gross value</a:t>
                      </a:r>
                      <a:endParaRPr lang="en-US" sz="1000" b="0" kern="1200" dirty="0">
                        <a:solidFill>
                          <a:schemeClr val="bg1"/>
                        </a:solidFill>
                        <a:latin typeface="+mn-lt"/>
                        <a:ea typeface="+mn-ea"/>
                        <a:cs typeface="+mn-cs"/>
                      </a:endParaRPr>
                    </a:p>
                  </a:txBody>
                  <a:tcPr marL="7064" marR="7064" marT="7064" marB="0" anchor="ctr">
                    <a:lnL>
                      <a:noFill/>
                    </a:lnL>
                    <a:lnR>
                      <a:noFill/>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434" rtl="0" eaLnBrk="1" fontAlgn="ctr" latinLnBrk="0" hangingPunct="1"/>
                      <a:r>
                        <a:rPr lang="en-US" sz="1000" b="0" kern="1200" dirty="0">
                          <a:solidFill>
                            <a:schemeClr val="bg1"/>
                          </a:solidFill>
                        </a:rPr>
                        <a:t>7% of gross value</a:t>
                      </a:r>
                      <a:endParaRPr lang="en-US" sz="1000" b="0" kern="1200" dirty="0">
                        <a:solidFill>
                          <a:schemeClr val="bg1"/>
                        </a:solidFill>
                        <a:latin typeface="+mn-lt"/>
                        <a:ea typeface="+mn-ea"/>
                        <a:cs typeface="+mn-cs"/>
                      </a:endParaRPr>
                    </a:p>
                  </a:txBody>
                  <a:tcPr marL="7064" marR="7064" marT="7064" marB="0" anchor="ctr">
                    <a:lnL>
                      <a:noFill/>
                    </a:lnL>
                    <a:lnR>
                      <a:noFill/>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434" rtl="0" eaLnBrk="1" fontAlgn="ctr" latinLnBrk="0" hangingPunct="1"/>
                      <a:r>
                        <a:rPr lang="en-US" sz="1000" b="0" kern="1200" dirty="0">
                          <a:solidFill>
                            <a:schemeClr val="bg1"/>
                          </a:solidFill>
                        </a:rPr>
                        <a:t>Qualified new production; MC</a:t>
                      </a:r>
                      <a:endParaRPr lang="en-US" sz="1000" b="0" kern="1200" dirty="0">
                        <a:solidFill>
                          <a:schemeClr val="bg1"/>
                        </a:solidFill>
                        <a:latin typeface="+mn-lt"/>
                        <a:ea typeface="+mn-ea"/>
                        <a:cs typeface="+mn-cs"/>
                      </a:endParaRPr>
                    </a:p>
                  </a:txBody>
                  <a:tcPr marL="7064" marR="7064" marT="7064" marB="0" anchor="ctr">
                    <a:lnL>
                      <a:noFill/>
                    </a:lnL>
                    <a:lnR>
                      <a:noFill/>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07285198"/>
                  </a:ext>
                </a:extLst>
              </a:tr>
              <a:tr h="286405">
                <a:tc>
                  <a:txBody>
                    <a:bodyPr/>
                    <a:lstStyle/>
                    <a:p>
                      <a:pPr marL="0" algn="l" defTabSz="685434" rtl="0" eaLnBrk="1" fontAlgn="ctr" latinLnBrk="0" hangingPunct="1"/>
                      <a:r>
                        <a:rPr lang="en-US" sz="1000" b="1" kern="1200" dirty="0">
                          <a:solidFill>
                            <a:schemeClr val="bg1"/>
                          </a:solidFill>
                        </a:rPr>
                        <a:t>Texas</a:t>
                      </a:r>
                      <a:endParaRPr lang="en-US" sz="1000" b="1" kern="1200" dirty="0">
                        <a:solidFill>
                          <a:schemeClr val="bg1"/>
                        </a:solidFill>
                        <a:latin typeface="+mn-lt"/>
                        <a:ea typeface="+mn-ea"/>
                        <a:cs typeface="+mn-cs"/>
                      </a:endParaRPr>
                    </a:p>
                  </a:txBody>
                  <a:tcPr marL="7064" marR="7064" marT="7064" marB="0" anchor="ctr">
                    <a:lnL>
                      <a:noFill/>
                    </a:lnL>
                    <a:lnR>
                      <a:noFill/>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434" rtl="0" eaLnBrk="1" fontAlgn="ctr" latinLnBrk="0" hangingPunct="1"/>
                      <a:r>
                        <a:rPr lang="en-US" sz="1000" b="0" kern="1200" dirty="0">
                          <a:solidFill>
                            <a:schemeClr val="bg1"/>
                          </a:solidFill>
                        </a:rPr>
                        <a:t>4.6% of market value</a:t>
                      </a:r>
                      <a:endParaRPr lang="en-US" sz="1000" b="0" kern="1200" dirty="0">
                        <a:solidFill>
                          <a:schemeClr val="bg1"/>
                        </a:solidFill>
                        <a:latin typeface="+mn-lt"/>
                        <a:ea typeface="+mn-ea"/>
                        <a:cs typeface="+mn-cs"/>
                      </a:endParaRPr>
                    </a:p>
                  </a:txBody>
                  <a:tcPr marL="7064" marR="7064" marT="7064" marB="0" anchor="ctr">
                    <a:lnL>
                      <a:noFill/>
                    </a:lnL>
                    <a:lnR>
                      <a:noFill/>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434" rtl="0" eaLnBrk="1" fontAlgn="ctr" latinLnBrk="0" hangingPunct="1"/>
                      <a:r>
                        <a:rPr lang="en-US" sz="1000" b="0" kern="1200" dirty="0">
                          <a:solidFill>
                            <a:schemeClr val="bg1"/>
                          </a:solidFill>
                        </a:rPr>
                        <a:t>7.5% of market value</a:t>
                      </a:r>
                      <a:endParaRPr lang="en-US" sz="1000" b="0" kern="1200" dirty="0">
                        <a:solidFill>
                          <a:schemeClr val="bg1"/>
                        </a:solidFill>
                        <a:latin typeface="+mn-lt"/>
                        <a:ea typeface="+mn-ea"/>
                        <a:cs typeface="+mn-cs"/>
                      </a:endParaRPr>
                    </a:p>
                  </a:txBody>
                  <a:tcPr marL="7064" marR="7064" marT="7064" marB="0" anchor="ctr">
                    <a:lnL>
                      <a:noFill/>
                    </a:lnL>
                    <a:lnR>
                      <a:noFill/>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434" rtl="0" eaLnBrk="1" fontAlgn="ctr" latinLnBrk="0" hangingPunct="1"/>
                      <a:r>
                        <a:rPr lang="en-US" sz="1000" b="0" kern="1200" dirty="0">
                          <a:solidFill>
                            <a:schemeClr val="bg1"/>
                          </a:solidFill>
                        </a:rPr>
                        <a:t>LP; HCG; MC</a:t>
                      </a:r>
                      <a:endParaRPr lang="en-US" sz="1000" b="0" kern="1200" dirty="0">
                        <a:solidFill>
                          <a:schemeClr val="bg1"/>
                        </a:solidFill>
                        <a:latin typeface="+mn-lt"/>
                        <a:ea typeface="+mn-ea"/>
                        <a:cs typeface="+mn-cs"/>
                      </a:endParaRPr>
                    </a:p>
                  </a:txBody>
                  <a:tcPr marL="7064" marR="7064" marT="7064" marB="0" anchor="ctr">
                    <a:lnL>
                      <a:noFill/>
                    </a:lnL>
                    <a:lnR>
                      <a:noFill/>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2425165"/>
                  </a:ext>
                </a:extLst>
              </a:tr>
              <a:tr h="286405">
                <a:tc>
                  <a:txBody>
                    <a:bodyPr/>
                    <a:lstStyle/>
                    <a:p>
                      <a:pPr marL="0" algn="l" defTabSz="685434" rtl="0" eaLnBrk="1" fontAlgn="ctr" latinLnBrk="0" hangingPunct="1"/>
                      <a:r>
                        <a:rPr lang="en-US" sz="1000" b="1" kern="1200" dirty="0">
                          <a:solidFill>
                            <a:schemeClr val="bg1"/>
                          </a:solidFill>
                        </a:rPr>
                        <a:t>Utah</a:t>
                      </a:r>
                      <a:endParaRPr lang="en-US" sz="1000" b="1" kern="1200" dirty="0">
                        <a:solidFill>
                          <a:schemeClr val="bg1"/>
                        </a:solidFill>
                        <a:latin typeface="+mn-lt"/>
                        <a:ea typeface="+mn-ea"/>
                        <a:cs typeface="+mn-cs"/>
                      </a:endParaRPr>
                    </a:p>
                  </a:txBody>
                  <a:tcPr marL="7064" marR="7064" marT="7064" marB="0" anchor="ctr">
                    <a:lnL>
                      <a:noFill/>
                    </a:lnL>
                    <a:lnR>
                      <a:noFill/>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434" rtl="0" eaLnBrk="1" fontAlgn="ctr" latinLnBrk="0" hangingPunct="1"/>
                      <a:r>
                        <a:rPr lang="en-US" sz="1000" b="0" kern="1200" dirty="0">
                          <a:solidFill>
                            <a:schemeClr val="bg1"/>
                          </a:solidFill>
                        </a:rPr>
                        <a:t>3% of market value under $1.50/MCF; 5% above $1.50/MCF</a:t>
                      </a:r>
                      <a:endParaRPr lang="en-US" sz="1000" b="0" kern="1200" dirty="0">
                        <a:solidFill>
                          <a:schemeClr val="bg1"/>
                        </a:solidFill>
                        <a:latin typeface="+mn-lt"/>
                        <a:ea typeface="+mn-ea"/>
                        <a:cs typeface="+mn-cs"/>
                      </a:endParaRPr>
                    </a:p>
                  </a:txBody>
                  <a:tcPr marL="7064" marR="7064" marT="7064" marB="0" anchor="ctr">
                    <a:lnL>
                      <a:noFill/>
                    </a:lnL>
                    <a:lnR>
                      <a:noFill/>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434" rtl="0" eaLnBrk="1" fontAlgn="ctr" latinLnBrk="0" hangingPunct="1"/>
                      <a:r>
                        <a:rPr lang="en-US" sz="1000" b="0" kern="1200" dirty="0">
                          <a:solidFill>
                            <a:schemeClr val="bg1"/>
                          </a:solidFill>
                        </a:rPr>
                        <a:t>3% of market value under $13.00/BBL; 5% above $13.00/BBL</a:t>
                      </a:r>
                      <a:endParaRPr lang="en-US" sz="1000" b="0" kern="1200" dirty="0">
                        <a:solidFill>
                          <a:schemeClr val="bg1"/>
                        </a:solidFill>
                        <a:latin typeface="+mn-lt"/>
                        <a:ea typeface="+mn-ea"/>
                        <a:cs typeface="+mn-cs"/>
                      </a:endParaRPr>
                    </a:p>
                  </a:txBody>
                  <a:tcPr marL="7064" marR="7064" marT="7064" marB="0" anchor="ctr">
                    <a:lnL>
                      <a:noFill/>
                    </a:lnL>
                    <a:lnR>
                      <a:noFill/>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434" rtl="0" eaLnBrk="1" fontAlgn="ctr" latinLnBrk="0" hangingPunct="1"/>
                      <a:r>
                        <a:rPr lang="en-US" sz="1000" b="0" kern="1200" dirty="0">
                          <a:solidFill>
                            <a:schemeClr val="bg1"/>
                          </a:solidFill>
                        </a:rPr>
                        <a:t>EOR; new wells; wildcat wells; SW; workovers/recompletions; graduated tax rate</a:t>
                      </a:r>
                      <a:endParaRPr lang="en-US" sz="1000" b="0" kern="1200" dirty="0">
                        <a:solidFill>
                          <a:schemeClr val="bg1"/>
                        </a:solidFill>
                        <a:latin typeface="+mn-lt"/>
                        <a:ea typeface="+mn-ea"/>
                        <a:cs typeface="+mn-cs"/>
                      </a:endParaRPr>
                    </a:p>
                  </a:txBody>
                  <a:tcPr marL="7064" marR="7064" marT="7064" marB="0" anchor="ctr">
                    <a:lnL>
                      <a:noFill/>
                    </a:lnL>
                    <a:lnR>
                      <a:noFill/>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84932142"/>
                  </a:ext>
                </a:extLst>
              </a:tr>
              <a:tr h="286405">
                <a:tc>
                  <a:txBody>
                    <a:bodyPr/>
                    <a:lstStyle/>
                    <a:p>
                      <a:pPr marL="0" algn="l" defTabSz="685434" rtl="0" eaLnBrk="1" fontAlgn="ctr" latinLnBrk="0" hangingPunct="1"/>
                      <a:r>
                        <a:rPr lang="en-US" sz="1000" b="1" kern="1200" dirty="0">
                          <a:solidFill>
                            <a:schemeClr val="bg1"/>
                          </a:solidFill>
                        </a:rPr>
                        <a:t>West Virginia</a:t>
                      </a:r>
                      <a:endParaRPr lang="en-US" sz="1000" b="1" kern="1200" dirty="0">
                        <a:solidFill>
                          <a:schemeClr val="bg1"/>
                        </a:solidFill>
                        <a:latin typeface="+mn-lt"/>
                        <a:ea typeface="+mn-ea"/>
                        <a:cs typeface="+mn-cs"/>
                      </a:endParaRPr>
                    </a:p>
                  </a:txBody>
                  <a:tcPr marL="7064" marR="7064" marT="7064" marB="0" anchor="ctr">
                    <a:lnL>
                      <a:noFill/>
                    </a:lnL>
                    <a:lnR>
                      <a:noFill/>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434" rtl="0" eaLnBrk="1" fontAlgn="ctr" latinLnBrk="0" hangingPunct="1"/>
                      <a:r>
                        <a:rPr lang="en-US" sz="1000" b="0" kern="1200" dirty="0">
                          <a:solidFill>
                            <a:schemeClr val="bg1"/>
                          </a:solidFill>
                        </a:rPr>
                        <a:t>5% of gross value</a:t>
                      </a:r>
                      <a:endParaRPr lang="en-US" sz="1000" b="0" kern="1200" dirty="0">
                        <a:solidFill>
                          <a:schemeClr val="bg1"/>
                        </a:solidFill>
                        <a:latin typeface="+mn-lt"/>
                        <a:ea typeface="+mn-ea"/>
                        <a:cs typeface="+mn-cs"/>
                      </a:endParaRPr>
                    </a:p>
                  </a:txBody>
                  <a:tcPr marL="7064" marR="7064" marT="7064" marB="0" anchor="ctr">
                    <a:lnL>
                      <a:noFill/>
                    </a:lnL>
                    <a:lnR>
                      <a:noFill/>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434" rtl="0" eaLnBrk="1" fontAlgn="ctr" latinLnBrk="0" hangingPunct="1"/>
                      <a:r>
                        <a:rPr lang="en-US" sz="1000" b="0" kern="1200" dirty="0">
                          <a:solidFill>
                            <a:schemeClr val="bg1"/>
                          </a:solidFill>
                        </a:rPr>
                        <a:t>5% of gross value</a:t>
                      </a:r>
                      <a:endParaRPr lang="en-US" sz="1000" b="0" kern="1200" dirty="0">
                        <a:solidFill>
                          <a:schemeClr val="bg1"/>
                        </a:solidFill>
                        <a:latin typeface="+mn-lt"/>
                        <a:ea typeface="+mn-ea"/>
                        <a:cs typeface="+mn-cs"/>
                      </a:endParaRPr>
                    </a:p>
                  </a:txBody>
                  <a:tcPr marL="7064" marR="7064" marT="7064" marB="0" anchor="ctr">
                    <a:lnL>
                      <a:noFill/>
                    </a:lnL>
                    <a:lnR>
                      <a:noFill/>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434" rtl="0" eaLnBrk="1" fontAlgn="ctr" latinLnBrk="0" hangingPunct="1"/>
                      <a:r>
                        <a:rPr lang="en-US" sz="1000" b="0" kern="1200" dirty="0">
                          <a:solidFill>
                            <a:schemeClr val="bg1"/>
                          </a:solidFill>
                        </a:rPr>
                        <a:t>MC</a:t>
                      </a:r>
                      <a:endParaRPr lang="en-US" sz="1000" b="0" kern="1200" dirty="0">
                        <a:solidFill>
                          <a:schemeClr val="bg1"/>
                        </a:solidFill>
                        <a:latin typeface="+mn-lt"/>
                        <a:ea typeface="+mn-ea"/>
                        <a:cs typeface="+mn-cs"/>
                      </a:endParaRPr>
                    </a:p>
                  </a:txBody>
                  <a:tcPr marL="7064" marR="7064" marT="7064" marB="0" anchor="ctr">
                    <a:lnL>
                      <a:noFill/>
                    </a:lnL>
                    <a:lnR>
                      <a:noFill/>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19499075"/>
                  </a:ext>
                </a:extLst>
              </a:tr>
              <a:tr h="286405">
                <a:tc>
                  <a:txBody>
                    <a:bodyPr/>
                    <a:lstStyle/>
                    <a:p>
                      <a:pPr marL="0" algn="l" defTabSz="685434" rtl="0" eaLnBrk="1" fontAlgn="ctr" latinLnBrk="0" hangingPunct="1"/>
                      <a:r>
                        <a:rPr lang="en-US" sz="1000" b="1" kern="1200" dirty="0">
                          <a:solidFill>
                            <a:schemeClr val="bg1"/>
                          </a:solidFill>
                        </a:rPr>
                        <a:t>Wyoming</a:t>
                      </a:r>
                      <a:endParaRPr lang="en-US" sz="1000" b="1" kern="1200" dirty="0">
                        <a:solidFill>
                          <a:schemeClr val="bg1"/>
                        </a:solidFill>
                        <a:latin typeface="+mn-lt"/>
                        <a:ea typeface="+mn-ea"/>
                        <a:cs typeface="+mn-cs"/>
                      </a:endParaRPr>
                    </a:p>
                  </a:txBody>
                  <a:tcPr marL="7064" marR="7064" marT="7064" marB="0" anchor="ctr">
                    <a:lnL>
                      <a:noFill/>
                    </a:lnL>
                    <a:lnR>
                      <a:noFill/>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434" rtl="0" eaLnBrk="1" fontAlgn="ctr" latinLnBrk="0" hangingPunct="1"/>
                      <a:r>
                        <a:rPr lang="en-US" sz="1000" b="0" kern="1200" dirty="0">
                          <a:solidFill>
                            <a:schemeClr val="bg1"/>
                          </a:solidFill>
                        </a:rPr>
                        <a:t>6% of market value; 4% of market value for oil stripper wells</a:t>
                      </a:r>
                      <a:endParaRPr lang="en-US" sz="1000" b="0" kern="1200" dirty="0">
                        <a:solidFill>
                          <a:schemeClr val="bg1"/>
                        </a:solidFill>
                        <a:latin typeface="+mn-lt"/>
                        <a:ea typeface="+mn-ea"/>
                        <a:cs typeface="+mn-cs"/>
                      </a:endParaRPr>
                    </a:p>
                  </a:txBody>
                  <a:tcPr marL="7064" marR="7064" marT="7064" marB="0" anchor="ctr">
                    <a:lnL>
                      <a:noFill/>
                    </a:lnL>
                    <a:lnR>
                      <a:noFill/>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434" rtl="0" eaLnBrk="1" fontAlgn="ctr" latinLnBrk="0" hangingPunct="1"/>
                      <a:r>
                        <a:rPr lang="en-US" sz="1000" b="0" kern="1200" dirty="0">
                          <a:solidFill>
                            <a:schemeClr val="bg1"/>
                          </a:solidFill>
                        </a:rPr>
                        <a:t>6% of market value; 4% of market value for natural gas stripper wells</a:t>
                      </a:r>
                      <a:endParaRPr lang="en-US" sz="1000" b="0" kern="1200" dirty="0">
                        <a:solidFill>
                          <a:schemeClr val="bg1"/>
                        </a:solidFill>
                        <a:latin typeface="+mn-lt"/>
                        <a:ea typeface="+mn-ea"/>
                        <a:cs typeface="+mn-cs"/>
                      </a:endParaRPr>
                    </a:p>
                  </a:txBody>
                  <a:tcPr marL="7064" marR="7064" marT="7064" marB="0" anchor="ctr">
                    <a:lnL>
                      <a:noFill/>
                    </a:lnL>
                    <a:lnR>
                      <a:noFill/>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434" rtl="0" eaLnBrk="1" fontAlgn="ctr" latinLnBrk="0" hangingPunct="1"/>
                      <a:r>
                        <a:rPr lang="en-US" sz="1000" b="0" kern="1200" dirty="0">
                          <a:solidFill>
                            <a:schemeClr val="bg1"/>
                          </a:solidFill>
                        </a:rPr>
                        <a:t>SW</a:t>
                      </a:r>
                      <a:endParaRPr lang="en-US" sz="1000" b="0" kern="1200" dirty="0">
                        <a:solidFill>
                          <a:schemeClr val="bg1"/>
                        </a:solidFill>
                        <a:latin typeface="+mn-lt"/>
                        <a:ea typeface="+mn-ea"/>
                        <a:cs typeface="+mn-cs"/>
                      </a:endParaRPr>
                    </a:p>
                  </a:txBody>
                  <a:tcPr marL="7064" marR="7064" marT="7064" marB="0" anchor="ctr">
                    <a:lnL>
                      <a:noFill/>
                    </a:lnL>
                    <a:lnR>
                      <a:noFill/>
                    </a:lnR>
                    <a:lnT w="12700" cap="flat" cmpd="sng" algn="ctr">
                      <a:solidFill>
                        <a:schemeClr val="tx1">
                          <a:lumMod val="40000"/>
                          <a:lumOff val="60000"/>
                        </a:schemeClr>
                      </a:solidFill>
                      <a:prstDash val="solid"/>
                      <a:round/>
                      <a:headEnd type="none" w="med" len="med"/>
                      <a:tailEnd type="none" w="med" len="med"/>
                    </a:lnT>
                    <a:lnB w="1270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1509202"/>
                  </a:ext>
                </a:extLst>
              </a:tr>
            </a:tbl>
          </a:graphicData>
        </a:graphic>
      </p:graphicFrame>
    </p:spTree>
    <p:extLst>
      <p:ext uri="{BB962C8B-B14F-4D97-AF65-F5344CB8AC3E}">
        <p14:creationId xmlns:p14="http://schemas.microsoft.com/office/powerpoint/2010/main" val="3722873755"/>
      </p:ext>
    </p:extLst>
  </p:cSld>
  <p:clrMapOvr>
    <a:masterClrMapping/>
  </p:clrMapOvr>
  <p:extLst>
    <p:ext uri="{6950BFC3-D8DA-4A85-94F7-54DA5524770B}">
      <p188:commentRel xmlns:p188="http://schemas.microsoft.com/office/powerpoint/2018/8/main" r:id="rId2"/>
    </p:ext>
  </p:extLs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0E6ACF-FAFD-F654-7175-BA0EBF140941}"/>
              </a:ext>
            </a:extLst>
          </p:cNvPr>
          <p:cNvSpPr>
            <a:spLocks noGrp="1"/>
          </p:cNvSpPr>
          <p:nvPr>
            <p:ph type="title"/>
          </p:nvPr>
        </p:nvSpPr>
        <p:spPr>
          <a:xfrm>
            <a:off x="609601" y="814388"/>
            <a:ext cx="10972800" cy="590400"/>
          </a:xfrm>
        </p:spPr>
        <p:txBody>
          <a:bodyPr/>
          <a:lstStyle/>
          <a:p>
            <a:r>
              <a:rPr lang="en-US" dirty="0"/>
              <a:t>Texas severance tax</a:t>
            </a:r>
          </a:p>
        </p:txBody>
      </p:sp>
      <p:sp>
        <p:nvSpPr>
          <p:cNvPr id="5" name="Text Placeholder 4">
            <a:extLst>
              <a:ext uri="{FF2B5EF4-FFF2-40B4-BE49-F238E27FC236}">
                <a16:creationId xmlns:a16="http://schemas.microsoft.com/office/drawing/2014/main" id="{1F169094-2025-196A-D86A-7B7F527CA8AC}"/>
              </a:ext>
            </a:extLst>
          </p:cNvPr>
          <p:cNvSpPr>
            <a:spLocks noGrp="1"/>
          </p:cNvSpPr>
          <p:nvPr>
            <p:ph type="body" sz="quarter" idx="10"/>
          </p:nvPr>
        </p:nvSpPr>
        <p:spPr>
          <a:xfrm>
            <a:off x="609600" y="1662113"/>
            <a:ext cx="10974388" cy="2030656"/>
          </a:xfrm>
        </p:spPr>
        <p:txBody>
          <a:bodyPr/>
          <a:lstStyle/>
          <a:p>
            <a:r>
              <a:rPr lang="en-US" dirty="0"/>
              <a:t>Severance taxes make up the most volatile category of tax revenue.</a:t>
            </a:r>
          </a:p>
          <a:p>
            <a:r>
              <a:rPr lang="en-US" dirty="0"/>
              <a:t>In FY 2022, severance tax collections totaled a record-breaking $10.83b, contributing 14% to the total tax collections.</a:t>
            </a:r>
          </a:p>
          <a:p>
            <a:r>
              <a:rPr lang="en-US" dirty="0"/>
              <a:t>The amount of these taxes depends on two key factors: the price of the resource and its level of production.</a:t>
            </a:r>
          </a:p>
        </p:txBody>
      </p:sp>
      <p:pic>
        <p:nvPicPr>
          <p:cNvPr id="8" name="Picture 7">
            <a:extLst>
              <a:ext uri="{FF2B5EF4-FFF2-40B4-BE49-F238E27FC236}">
                <a16:creationId xmlns:a16="http://schemas.microsoft.com/office/drawing/2014/main" id="{CC1924FE-1DF3-5E02-87CE-F7A7CA53338B}"/>
              </a:ext>
            </a:extLst>
          </p:cNvPr>
          <p:cNvPicPr>
            <a:picLocks noChangeAspect="1"/>
          </p:cNvPicPr>
          <p:nvPr/>
        </p:nvPicPr>
        <p:blipFill rotWithShape="1">
          <a:blip r:embed="rId2"/>
          <a:srcRect b="4740"/>
          <a:stretch/>
        </p:blipFill>
        <p:spPr>
          <a:xfrm>
            <a:off x="610224" y="3534508"/>
            <a:ext cx="6212607" cy="2894216"/>
          </a:xfrm>
          <a:prstGeom prst="rect">
            <a:avLst/>
          </a:prstGeom>
        </p:spPr>
      </p:pic>
      <p:sp>
        <p:nvSpPr>
          <p:cNvPr id="9" name="Footer Placeholder 4">
            <a:extLst>
              <a:ext uri="{FF2B5EF4-FFF2-40B4-BE49-F238E27FC236}">
                <a16:creationId xmlns:a16="http://schemas.microsoft.com/office/drawing/2014/main" id="{FBCCDCC4-A917-DA31-3763-87632EBBCC08}"/>
              </a:ext>
            </a:extLst>
          </p:cNvPr>
          <p:cNvSpPr txBox="1">
            <a:spLocks/>
          </p:cNvSpPr>
          <p:nvPr/>
        </p:nvSpPr>
        <p:spPr>
          <a:xfrm>
            <a:off x="609918" y="6506923"/>
            <a:ext cx="1839807" cy="244953"/>
          </a:xfrm>
          <a:prstGeom prst="rect">
            <a:avLst/>
          </a:prstGeom>
        </p:spPr>
        <p:txBody>
          <a:bodyPr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dirty="0">
                <a:solidFill>
                  <a:srgbClr val="FFFFFF"/>
                </a:solidFill>
              </a:rPr>
              <a:t>Source: comptroller.texas.gov</a:t>
            </a:r>
          </a:p>
        </p:txBody>
      </p:sp>
    </p:spTree>
    <p:extLst>
      <p:ext uri="{BB962C8B-B14F-4D97-AF65-F5344CB8AC3E}">
        <p14:creationId xmlns:p14="http://schemas.microsoft.com/office/powerpoint/2010/main" val="10968703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heel(1)">
                                      <p:cBhvr>
                                        <p:cTn id="7" dur="2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3A303F-ABC0-24D1-A589-FD18BD28CC5F}"/>
              </a:ext>
            </a:extLst>
          </p:cNvPr>
          <p:cNvSpPr>
            <a:spLocks noGrp="1"/>
          </p:cNvSpPr>
          <p:nvPr>
            <p:ph type="title"/>
          </p:nvPr>
        </p:nvSpPr>
        <p:spPr/>
        <p:txBody>
          <a:bodyPr/>
          <a:lstStyle/>
          <a:p>
            <a:r>
              <a:rPr lang="en-US" dirty="0"/>
              <a:t>Texas severance tax: reporting requirements</a:t>
            </a:r>
          </a:p>
        </p:txBody>
      </p:sp>
      <p:graphicFrame>
        <p:nvGraphicFramePr>
          <p:cNvPr id="6" name="Table 9">
            <a:extLst>
              <a:ext uri="{FF2B5EF4-FFF2-40B4-BE49-F238E27FC236}">
                <a16:creationId xmlns:a16="http://schemas.microsoft.com/office/drawing/2014/main" id="{9F149FDA-DB01-5EB7-9125-9B001923E62C}"/>
              </a:ext>
            </a:extLst>
          </p:cNvPr>
          <p:cNvGraphicFramePr>
            <a:graphicFrameLocks noGrp="1"/>
          </p:cNvGraphicFramePr>
          <p:nvPr>
            <p:extLst>
              <p:ext uri="{D42A27DB-BD31-4B8C-83A1-F6EECF244321}">
                <p14:modId xmlns:p14="http://schemas.microsoft.com/office/powerpoint/2010/main" val="10469260"/>
              </p:ext>
            </p:extLst>
          </p:nvPr>
        </p:nvGraphicFramePr>
        <p:xfrm>
          <a:off x="609919" y="1662113"/>
          <a:ext cx="10997883" cy="3721100"/>
        </p:xfrm>
        <a:graphic>
          <a:graphicData uri="http://schemas.openxmlformats.org/drawingml/2006/table">
            <a:tbl>
              <a:tblPr firstRow="1" bandRow="1"/>
              <a:tblGrid>
                <a:gridCol w="3665961">
                  <a:extLst>
                    <a:ext uri="{9D8B030D-6E8A-4147-A177-3AD203B41FA5}">
                      <a16:colId xmlns:a16="http://schemas.microsoft.com/office/drawing/2014/main" val="722753771"/>
                    </a:ext>
                  </a:extLst>
                </a:gridCol>
                <a:gridCol w="3665961">
                  <a:extLst>
                    <a:ext uri="{9D8B030D-6E8A-4147-A177-3AD203B41FA5}">
                      <a16:colId xmlns:a16="http://schemas.microsoft.com/office/drawing/2014/main" val="257603885"/>
                    </a:ext>
                  </a:extLst>
                </a:gridCol>
                <a:gridCol w="3665961">
                  <a:extLst>
                    <a:ext uri="{9D8B030D-6E8A-4147-A177-3AD203B41FA5}">
                      <a16:colId xmlns:a16="http://schemas.microsoft.com/office/drawing/2014/main" val="944571857"/>
                    </a:ext>
                  </a:extLst>
                </a:gridCol>
              </a:tblGrid>
              <a:tr h="930275">
                <a:tc>
                  <a:txBody>
                    <a:bodyPr/>
                    <a:lstStyle>
                      <a:lvl1pPr marL="0" algn="l" defTabSz="685434" rtl="0" eaLnBrk="1" latinLnBrk="0" hangingPunct="1">
                        <a:defRPr sz="1349" b="1" kern="1200">
                          <a:solidFill>
                            <a:schemeClr val="lt1"/>
                          </a:solidFill>
                          <a:latin typeface="Arial"/>
                        </a:defRPr>
                      </a:lvl1pPr>
                      <a:lvl2pPr marL="342717" algn="l" defTabSz="685434" rtl="0" eaLnBrk="1" latinLnBrk="0" hangingPunct="1">
                        <a:defRPr sz="1349" b="1" kern="1200">
                          <a:solidFill>
                            <a:schemeClr val="lt1"/>
                          </a:solidFill>
                          <a:latin typeface="Arial"/>
                        </a:defRPr>
                      </a:lvl2pPr>
                      <a:lvl3pPr marL="685434" algn="l" defTabSz="685434" rtl="0" eaLnBrk="1" latinLnBrk="0" hangingPunct="1">
                        <a:defRPr sz="1349" b="1" kern="1200">
                          <a:solidFill>
                            <a:schemeClr val="lt1"/>
                          </a:solidFill>
                          <a:latin typeface="Arial"/>
                        </a:defRPr>
                      </a:lvl3pPr>
                      <a:lvl4pPr marL="1028151" algn="l" defTabSz="685434" rtl="0" eaLnBrk="1" latinLnBrk="0" hangingPunct="1">
                        <a:defRPr sz="1349" b="1" kern="1200">
                          <a:solidFill>
                            <a:schemeClr val="lt1"/>
                          </a:solidFill>
                          <a:latin typeface="Arial"/>
                        </a:defRPr>
                      </a:lvl4pPr>
                      <a:lvl5pPr marL="1370868" algn="l" defTabSz="685434" rtl="0" eaLnBrk="1" latinLnBrk="0" hangingPunct="1">
                        <a:defRPr sz="1349" b="1" kern="1200">
                          <a:solidFill>
                            <a:schemeClr val="lt1"/>
                          </a:solidFill>
                          <a:latin typeface="Arial"/>
                        </a:defRPr>
                      </a:lvl5pPr>
                      <a:lvl6pPr marL="1713586" algn="l" defTabSz="685434" rtl="0" eaLnBrk="1" latinLnBrk="0" hangingPunct="1">
                        <a:defRPr sz="1349" b="1" kern="1200">
                          <a:solidFill>
                            <a:schemeClr val="lt1"/>
                          </a:solidFill>
                          <a:latin typeface="Arial"/>
                        </a:defRPr>
                      </a:lvl6pPr>
                      <a:lvl7pPr marL="2056303" algn="l" defTabSz="685434" rtl="0" eaLnBrk="1" latinLnBrk="0" hangingPunct="1">
                        <a:defRPr sz="1349" b="1" kern="1200">
                          <a:solidFill>
                            <a:schemeClr val="lt1"/>
                          </a:solidFill>
                          <a:latin typeface="Arial"/>
                        </a:defRPr>
                      </a:lvl7pPr>
                      <a:lvl8pPr marL="2399020" algn="l" defTabSz="685434" rtl="0" eaLnBrk="1" latinLnBrk="0" hangingPunct="1">
                        <a:defRPr sz="1349" b="1" kern="1200">
                          <a:solidFill>
                            <a:schemeClr val="lt1"/>
                          </a:solidFill>
                          <a:latin typeface="Arial"/>
                        </a:defRPr>
                      </a:lvl8pPr>
                      <a:lvl9pPr marL="2741737" algn="l" defTabSz="685434" rtl="0" eaLnBrk="1" latinLnBrk="0" hangingPunct="1">
                        <a:defRPr sz="1349" b="1" kern="1200">
                          <a:solidFill>
                            <a:schemeClr val="lt1"/>
                          </a:solidFill>
                          <a:latin typeface="Arial"/>
                        </a:defRPr>
                      </a:lvl9pPr>
                    </a:lstStyle>
                    <a:p>
                      <a:pPr algn="l"/>
                      <a:r>
                        <a:rPr lang="en-US" sz="1600" b="1" dirty="0">
                          <a:solidFill>
                            <a:schemeClr val="bg1"/>
                          </a:solidFill>
                          <a:latin typeface="+mn-lt"/>
                        </a:rPr>
                        <a:t>Tax type</a:t>
                      </a:r>
                    </a:p>
                  </a:txBody>
                  <a:tcPr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434" rtl="0" eaLnBrk="1" latinLnBrk="0" hangingPunct="1">
                        <a:defRPr sz="1349" b="1" kern="1200">
                          <a:solidFill>
                            <a:schemeClr val="lt1"/>
                          </a:solidFill>
                          <a:latin typeface="Arial"/>
                        </a:defRPr>
                      </a:lvl1pPr>
                      <a:lvl2pPr marL="342717" algn="l" defTabSz="685434" rtl="0" eaLnBrk="1" latinLnBrk="0" hangingPunct="1">
                        <a:defRPr sz="1349" b="1" kern="1200">
                          <a:solidFill>
                            <a:schemeClr val="lt1"/>
                          </a:solidFill>
                          <a:latin typeface="Arial"/>
                        </a:defRPr>
                      </a:lvl2pPr>
                      <a:lvl3pPr marL="685434" algn="l" defTabSz="685434" rtl="0" eaLnBrk="1" latinLnBrk="0" hangingPunct="1">
                        <a:defRPr sz="1349" b="1" kern="1200">
                          <a:solidFill>
                            <a:schemeClr val="lt1"/>
                          </a:solidFill>
                          <a:latin typeface="Arial"/>
                        </a:defRPr>
                      </a:lvl3pPr>
                      <a:lvl4pPr marL="1028151" algn="l" defTabSz="685434" rtl="0" eaLnBrk="1" latinLnBrk="0" hangingPunct="1">
                        <a:defRPr sz="1349" b="1" kern="1200">
                          <a:solidFill>
                            <a:schemeClr val="lt1"/>
                          </a:solidFill>
                          <a:latin typeface="Arial"/>
                        </a:defRPr>
                      </a:lvl4pPr>
                      <a:lvl5pPr marL="1370868" algn="l" defTabSz="685434" rtl="0" eaLnBrk="1" latinLnBrk="0" hangingPunct="1">
                        <a:defRPr sz="1349" b="1" kern="1200">
                          <a:solidFill>
                            <a:schemeClr val="lt1"/>
                          </a:solidFill>
                          <a:latin typeface="Arial"/>
                        </a:defRPr>
                      </a:lvl5pPr>
                      <a:lvl6pPr marL="1713586" algn="l" defTabSz="685434" rtl="0" eaLnBrk="1" latinLnBrk="0" hangingPunct="1">
                        <a:defRPr sz="1349" b="1" kern="1200">
                          <a:solidFill>
                            <a:schemeClr val="lt1"/>
                          </a:solidFill>
                          <a:latin typeface="Arial"/>
                        </a:defRPr>
                      </a:lvl6pPr>
                      <a:lvl7pPr marL="2056303" algn="l" defTabSz="685434" rtl="0" eaLnBrk="1" latinLnBrk="0" hangingPunct="1">
                        <a:defRPr sz="1349" b="1" kern="1200">
                          <a:solidFill>
                            <a:schemeClr val="lt1"/>
                          </a:solidFill>
                          <a:latin typeface="Arial"/>
                        </a:defRPr>
                      </a:lvl7pPr>
                      <a:lvl8pPr marL="2399020" algn="l" defTabSz="685434" rtl="0" eaLnBrk="1" latinLnBrk="0" hangingPunct="1">
                        <a:defRPr sz="1349" b="1" kern="1200">
                          <a:solidFill>
                            <a:schemeClr val="lt1"/>
                          </a:solidFill>
                          <a:latin typeface="Arial"/>
                        </a:defRPr>
                      </a:lvl8pPr>
                      <a:lvl9pPr marL="2741737" algn="l" defTabSz="685434" rtl="0" eaLnBrk="1" latinLnBrk="0" hangingPunct="1">
                        <a:defRPr sz="1349" b="1" kern="1200">
                          <a:solidFill>
                            <a:schemeClr val="lt1"/>
                          </a:solidFill>
                          <a:latin typeface="Arial"/>
                        </a:defRPr>
                      </a:lvl9pPr>
                    </a:lstStyle>
                    <a:p>
                      <a:pPr marL="0" marR="0" lvl="0" indent="0" algn="l" defTabSz="685457" rtl="0" eaLnBrk="1" fontAlgn="auto" latinLnBrk="0" hangingPunct="1">
                        <a:lnSpc>
                          <a:spcPct val="100000"/>
                        </a:lnSpc>
                        <a:spcBef>
                          <a:spcPts val="0"/>
                        </a:spcBef>
                        <a:spcAft>
                          <a:spcPts val="0"/>
                        </a:spcAft>
                        <a:buClrTx/>
                        <a:buSzTx/>
                        <a:buFontTx/>
                        <a:buNone/>
                        <a:tabLst/>
                        <a:defRPr/>
                      </a:pPr>
                      <a:r>
                        <a:rPr lang="en-US" sz="1600" b="1" dirty="0">
                          <a:solidFill>
                            <a:schemeClr val="bg1"/>
                          </a:solidFill>
                          <a:latin typeface="+mn-lt"/>
                        </a:rPr>
                        <a:t>Natural gas production tax</a:t>
                      </a:r>
                    </a:p>
                  </a:txBody>
                  <a:tcPr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434" rtl="0" eaLnBrk="1" latinLnBrk="0" hangingPunct="1">
                        <a:defRPr sz="1349" b="1" kern="1200">
                          <a:solidFill>
                            <a:schemeClr val="lt1"/>
                          </a:solidFill>
                          <a:latin typeface="Arial"/>
                        </a:defRPr>
                      </a:lvl1pPr>
                      <a:lvl2pPr marL="342717" algn="l" defTabSz="685434" rtl="0" eaLnBrk="1" latinLnBrk="0" hangingPunct="1">
                        <a:defRPr sz="1349" b="1" kern="1200">
                          <a:solidFill>
                            <a:schemeClr val="lt1"/>
                          </a:solidFill>
                          <a:latin typeface="Arial"/>
                        </a:defRPr>
                      </a:lvl2pPr>
                      <a:lvl3pPr marL="685434" algn="l" defTabSz="685434" rtl="0" eaLnBrk="1" latinLnBrk="0" hangingPunct="1">
                        <a:defRPr sz="1349" b="1" kern="1200">
                          <a:solidFill>
                            <a:schemeClr val="lt1"/>
                          </a:solidFill>
                          <a:latin typeface="Arial"/>
                        </a:defRPr>
                      </a:lvl3pPr>
                      <a:lvl4pPr marL="1028151" algn="l" defTabSz="685434" rtl="0" eaLnBrk="1" latinLnBrk="0" hangingPunct="1">
                        <a:defRPr sz="1349" b="1" kern="1200">
                          <a:solidFill>
                            <a:schemeClr val="lt1"/>
                          </a:solidFill>
                          <a:latin typeface="Arial"/>
                        </a:defRPr>
                      </a:lvl4pPr>
                      <a:lvl5pPr marL="1370868" algn="l" defTabSz="685434" rtl="0" eaLnBrk="1" latinLnBrk="0" hangingPunct="1">
                        <a:defRPr sz="1349" b="1" kern="1200">
                          <a:solidFill>
                            <a:schemeClr val="lt1"/>
                          </a:solidFill>
                          <a:latin typeface="Arial"/>
                        </a:defRPr>
                      </a:lvl5pPr>
                      <a:lvl6pPr marL="1713586" algn="l" defTabSz="685434" rtl="0" eaLnBrk="1" latinLnBrk="0" hangingPunct="1">
                        <a:defRPr sz="1349" b="1" kern="1200">
                          <a:solidFill>
                            <a:schemeClr val="lt1"/>
                          </a:solidFill>
                          <a:latin typeface="Arial"/>
                        </a:defRPr>
                      </a:lvl6pPr>
                      <a:lvl7pPr marL="2056303" algn="l" defTabSz="685434" rtl="0" eaLnBrk="1" latinLnBrk="0" hangingPunct="1">
                        <a:defRPr sz="1349" b="1" kern="1200">
                          <a:solidFill>
                            <a:schemeClr val="lt1"/>
                          </a:solidFill>
                          <a:latin typeface="Arial"/>
                        </a:defRPr>
                      </a:lvl7pPr>
                      <a:lvl8pPr marL="2399020" algn="l" defTabSz="685434" rtl="0" eaLnBrk="1" latinLnBrk="0" hangingPunct="1">
                        <a:defRPr sz="1349" b="1" kern="1200">
                          <a:solidFill>
                            <a:schemeClr val="lt1"/>
                          </a:solidFill>
                          <a:latin typeface="Arial"/>
                        </a:defRPr>
                      </a:lvl8pPr>
                      <a:lvl9pPr marL="2741737" algn="l" defTabSz="685434" rtl="0" eaLnBrk="1" latinLnBrk="0" hangingPunct="1">
                        <a:defRPr sz="1349" b="1" kern="1200">
                          <a:solidFill>
                            <a:schemeClr val="lt1"/>
                          </a:solidFill>
                          <a:latin typeface="Arial"/>
                        </a:defRPr>
                      </a:lvl9pPr>
                    </a:lstStyle>
                    <a:p>
                      <a:pPr marL="0" marR="0" lvl="0" indent="0" algn="l" defTabSz="685457" rtl="0" eaLnBrk="1" fontAlgn="auto" latinLnBrk="0" hangingPunct="1">
                        <a:lnSpc>
                          <a:spcPct val="100000"/>
                        </a:lnSpc>
                        <a:spcBef>
                          <a:spcPts val="0"/>
                        </a:spcBef>
                        <a:spcAft>
                          <a:spcPts val="0"/>
                        </a:spcAft>
                        <a:buClrTx/>
                        <a:buSzTx/>
                        <a:buFontTx/>
                        <a:buNone/>
                        <a:tabLst/>
                        <a:defRPr/>
                      </a:pPr>
                      <a:r>
                        <a:rPr lang="en-US" sz="1600" b="1" dirty="0">
                          <a:solidFill>
                            <a:schemeClr val="bg1"/>
                          </a:solidFill>
                          <a:latin typeface="+mn-lt"/>
                        </a:rPr>
                        <a:t>Crude oil production tax</a:t>
                      </a:r>
                    </a:p>
                  </a:txBody>
                  <a:tcPr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7008967"/>
                  </a:ext>
                </a:extLst>
              </a:tr>
              <a:tr h="930275">
                <a:tc>
                  <a:txBody>
                    <a:bodyPr/>
                    <a:lstStyle>
                      <a:lvl1pPr marL="0" algn="l" defTabSz="685434" rtl="0" eaLnBrk="1" latinLnBrk="0" hangingPunct="1">
                        <a:defRPr sz="1349" kern="1200">
                          <a:solidFill>
                            <a:schemeClr val="dk1"/>
                          </a:solidFill>
                          <a:latin typeface="Arial"/>
                        </a:defRPr>
                      </a:lvl1pPr>
                      <a:lvl2pPr marL="342717" algn="l" defTabSz="685434" rtl="0" eaLnBrk="1" latinLnBrk="0" hangingPunct="1">
                        <a:defRPr sz="1349" kern="1200">
                          <a:solidFill>
                            <a:schemeClr val="dk1"/>
                          </a:solidFill>
                          <a:latin typeface="Arial"/>
                        </a:defRPr>
                      </a:lvl2pPr>
                      <a:lvl3pPr marL="685434" algn="l" defTabSz="685434" rtl="0" eaLnBrk="1" latinLnBrk="0" hangingPunct="1">
                        <a:defRPr sz="1349" kern="1200">
                          <a:solidFill>
                            <a:schemeClr val="dk1"/>
                          </a:solidFill>
                          <a:latin typeface="Arial"/>
                        </a:defRPr>
                      </a:lvl3pPr>
                      <a:lvl4pPr marL="1028151" algn="l" defTabSz="685434" rtl="0" eaLnBrk="1" latinLnBrk="0" hangingPunct="1">
                        <a:defRPr sz="1349" kern="1200">
                          <a:solidFill>
                            <a:schemeClr val="dk1"/>
                          </a:solidFill>
                          <a:latin typeface="Arial"/>
                        </a:defRPr>
                      </a:lvl4pPr>
                      <a:lvl5pPr marL="1370868" algn="l" defTabSz="685434" rtl="0" eaLnBrk="1" latinLnBrk="0" hangingPunct="1">
                        <a:defRPr sz="1349" kern="1200">
                          <a:solidFill>
                            <a:schemeClr val="dk1"/>
                          </a:solidFill>
                          <a:latin typeface="Arial"/>
                        </a:defRPr>
                      </a:lvl5pPr>
                      <a:lvl6pPr marL="1713586" algn="l" defTabSz="685434" rtl="0" eaLnBrk="1" latinLnBrk="0" hangingPunct="1">
                        <a:defRPr sz="1349" kern="1200">
                          <a:solidFill>
                            <a:schemeClr val="dk1"/>
                          </a:solidFill>
                          <a:latin typeface="Arial"/>
                        </a:defRPr>
                      </a:lvl6pPr>
                      <a:lvl7pPr marL="2056303" algn="l" defTabSz="685434" rtl="0" eaLnBrk="1" latinLnBrk="0" hangingPunct="1">
                        <a:defRPr sz="1349" kern="1200">
                          <a:solidFill>
                            <a:schemeClr val="dk1"/>
                          </a:solidFill>
                          <a:latin typeface="Arial"/>
                        </a:defRPr>
                      </a:lvl7pPr>
                      <a:lvl8pPr marL="2399020" algn="l" defTabSz="685434" rtl="0" eaLnBrk="1" latinLnBrk="0" hangingPunct="1">
                        <a:defRPr sz="1349" kern="1200">
                          <a:solidFill>
                            <a:schemeClr val="dk1"/>
                          </a:solidFill>
                          <a:latin typeface="Arial"/>
                        </a:defRPr>
                      </a:lvl8pPr>
                      <a:lvl9pPr marL="2741737" algn="l" defTabSz="685434" rtl="0" eaLnBrk="1" latinLnBrk="0" hangingPunct="1">
                        <a:defRPr sz="1349" kern="1200">
                          <a:solidFill>
                            <a:schemeClr val="dk1"/>
                          </a:solidFill>
                          <a:latin typeface="Arial"/>
                        </a:defRPr>
                      </a:lvl9pPr>
                    </a:lstStyle>
                    <a:p>
                      <a:pPr algn="l"/>
                      <a:r>
                        <a:rPr lang="en-US" sz="1600" b="1" dirty="0">
                          <a:solidFill>
                            <a:schemeClr val="bg1"/>
                          </a:solidFill>
                          <a:latin typeface="+mn-lt"/>
                        </a:rPr>
                        <a:t>Taxpayer</a:t>
                      </a:r>
                    </a:p>
                  </a:txBody>
                  <a:tcPr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434" rtl="0" eaLnBrk="1" latinLnBrk="0" hangingPunct="1">
                        <a:defRPr sz="1349" kern="1200">
                          <a:solidFill>
                            <a:schemeClr val="dk1"/>
                          </a:solidFill>
                          <a:latin typeface="Arial"/>
                        </a:defRPr>
                      </a:lvl1pPr>
                      <a:lvl2pPr marL="342717" algn="l" defTabSz="685434" rtl="0" eaLnBrk="1" latinLnBrk="0" hangingPunct="1">
                        <a:defRPr sz="1349" kern="1200">
                          <a:solidFill>
                            <a:schemeClr val="dk1"/>
                          </a:solidFill>
                          <a:latin typeface="Arial"/>
                        </a:defRPr>
                      </a:lvl2pPr>
                      <a:lvl3pPr marL="685434" algn="l" defTabSz="685434" rtl="0" eaLnBrk="1" latinLnBrk="0" hangingPunct="1">
                        <a:defRPr sz="1349" kern="1200">
                          <a:solidFill>
                            <a:schemeClr val="dk1"/>
                          </a:solidFill>
                          <a:latin typeface="Arial"/>
                        </a:defRPr>
                      </a:lvl3pPr>
                      <a:lvl4pPr marL="1028151" algn="l" defTabSz="685434" rtl="0" eaLnBrk="1" latinLnBrk="0" hangingPunct="1">
                        <a:defRPr sz="1349" kern="1200">
                          <a:solidFill>
                            <a:schemeClr val="dk1"/>
                          </a:solidFill>
                          <a:latin typeface="Arial"/>
                        </a:defRPr>
                      </a:lvl4pPr>
                      <a:lvl5pPr marL="1370868" algn="l" defTabSz="685434" rtl="0" eaLnBrk="1" latinLnBrk="0" hangingPunct="1">
                        <a:defRPr sz="1349" kern="1200">
                          <a:solidFill>
                            <a:schemeClr val="dk1"/>
                          </a:solidFill>
                          <a:latin typeface="Arial"/>
                        </a:defRPr>
                      </a:lvl5pPr>
                      <a:lvl6pPr marL="1713586" algn="l" defTabSz="685434" rtl="0" eaLnBrk="1" latinLnBrk="0" hangingPunct="1">
                        <a:defRPr sz="1349" kern="1200">
                          <a:solidFill>
                            <a:schemeClr val="dk1"/>
                          </a:solidFill>
                          <a:latin typeface="Arial"/>
                        </a:defRPr>
                      </a:lvl6pPr>
                      <a:lvl7pPr marL="2056303" algn="l" defTabSz="685434" rtl="0" eaLnBrk="1" latinLnBrk="0" hangingPunct="1">
                        <a:defRPr sz="1349" kern="1200">
                          <a:solidFill>
                            <a:schemeClr val="dk1"/>
                          </a:solidFill>
                          <a:latin typeface="Arial"/>
                        </a:defRPr>
                      </a:lvl7pPr>
                      <a:lvl8pPr marL="2399020" algn="l" defTabSz="685434" rtl="0" eaLnBrk="1" latinLnBrk="0" hangingPunct="1">
                        <a:defRPr sz="1349" kern="1200">
                          <a:solidFill>
                            <a:schemeClr val="dk1"/>
                          </a:solidFill>
                          <a:latin typeface="Arial"/>
                        </a:defRPr>
                      </a:lvl8pPr>
                      <a:lvl9pPr marL="2741737" algn="l" defTabSz="685434" rtl="0" eaLnBrk="1" latinLnBrk="0" hangingPunct="1">
                        <a:defRPr sz="1349" kern="1200">
                          <a:solidFill>
                            <a:schemeClr val="dk1"/>
                          </a:solidFill>
                          <a:latin typeface="Arial"/>
                        </a:defRPr>
                      </a:lvl9pPr>
                    </a:lstStyle>
                    <a:p>
                      <a:pPr algn="l"/>
                      <a:r>
                        <a:rPr lang="en-US" sz="1600" b="1" dirty="0">
                          <a:solidFill>
                            <a:schemeClr val="bg1"/>
                          </a:solidFill>
                          <a:latin typeface="+mn-lt"/>
                        </a:rPr>
                        <a:t>Primarily paid by the producer</a:t>
                      </a:r>
                    </a:p>
                  </a:txBody>
                  <a:tcPr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solidFill>
                      <a:srgbClr val="747480"/>
                    </a:solidFill>
                  </a:tcPr>
                </a:tc>
                <a:tc>
                  <a:txBody>
                    <a:bodyPr/>
                    <a:lstStyle>
                      <a:lvl1pPr marL="0" algn="l" defTabSz="685434" rtl="0" eaLnBrk="1" latinLnBrk="0" hangingPunct="1">
                        <a:defRPr sz="1349" kern="1200">
                          <a:solidFill>
                            <a:schemeClr val="dk1"/>
                          </a:solidFill>
                          <a:latin typeface="Arial"/>
                        </a:defRPr>
                      </a:lvl1pPr>
                      <a:lvl2pPr marL="342717" algn="l" defTabSz="685434" rtl="0" eaLnBrk="1" latinLnBrk="0" hangingPunct="1">
                        <a:defRPr sz="1349" kern="1200">
                          <a:solidFill>
                            <a:schemeClr val="dk1"/>
                          </a:solidFill>
                          <a:latin typeface="Arial"/>
                        </a:defRPr>
                      </a:lvl2pPr>
                      <a:lvl3pPr marL="685434" algn="l" defTabSz="685434" rtl="0" eaLnBrk="1" latinLnBrk="0" hangingPunct="1">
                        <a:defRPr sz="1349" kern="1200">
                          <a:solidFill>
                            <a:schemeClr val="dk1"/>
                          </a:solidFill>
                          <a:latin typeface="Arial"/>
                        </a:defRPr>
                      </a:lvl3pPr>
                      <a:lvl4pPr marL="1028151" algn="l" defTabSz="685434" rtl="0" eaLnBrk="1" latinLnBrk="0" hangingPunct="1">
                        <a:defRPr sz="1349" kern="1200">
                          <a:solidFill>
                            <a:schemeClr val="dk1"/>
                          </a:solidFill>
                          <a:latin typeface="Arial"/>
                        </a:defRPr>
                      </a:lvl4pPr>
                      <a:lvl5pPr marL="1370868" algn="l" defTabSz="685434" rtl="0" eaLnBrk="1" latinLnBrk="0" hangingPunct="1">
                        <a:defRPr sz="1349" kern="1200">
                          <a:solidFill>
                            <a:schemeClr val="dk1"/>
                          </a:solidFill>
                          <a:latin typeface="Arial"/>
                        </a:defRPr>
                      </a:lvl5pPr>
                      <a:lvl6pPr marL="1713586" algn="l" defTabSz="685434" rtl="0" eaLnBrk="1" latinLnBrk="0" hangingPunct="1">
                        <a:defRPr sz="1349" kern="1200">
                          <a:solidFill>
                            <a:schemeClr val="dk1"/>
                          </a:solidFill>
                          <a:latin typeface="Arial"/>
                        </a:defRPr>
                      </a:lvl6pPr>
                      <a:lvl7pPr marL="2056303" algn="l" defTabSz="685434" rtl="0" eaLnBrk="1" latinLnBrk="0" hangingPunct="1">
                        <a:defRPr sz="1349" kern="1200">
                          <a:solidFill>
                            <a:schemeClr val="dk1"/>
                          </a:solidFill>
                          <a:latin typeface="Arial"/>
                        </a:defRPr>
                      </a:lvl7pPr>
                      <a:lvl8pPr marL="2399020" algn="l" defTabSz="685434" rtl="0" eaLnBrk="1" latinLnBrk="0" hangingPunct="1">
                        <a:defRPr sz="1349" kern="1200">
                          <a:solidFill>
                            <a:schemeClr val="dk1"/>
                          </a:solidFill>
                          <a:latin typeface="Arial"/>
                        </a:defRPr>
                      </a:lvl8pPr>
                      <a:lvl9pPr marL="2741737" algn="l" defTabSz="685434" rtl="0" eaLnBrk="1" latinLnBrk="0" hangingPunct="1">
                        <a:defRPr sz="1349" kern="1200">
                          <a:solidFill>
                            <a:schemeClr val="dk1"/>
                          </a:solidFill>
                          <a:latin typeface="Arial"/>
                        </a:defRPr>
                      </a:lvl9pPr>
                    </a:lstStyle>
                    <a:p>
                      <a:pPr algn="l"/>
                      <a:r>
                        <a:rPr lang="en-US" sz="1600" b="1" dirty="0">
                          <a:solidFill>
                            <a:srgbClr val="333333"/>
                          </a:solidFill>
                          <a:latin typeface="+mn-lt"/>
                        </a:rPr>
                        <a:t>Primarily paid by the purchaser</a:t>
                      </a:r>
                    </a:p>
                  </a:txBody>
                  <a:tcPr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solidFill>
                      <a:srgbClr val="FFE600"/>
                    </a:solidFill>
                  </a:tcPr>
                </a:tc>
                <a:extLst>
                  <a:ext uri="{0D108BD9-81ED-4DB2-BD59-A6C34878D82A}">
                    <a16:rowId xmlns:a16="http://schemas.microsoft.com/office/drawing/2014/main" val="3144364000"/>
                  </a:ext>
                </a:extLst>
              </a:tr>
              <a:tr h="930275">
                <a:tc>
                  <a:txBody>
                    <a:bodyPr/>
                    <a:lstStyle>
                      <a:lvl1pPr marL="0" algn="l" defTabSz="685434" rtl="0" eaLnBrk="1" latinLnBrk="0" hangingPunct="1">
                        <a:defRPr sz="1349" kern="1200">
                          <a:solidFill>
                            <a:schemeClr val="dk1"/>
                          </a:solidFill>
                          <a:latin typeface="Arial"/>
                        </a:defRPr>
                      </a:lvl1pPr>
                      <a:lvl2pPr marL="342717" algn="l" defTabSz="685434" rtl="0" eaLnBrk="1" latinLnBrk="0" hangingPunct="1">
                        <a:defRPr sz="1349" kern="1200">
                          <a:solidFill>
                            <a:schemeClr val="dk1"/>
                          </a:solidFill>
                          <a:latin typeface="Arial"/>
                        </a:defRPr>
                      </a:lvl2pPr>
                      <a:lvl3pPr marL="685434" algn="l" defTabSz="685434" rtl="0" eaLnBrk="1" latinLnBrk="0" hangingPunct="1">
                        <a:defRPr sz="1349" kern="1200">
                          <a:solidFill>
                            <a:schemeClr val="dk1"/>
                          </a:solidFill>
                          <a:latin typeface="Arial"/>
                        </a:defRPr>
                      </a:lvl3pPr>
                      <a:lvl4pPr marL="1028151" algn="l" defTabSz="685434" rtl="0" eaLnBrk="1" latinLnBrk="0" hangingPunct="1">
                        <a:defRPr sz="1349" kern="1200">
                          <a:solidFill>
                            <a:schemeClr val="dk1"/>
                          </a:solidFill>
                          <a:latin typeface="Arial"/>
                        </a:defRPr>
                      </a:lvl4pPr>
                      <a:lvl5pPr marL="1370868" algn="l" defTabSz="685434" rtl="0" eaLnBrk="1" latinLnBrk="0" hangingPunct="1">
                        <a:defRPr sz="1349" kern="1200">
                          <a:solidFill>
                            <a:schemeClr val="dk1"/>
                          </a:solidFill>
                          <a:latin typeface="Arial"/>
                        </a:defRPr>
                      </a:lvl5pPr>
                      <a:lvl6pPr marL="1713586" algn="l" defTabSz="685434" rtl="0" eaLnBrk="1" latinLnBrk="0" hangingPunct="1">
                        <a:defRPr sz="1349" kern="1200">
                          <a:solidFill>
                            <a:schemeClr val="dk1"/>
                          </a:solidFill>
                          <a:latin typeface="Arial"/>
                        </a:defRPr>
                      </a:lvl6pPr>
                      <a:lvl7pPr marL="2056303" algn="l" defTabSz="685434" rtl="0" eaLnBrk="1" latinLnBrk="0" hangingPunct="1">
                        <a:defRPr sz="1349" kern="1200">
                          <a:solidFill>
                            <a:schemeClr val="dk1"/>
                          </a:solidFill>
                          <a:latin typeface="Arial"/>
                        </a:defRPr>
                      </a:lvl7pPr>
                      <a:lvl8pPr marL="2399020" algn="l" defTabSz="685434" rtl="0" eaLnBrk="1" latinLnBrk="0" hangingPunct="1">
                        <a:defRPr sz="1349" kern="1200">
                          <a:solidFill>
                            <a:schemeClr val="dk1"/>
                          </a:solidFill>
                          <a:latin typeface="Arial"/>
                        </a:defRPr>
                      </a:lvl8pPr>
                      <a:lvl9pPr marL="2741737" algn="l" defTabSz="685434" rtl="0" eaLnBrk="1" latinLnBrk="0" hangingPunct="1">
                        <a:defRPr sz="1349" kern="1200">
                          <a:solidFill>
                            <a:schemeClr val="dk1"/>
                          </a:solidFill>
                          <a:latin typeface="Arial"/>
                        </a:defRPr>
                      </a:lvl9pPr>
                    </a:lstStyle>
                    <a:p>
                      <a:pPr algn="l"/>
                      <a:r>
                        <a:rPr lang="en-US" sz="1600" b="1" dirty="0">
                          <a:solidFill>
                            <a:schemeClr val="bg1"/>
                          </a:solidFill>
                          <a:latin typeface="+mn-lt"/>
                        </a:rPr>
                        <a:t>Rates</a:t>
                      </a:r>
                    </a:p>
                  </a:txBody>
                  <a:tcPr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434" rtl="0" eaLnBrk="1" latinLnBrk="0" hangingPunct="1">
                        <a:defRPr sz="1349" kern="1200">
                          <a:solidFill>
                            <a:schemeClr val="dk1"/>
                          </a:solidFill>
                          <a:latin typeface="Arial"/>
                        </a:defRPr>
                      </a:lvl1pPr>
                      <a:lvl2pPr marL="342717" algn="l" defTabSz="685434" rtl="0" eaLnBrk="1" latinLnBrk="0" hangingPunct="1">
                        <a:defRPr sz="1349" kern="1200">
                          <a:solidFill>
                            <a:schemeClr val="dk1"/>
                          </a:solidFill>
                          <a:latin typeface="Arial"/>
                        </a:defRPr>
                      </a:lvl2pPr>
                      <a:lvl3pPr marL="685434" algn="l" defTabSz="685434" rtl="0" eaLnBrk="1" latinLnBrk="0" hangingPunct="1">
                        <a:defRPr sz="1349" kern="1200">
                          <a:solidFill>
                            <a:schemeClr val="dk1"/>
                          </a:solidFill>
                          <a:latin typeface="Arial"/>
                        </a:defRPr>
                      </a:lvl3pPr>
                      <a:lvl4pPr marL="1028151" algn="l" defTabSz="685434" rtl="0" eaLnBrk="1" latinLnBrk="0" hangingPunct="1">
                        <a:defRPr sz="1349" kern="1200">
                          <a:solidFill>
                            <a:schemeClr val="dk1"/>
                          </a:solidFill>
                          <a:latin typeface="Arial"/>
                        </a:defRPr>
                      </a:lvl4pPr>
                      <a:lvl5pPr marL="1370868" algn="l" defTabSz="685434" rtl="0" eaLnBrk="1" latinLnBrk="0" hangingPunct="1">
                        <a:defRPr sz="1349" kern="1200">
                          <a:solidFill>
                            <a:schemeClr val="dk1"/>
                          </a:solidFill>
                          <a:latin typeface="Arial"/>
                        </a:defRPr>
                      </a:lvl5pPr>
                      <a:lvl6pPr marL="1713586" algn="l" defTabSz="685434" rtl="0" eaLnBrk="1" latinLnBrk="0" hangingPunct="1">
                        <a:defRPr sz="1349" kern="1200">
                          <a:solidFill>
                            <a:schemeClr val="dk1"/>
                          </a:solidFill>
                          <a:latin typeface="Arial"/>
                        </a:defRPr>
                      </a:lvl6pPr>
                      <a:lvl7pPr marL="2056303" algn="l" defTabSz="685434" rtl="0" eaLnBrk="1" latinLnBrk="0" hangingPunct="1">
                        <a:defRPr sz="1349" kern="1200">
                          <a:solidFill>
                            <a:schemeClr val="dk1"/>
                          </a:solidFill>
                          <a:latin typeface="Arial"/>
                        </a:defRPr>
                      </a:lvl7pPr>
                      <a:lvl8pPr marL="2399020" algn="l" defTabSz="685434" rtl="0" eaLnBrk="1" latinLnBrk="0" hangingPunct="1">
                        <a:defRPr sz="1349" kern="1200">
                          <a:solidFill>
                            <a:schemeClr val="dk1"/>
                          </a:solidFill>
                          <a:latin typeface="Arial"/>
                        </a:defRPr>
                      </a:lvl8pPr>
                      <a:lvl9pPr marL="2741737" algn="l" defTabSz="685434" rtl="0" eaLnBrk="1" latinLnBrk="0" hangingPunct="1">
                        <a:defRPr sz="1349" kern="1200">
                          <a:solidFill>
                            <a:schemeClr val="dk1"/>
                          </a:solidFill>
                          <a:latin typeface="Arial"/>
                        </a:defRPr>
                      </a:lvl9pPr>
                    </a:lstStyle>
                    <a:p>
                      <a:pPr algn="l"/>
                      <a:r>
                        <a:rPr lang="en-US" sz="1600" b="1" dirty="0">
                          <a:solidFill>
                            <a:schemeClr val="bg1"/>
                          </a:solidFill>
                          <a:latin typeface="+mn-lt"/>
                        </a:rPr>
                        <a:t>7.5% of the market value</a:t>
                      </a:r>
                    </a:p>
                  </a:txBody>
                  <a:tcPr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solidFill>
                      <a:srgbClr val="747480"/>
                    </a:solidFill>
                  </a:tcPr>
                </a:tc>
                <a:tc>
                  <a:txBody>
                    <a:bodyPr/>
                    <a:lstStyle>
                      <a:lvl1pPr marL="0" algn="l" defTabSz="685434" rtl="0" eaLnBrk="1" latinLnBrk="0" hangingPunct="1">
                        <a:defRPr sz="1349" kern="1200">
                          <a:solidFill>
                            <a:schemeClr val="dk1"/>
                          </a:solidFill>
                          <a:latin typeface="Arial"/>
                        </a:defRPr>
                      </a:lvl1pPr>
                      <a:lvl2pPr marL="342717" algn="l" defTabSz="685434" rtl="0" eaLnBrk="1" latinLnBrk="0" hangingPunct="1">
                        <a:defRPr sz="1349" kern="1200">
                          <a:solidFill>
                            <a:schemeClr val="dk1"/>
                          </a:solidFill>
                          <a:latin typeface="Arial"/>
                        </a:defRPr>
                      </a:lvl2pPr>
                      <a:lvl3pPr marL="685434" algn="l" defTabSz="685434" rtl="0" eaLnBrk="1" latinLnBrk="0" hangingPunct="1">
                        <a:defRPr sz="1349" kern="1200">
                          <a:solidFill>
                            <a:schemeClr val="dk1"/>
                          </a:solidFill>
                          <a:latin typeface="Arial"/>
                        </a:defRPr>
                      </a:lvl3pPr>
                      <a:lvl4pPr marL="1028151" algn="l" defTabSz="685434" rtl="0" eaLnBrk="1" latinLnBrk="0" hangingPunct="1">
                        <a:defRPr sz="1349" kern="1200">
                          <a:solidFill>
                            <a:schemeClr val="dk1"/>
                          </a:solidFill>
                          <a:latin typeface="Arial"/>
                        </a:defRPr>
                      </a:lvl4pPr>
                      <a:lvl5pPr marL="1370868" algn="l" defTabSz="685434" rtl="0" eaLnBrk="1" latinLnBrk="0" hangingPunct="1">
                        <a:defRPr sz="1349" kern="1200">
                          <a:solidFill>
                            <a:schemeClr val="dk1"/>
                          </a:solidFill>
                          <a:latin typeface="Arial"/>
                        </a:defRPr>
                      </a:lvl5pPr>
                      <a:lvl6pPr marL="1713586" algn="l" defTabSz="685434" rtl="0" eaLnBrk="1" latinLnBrk="0" hangingPunct="1">
                        <a:defRPr sz="1349" kern="1200">
                          <a:solidFill>
                            <a:schemeClr val="dk1"/>
                          </a:solidFill>
                          <a:latin typeface="Arial"/>
                        </a:defRPr>
                      </a:lvl6pPr>
                      <a:lvl7pPr marL="2056303" algn="l" defTabSz="685434" rtl="0" eaLnBrk="1" latinLnBrk="0" hangingPunct="1">
                        <a:defRPr sz="1349" kern="1200">
                          <a:solidFill>
                            <a:schemeClr val="dk1"/>
                          </a:solidFill>
                          <a:latin typeface="Arial"/>
                        </a:defRPr>
                      </a:lvl7pPr>
                      <a:lvl8pPr marL="2399020" algn="l" defTabSz="685434" rtl="0" eaLnBrk="1" latinLnBrk="0" hangingPunct="1">
                        <a:defRPr sz="1349" kern="1200">
                          <a:solidFill>
                            <a:schemeClr val="dk1"/>
                          </a:solidFill>
                          <a:latin typeface="Arial"/>
                        </a:defRPr>
                      </a:lvl8pPr>
                      <a:lvl9pPr marL="2741737" algn="l" defTabSz="685434" rtl="0" eaLnBrk="1" latinLnBrk="0" hangingPunct="1">
                        <a:defRPr sz="1349" kern="1200">
                          <a:solidFill>
                            <a:schemeClr val="dk1"/>
                          </a:solidFill>
                          <a:latin typeface="Arial"/>
                        </a:defRPr>
                      </a:lvl9pPr>
                    </a:lstStyle>
                    <a:p>
                      <a:pPr algn="l"/>
                      <a:r>
                        <a:rPr lang="en-US" sz="1600" b="1" dirty="0">
                          <a:solidFill>
                            <a:srgbClr val="333333"/>
                          </a:solidFill>
                          <a:latin typeface="+mn-lt"/>
                        </a:rPr>
                        <a:t>4.6% of the market value</a:t>
                      </a:r>
                    </a:p>
                  </a:txBody>
                  <a:tcPr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solidFill>
                      <a:srgbClr val="FFE600"/>
                    </a:solidFill>
                  </a:tcPr>
                </a:tc>
                <a:extLst>
                  <a:ext uri="{0D108BD9-81ED-4DB2-BD59-A6C34878D82A}">
                    <a16:rowId xmlns:a16="http://schemas.microsoft.com/office/drawing/2014/main" val="2596705022"/>
                  </a:ext>
                </a:extLst>
              </a:tr>
              <a:tr h="930275">
                <a:tc>
                  <a:txBody>
                    <a:bodyPr/>
                    <a:lstStyle>
                      <a:lvl1pPr marL="0" algn="l" defTabSz="685434" rtl="0" eaLnBrk="1" latinLnBrk="0" hangingPunct="1">
                        <a:defRPr sz="1349" kern="1200">
                          <a:solidFill>
                            <a:schemeClr val="dk1"/>
                          </a:solidFill>
                          <a:latin typeface="Arial"/>
                        </a:defRPr>
                      </a:lvl1pPr>
                      <a:lvl2pPr marL="342717" algn="l" defTabSz="685434" rtl="0" eaLnBrk="1" latinLnBrk="0" hangingPunct="1">
                        <a:defRPr sz="1349" kern="1200">
                          <a:solidFill>
                            <a:schemeClr val="dk1"/>
                          </a:solidFill>
                          <a:latin typeface="Arial"/>
                        </a:defRPr>
                      </a:lvl2pPr>
                      <a:lvl3pPr marL="685434" algn="l" defTabSz="685434" rtl="0" eaLnBrk="1" latinLnBrk="0" hangingPunct="1">
                        <a:defRPr sz="1349" kern="1200">
                          <a:solidFill>
                            <a:schemeClr val="dk1"/>
                          </a:solidFill>
                          <a:latin typeface="Arial"/>
                        </a:defRPr>
                      </a:lvl3pPr>
                      <a:lvl4pPr marL="1028151" algn="l" defTabSz="685434" rtl="0" eaLnBrk="1" latinLnBrk="0" hangingPunct="1">
                        <a:defRPr sz="1349" kern="1200">
                          <a:solidFill>
                            <a:schemeClr val="dk1"/>
                          </a:solidFill>
                          <a:latin typeface="Arial"/>
                        </a:defRPr>
                      </a:lvl4pPr>
                      <a:lvl5pPr marL="1370868" algn="l" defTabSz="685434" rtl="0" eaLnBrk="1" latinLnBrk="0" hangingPunct="1">
                        <a:defRPr sz="1349" kern="1200">
                          <a:solidFill>
                            <a:schemeClr val="dk1"/>
                          </a:solidFill>
                          <a:latin typeface="Arial"/>
                        </a:defRPr>
                      </a:lvl5pPr>
                      <a:lvl6pPr marL="1713586" algn="l" defTabSz="685434" rtl="0" eaLnBrk="1" latinLnBrk="0" hangingPunct="1">
                        <a:defRPr sz="1349" kern="1200">
                          <a:solidFill>
                            <a:schemeClr val="dk1"/>
                          </a:solidFill>
                          <a:latin typeface="Arial"/>
                        </a:defRPr>
                      </a:lvl6pPr>
                      <a:lvl7pPr marL="2056303" algn="l" defTabSz="685434" rtl="0" eaLnBrk="1" latinLnBrk="0" hangingPunct="1">
                        <a:defRPr sz="1349" kern="1200">
                          <a:solidFill>
                            <a:schemeClr val="dk1"/>
                          </a:solidFill>
                          <a:latin typeface="Arial"/>
                        </a:defRPr>
                      </a:lvl7pPr>
                      <a:lvl8pPr marL="2399020" algn="l" defTabSz="685434" rtl="0" eaLnBrk="1" latinLnBrk="0" hangingPunct="1">
                        <a:defRPr sz="1349" kern="1200">
                          <a:solidFill>
                            <a:schemeClr val="dk1"/>
                          </a:solidFill>
                          <a:latin typeface="Arial"/>
                        </a:defRPr>
                      </a:lvl8pPr>
                      <a:lvl9pPr marL="2741737" algn="l" defTabSz="685434" rtl="0" eaLnBrk="1" latinLnBrk="0" hangingPunct="1">
                        <a:defRPr sz="1349" kern="1200">
                          <a:solidFill>
                            <a:schemeClr val="dk1"/>
                          </a:solidFill>
                          <a:latin typeface="Arial"/>
                        </a:defRPr>
                      </a:lvl9pPr>
                    </a:lstStyle>
                    <a:p>
                      <a:pPr algn="l"/>
                      <a:r>
                        <a:rPr lang="en-US" sz="1600" b="1" dirty="0">
                          <a:solidFill>
                            <a:schemeClr val="bg1"/>
                          </a:solidFill>
                          <a:latin typeface="+mn-lt"/>
                        </a:rPr>
                        <a:t>Due dates</a:t>
                      </a:r>
                    </a:p>
                  </a:txBody>
                  <a:tcPr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434" rtl="0" eaLnBrk="1" latinLnBrk="0" hangingPunct="1">
                        <a:defRPr sz="1349" kern="1200">
                          <a:solidFill>
                            <a:schemeClr val="dk1"/>
                          </a:solidFill>
                          <a:latin typeface="Arial"/>
                        </a:defRPr>
                      </a:lvl1pPr>
                      <a:lvl2pPr marL="342717" algn="l" defTabSz="685434" rtl="0" eaLnBrk="1" latinLnBrk="0" hangingPunct="1">
                        <a:defRPr sz="1349" kern="1200">
                          <a:solidFill>
                            <a:schemeClr val="dk1"/>
                          </a:solidFill>
                          <a:latin typeface="Arial"/>
                        </a:defRPr>
                      </a:lvl2pPr>
                      <a:lvl3pPr marL="685434" algn="l" defTabSz="685434" rtl="0" eaLnBrk="1" latinLnBrk="0" hangingPunct="1">
                        <a:defRPr sz="1349" kern="1200">
                          <a:solidFill>
                            <a:schemeClr val="dk1"/>
                          </a:solidFill>
                          <a:latin typeface="Arial"/>
                        </a:defRPr>
                      </a:lvl3pPr>
                      <a:lvl4pPr marL="1028151" algn="l" defTabSz="685434" rtl="0" eaLnBrk="1" latinLnBrk="0" hangingPunct="1">
                        <a:defRPr sz="1349" kern="1200">
                          <a:solidFill>
                            <a:schemeClr val="dk1"/>
                          </a:solidFill>
                          <a:latin typeface="Arial"/>
                        </a:defRPr>
                      </a:lvl4pPr>
                      <a:lvl5pPr marL="1370868" algn="l" defTabSz="685434" rtl="0" eaLnBrk="1" latinLnBrk="0" hangingPunct="1">
                        <a:defRPr sz="1349" kern="1200">
                          <a:solidFill>
                            <a:schemeClr val="dk1"/>
                          </a:solidFill>
                          <a:latin typeface="Arial"/>
                        </a:defRPr>
                      </a:lvl5pPr>
                      <a:lvl6pPr marL="1713586" algn="l" defTabSz="685434" rtl="0" eaLnBrk="1" latinLnBrk="0" hangingPunct="1">
                        <a:defRPr sz="1349" kern="1200">
                          <a:solidFill>
                            <a:schemeClr val="dk1"/>
                          </a:solidFill>
                          <a:latin typeface="Arial"/>
                        </a:defRPr>
                      </a:lvl6pPr>
                      <a:lvl7pPr marL="2056303" algn="l" defTabSz="685434" rtl="0" eaLnBrk="1" latinLnBrk="0" hangingPunct="1">
                        <a:defRPr sz="1349" kern="1200">
                          <a:solidFill>
                            <a:schemeClr val="dk1"/>
                          </a:solidFill>
                          <a:latin typeface="Arial"/>
                        </a:defRPr>
                      </a:lvl7pPr>
                      <a:lvl8pPr marL="2399020" algn="l" defTabSz="685434" rtl="0" eaLnBrk="1" latinLnBrk="0" hangingPunct="1">
                        <a:defRPr sz="1349" kern="1200">
                          <a:solidFill>
                            <a:schemeClr val="dk1"/>
                          </a:solidFill>
                          <a:latin typeface="Arial"/>
                        </a:defRPr>
                      </a:lvl8pPr>
                      <a:lvl9pPr marL="2741737" algn="l" defTabSz="685434" rtl="0" eaLnBrk="1" latinLnBrk="0" hangingPunct="1">
                        <a:defRPr sz="1349" kern="1200">
                          <a:solidFill>
                            <a:schemeClr val="dk1"/>
                          </a:solidFill>
                          <a:latin typeface="Arial"/>
                        </a:defRPr>
                      </a:lvl9pPr>
                    </a:lstStyle>
                    <a:p>
                      <a:pPr algn="l"/>
                      <a:r>
                        <a:rPr lang="en-US" sz="1600" b="1" dirty="0">
                          <a:solidFill>
                            <a:schemeClr val="bg1"/>
                          </a:solidFill>
                          <a:latin typeface="+mn-lt"/>
                        </a:rPr>
                        <a:t>Reports are due on the 20</a:t>
                      </a:r>
                      <a:r>
                        <a:rPr lang="en-US" sz="1600" b="1" baseline="0" dirty="0">
                          <a:solidFill>
                            <a:schemeClr val="bg1"/>
                          </a:solidFill>
                          <a:latin typeface="+mn-lt"/>
                        </a:rPr>
                        <a:t>th</a:t>
                      </a:r>
                      <a:r>
                        <a:rPr lang="en-US" sz="1600" b="1" dirty="0">
                          <a:solidFill>
                            <a:schemeClr val="bg1"/>
                          </a:solidFill>
                          <a:latin typeface="+mn-lt"/>
                        </a:rPr>
                        <a:t> day of the seco</a:t>
                      </a:r>
                      <a:r>
                        <a:rPr lang="en-US" sz="1600" b="1" baseline="0" dirty="0">
                          <a:solidFill>
                            <a:schemeClr val="bg1"/>
                          </a:solidFill>
                          <a:latin typeface="+mn-lt"/>
                        </a:rPr>
                        <a:t>nd</a:t>
                      </a:r>
                      <a:r>
                        <a:rPr lang="en-US" sz="1600" b="1" dirty="0">
                          <a:solidFill>
                            <a:schemeClr val="bg1"/>
                          </a:solidFill>
                          <a:latin typeface="+mn-lt"/>
                        </a:rPr>
                        <a:t> month following the production month</a:t>
                      </a:r>
                    </a:p>
                  </a:txBody>
                  <a:tcPr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solidFill>
                      <a:srgbClr val="747480"/>
                    </a:solidFill>
                  </a:tcPr>
                </a:tc>
                <a:tc>
                  <a:txBody>
                    <a:bodyPr/>
                    <a:lstStyle>
                      <a:lvl1pPr marL="0" algn="l" defTabSz="685434" rtl="0" eaLnBrk="1" latinLnBrk="0" hangingPunct="1">
                        <a:defRPr sz="1349" kern="1200">
                          <a:solidFill>
                            <a:schemeClr val="dk1"/>
                          </a:solidFill>
                          <a:latin typeface="Arial"/>
                        </a:defRPr>
                      </a:lvl1pPr>
                      <a:lvl2pPr marL="342717" algn="l" defTabSz="685434" rtl="0" eaLnBrk="1" latinLnBrk="0" hangingPunct="1">
                        <a:defRPr sz="1349" kern="1200">
                          <a:solidFill>
                            <a:schemeClr val="dk1"/>
                          </a:solidFill>
                          <a:latin typeface="Arial"/>
                        </a:defRPr>
                      </a:lvl2pPr>
                      <a:lvl3pPr marL="685434" algn="l" defTabSz="685434" rtl="0" eaLnBrk="1" latinLnBrk="0" hangingPunct="1">
                        <a:defRPr sz="1349" kern="1200">
                          <a:solidFill>
                            <a:schemeClr val="dk1"/>
                          </a:solidFill>
                          <a:latin typeface="Arial"/>
                        </a:defRPr>
                      </a:lvl3pPr>
                      <a:lvl4pPr marL="1028151" algn="l" defTabSz="685434" rtl="0" eaLnBrk="1" latinLnBrk="0" hangingPunct="1">
                        <a:defRPr sz="1349" kern="1200">
                          <a:solidFill>
                            <a:schemeClr val="dk1"/>
                          </a:solidFill>
                          <a:latin typeface="Arial"/>
                        </a:defRPr>
                      </a:lvl4pPr>
                      <a:lvl5pPr marL="1370868" algn="l" defTabSz="685434" rtl="0" eaLnBrk="1" latinLnBrk="0" hangingPunct="1">
                        <a:defRPr sz="1349" kern="1200">
                          <a:solidFill>
                            <a:schemeClr val="dk1"/>
                          </a:solidFill>
                          <a:latin typeface="Arial"/>
                        </a:defRPr>
                      </a:lvl5pPr>
                      <a:lvl6pPr marL="1713586" algn="l" defTabSz="685434" rtl="0" eaLnBrk="1" latinLnBrk="0" hangingPunct="1">
                        <a:defRPr sz="1349" kern="1200">
                          <a:solidFill>
                            <a:schemeClr val="dk1"/>
                          </a:solidFill>
                          <a:latin typeface="Arial"/>
                        </a:defRPr>
                      </a:lvl6pPr>
                      <a:lvl7pPr marL="2056303" algn="l" defTabSz="685434" rtl="0" eaLnBrk="1" latinLnBrk="0" hangingPunct="1">
                        <a:defRPr sz="1349" kern="1200">
                          <a:solidFill>
                            <a:schemeClr val="dk1"/>
                          </a:solidFill>
                          <a:latin typeface="Arial"/>
                        </a:defRPr>
                      </a:lvl7pPr>
                      <a:lvl8pPr marL="2399020" algn="l" defTabSz="685434" rtl="0" eaLnBrk="1" latinLnBrk="0" hangingPunct="1">
                        <a:defRPr sz="1349" kern="1200">
                          <a:solidFill>
                            <a:schemeClr val="dk1"/>
                          </a:solidFill>
                          <a:latin typeface="Arial"/>
                        </a:defRPr>
                      </a:lvl8pPr>
                      <a:lvl9pPr marL="2741737" algn="l" defTabSz="685434" rtl="0" eaLnBrk="1" latinLnBrk="0" hangingPunct="1">
                        <a:defRPr sz="1349" kern="1200">
                          <a:solidFill>
                            <a:schemeClr val="dk1"/>
                          </a:solidFill>
                          <a:latin typeface="Arial"/>
                        </a:defRPr>
                      </a:lvl9pPr>
                    </a:lstStyle>
                    <a:p>
                      <a:pPr algn="l"/>
                      <a:r>
                        <a:rPr lang="en-US" sz="1600" b="1" dirty="0">
                          <a:solidFill>
                            <a:srgbClr val="333333"/>
                          </a:solidFill>
                          <a:latin typeface="+mn-lt"/>
                        </a:rPr>
                        <a:t>Reports are due on the 25</a:t>
                      </a:r>
                      <a:r>
                        <a:rPr lang="en-US" sz="1600" b="1" baseline="0" dirty="0">
                          <a:solidFill>
                            <a:srgbClr val="333333"/>
                          </a:solidFill>
                          <a:latin typeface="+mn-lt"/>
                        </a:rPr>
                        <a:t>th</a:t>
                      </a:r>
                      <a:r>
                        <a:rPr lang="en-US" sz="1600" b="1" dirty="0">
                          <a:solidFill>
                            <a:srgbClr val="333333"/>
                          </a:solidFill>
                          <a:latin typeface="+mn-lt"/>
                        </a:rPr>
                        <a:t> day of the month following the production month</a:t>
                      </a:r>
                    </a:p>
                  </a:txBody>
                  <a:tcPr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solidFill>
                      <a:srgbClr val="FFE600"/>
                    </a:solidFill>
                  </a:tcPr>
                </a:tc>
                <a:extLst>
                  <a:ext uri="{0D108BD9-81ED-4DB2-BD59-A6C34878D82A}">
                    <a16:rowId xmlns:a16="http://schemas.microsoft.com/office/drawing/2014/main" val="2020608708"/>
                  </a:ext>
                </a:extLst>
              </a:tr>
            </a:tbl>
          </a:graphicData>
        </a:graphic>
      </p:graphicFrame>
    </p:spTree>
    <p:extLst>
      <p:ext uri="{BB962C8B-B14F-4D97-AF65-F5344CB8AC3E}">
        <p14:creationId xmlns:p14="http://schemas.microsoft.com/office/powerpoint/2010/main" val="31751380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D216969-65E1-4A7D-CB3A-D6797B4801F6}"/>
              </a:ext>
            </a:extLst>
          </p:cNvPr>
          <p:cNvSpPr>
            <a:spLocks noGrp="1"/>
          </p:cNvSpPr>
          <p:nvPr>
            <p:ph type="title"/>
          </p:nvPr>
        </p:nvSpPr>
        <p:spPr>
          <a:xfrm>
            <a:off x="609601" y="814388"/>
            <a:ext cx="10972800" cy="590400"/>
          </a:xfrm>
        </p:spPr>
        <p:txBody>
          <a:bodyPr/>
          <a:lstStyle/>
          <a:p>
            <a:r>
              <a:rPr lang="en-US" dirty="0"/>
              <a:t>Texas severance tax: market value</a:t>
            </a:r>
          </a:p>
        </p:txBody>
      </p:sp>
      <p:sp>
        <p:nvSpPr>
          <p:cNvPr id="6" name="Text Placeholder 5">
            <a:extLst>
              <a:ext uri="{FF2B5EF4-FFF2-40B4-BE49-F238E27FC236}">
                <a16:creationId xmlns:a16="http://schemas.microsoft.com/office/drawing/2014/main" id="{C3B4D077-8500-E492-6788-CDAF91D1B93B}"/>
              </a:ext>
            </a:extLst>
          </p:cNvPr>
          <p:cNvSpPr>
            <a:spLocks noGrp="1"/>
          </p:cNvSpPr>
          <p:nvPr>
            <p:ph type="body" sz="quarter" idx="10"/>
          </p:nvPr>
        </p:nvSpPr>
        <p:spPr/>
        <p:txBody>
          <a:bodyPr/>
          <a:lstStyle/>
          <a:p>
            <a:pPr marL="0" lvl="1" indent="0" defTabSz="914400">
              <a:spcBef>
                <a:spcPts val="0"/>
              </a:spcBef>
              <a:spcAft>
                <a:spcPts val="600"/>
              </a:spcAft>
              <a:buSzPct val="100000"/>
              <a:buNone/>
            </a:pPr>
            <a:r>
              <a:rPr lang="en-US" sz="2000" b="1" dirty="0">
                <a:solidFill>
                  <a:srgbClr val="FFE600"/>
                </a:solidFill>
                <a:latin typeface="+mn-lt"/>
              </a:rPr>
              <a:t>Gas</a:t>
            </a:r>
          </a:p>
          <a:p>
            <a:pPr marL="285750" lvl="1" indent="-285750" defTabSz="914400">
              <a:spcBef>
                <a:spcPts val="0"/>
              </a:spcBef>
              <a:spcAft>
                <a:spcPts val="600"/>
              </a:spcAft>
              <a:buSzPct val="100000"/>
              <a:buFont typeface="EYInterstate" panose="02000503020000020004" pitchFamily="2" charset="0"/>
              <a:buChar char="•"/>
            </a:pPr>
            <a:r>
              <a:rPr lang="en-US" sz="1600" dirty="0">
                <a:latin typeface="+mn-lt"/>
              </a:rPr>
              <a:t>Section 201.101 of the Tax Code states, “The market value of gas is its value at the mouth of the well from which it is produced.” Rule 3.15, Gas Marketing Costs, states, “The ‘market value at the mouth of the well’ shall be determined by ascertaining the producer’s actual marketing costs and subtracting those costs from the producer’s gross cash receipts from the sale of the gas.”</a:t>
            </a:r>
          </a:p>
          <a:p>
            <a:pPr marL="285750" lvl="1" indent="-285750" defTabSz="914400">
              <a:spcBef>
                <a:spcPts val="0"/>
              </a:spcBef>
              <a:spcAft>
                <a:spcPts val="600"/>
              </a:spcAft>
              <a:buSzPct val="100000"/>
              <a:buFont typeface="EYInterstate" panose="02000503020000020004" pitchFamily="2" charset="0"/>
              <a:buChar char="•"/>
            </a:pPr>
            <a:r>
              <a:rPr lang="en-US" sz="1600" dirty="0">
                <a:latin typeface="+mn-lt"/>
              </a:rPr>
              <a:t>The purpose of the marketing cost deduction is not to cause the taxable value to be a “net income” tax. It simply equalizes the tax burden for those selling at or near the point of production with those that have to treat the gas and send it further away to market. Where there is no compression, sweetening, dehydration or transportation to the market, there will be no marketing costs.</a:t>
            </a:r>
          </a:p>
          <a:p>
            <a:pPr marL="285750" lvl="1" indent="-285750" defTabSz="914400">
              <a:spcBef>
                <a:spcPts val="0"/>
              </a:spcBef>
              <a:spcAft>
                <a:spcPts val="600"/>
              </a:spcAft>
              <a:buSzPct val="100000"/>
              <a:buFont typeface="EYInterstate" panose="02000503020000020004" pitchFamily="2" charset="0"/>
              <a:buChar char="•"/>
            </a:pPr>
            <a:r>
              <a:rPr lang="en-US" sz="1600" dirty="0">
                <a:latin typeface="+mn-lt"/>
              </a:rPr>
              <a:t>Marketing costs may not reduce the taxable value of gas below zero. Marketing costs may not be carried forward from one month to another.</a:t>
            </a:r>
          </a:p>
          <a:p>
            <a:pPr marL="0" lvl="1" indent="0" defTabSz="914400">
              <a:spcBef>
                <a:spcPts val="1200"/>
              </a:spcBef>
              <a:spcAft>
                <a:spcPts val="600"/>
              </a:spcAft>
              <a:buNone/>
            </a:pPr>
            <a:r>
              <a:rPr lang="en-US" sz="2000" b="1" dirty="0">
                <a:solidFill>
                  <a:srgbClr val="FFE600"/>
                </a:solidFill>
                <a:latin typeface="+mn-lt"/>
              </a:rPr>
              <a:t>Oil</a:t>
            </a:r>
          </a:p>
          <a:p>
            <a:pPr marL="285750" lvl="1" indent="-285750" defTabSz="914400">
              <a:spcBef>
                <a:spcPts val="0"/>
              </a:spcBef>
              <a:spcAft>
                <a:spcPts val="600"/>
              </a:spcAft>
              <a:buSzPct val="100000"/>
              <a:buFont typeface="EYInterstate" panose="02000503020000020004" pitchFamily="2" charset="0"/>
              <a:buChar char="•"/>
            </a:pPr>
            <a:r>
              <a:rPr lang="en-US" sz="1600" dirty="0">
                <a:latin typeface="+mn-lt"/>
              </a:rPr>
              <a:t>Section 202.053 of the Texas Tax Code states, “The market value of oil is the actual market value plus any bonus, premium, or other thing of value paid for the oil or that the oil will reasonably bring if lawfully produced.”</a:t>
            </a:r>
          </a:p>
          <a:p>
            <a:pPr marL="285750" lvl="1" indent="-285750" defTabSz="914400">
              <a:spcBef>
                <a:spcPts val="0"/>
              </a:spcBef>
              <a:spcAft>
                <a:spcPts val="600"/>
              </a:spcAft>
              <a:buSzPct val="100000"/>
              <a:buFont typeface="EYInterstate" panose="02000503020000020004" pitchFamily="2" charset="0"/>
              <a:buChar char="•"/>
            </a:pPr>
            <a:r>
              <a:rPr lang="en-US" sz="1600" dirty="0">
                <a:latin typeface="+mn-lt"/>
              </a:rPr>
              <a:t>Texas does not allow for any oil </a:t>
            </a:r>
            <a:r>
              <a:rPr lang="en-US" sz="1600">
                <a:latin typeface="+mn-lt"/>
              </a:rPr>
              <a:t>marketing-related costs </a:t>
            </a:r>
            <a:r>
              <a:rPr lang="en-US" sz="1600" dirty="0">
                <a:latin typeface="+mn-lt"/>
              </a:rPr>
              <a:t>to be deducted. </a:t>
            </a:r>
          </a:p>
          <a:p>
            <a:endParaRPr lang="en-US" dirty="0"/>
          </a:p>
        </p:txBody>
      </p:sp>
    </p:spTree>
    <p:extLst>
      <p:ext uri="{BB962C8B-B14F-4D97-AF65-F5344CB8AC3E}">
        <p14:creationId xmlns:p14="http://schemas.microsoft.com/office/powerpoint/2010/main" val="204422292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8A3328-C842-3D64-790C-693D3BB182ED}"/>
              </a:ext>
            </a:extLst>
          </p:cNvPr>
          <p:cNvSpPr>
            <a:spLocks noGrp="1"/>
          </p:cNvSpPr>
          <p:nvPr>
            <p:ph type="title"/>
          </p:nvPr>
        </p:nvSpPr>
        <p:spPr/>
        <p:txBody>
          <a:bodyPr/>
          <a:lstStyle/>
          <a:p>
            <a:r>
              <a:rPr lang="en-US" dirty="0"/>
              <a:t>Texas severance tax: marketing costs</a:t>
            </a:r>
          </a:p>
        </p:txBody>
      </p:sp>
      <p:sp>
        <p:nvSpPr>
          <p:cNvPr id="3" name="Text Placeholder 2">
            <a:extLst>
              <a:ext uri="{FF2B5EF4-FFF2-40B4-BE49-F238E27FC236}">
                <a16:creationId xmlns:a16="http://schemas.microsoft.com/office/drawing/2014/main" id="{5225B648-639F-6052-0679-508B09FE6CE4}"/>
              </a:ext>
            </a:extLst>
          </p:cNvPr>
          <p:cNvSpPr>
            <a:spLocks noGrp="1"/>
          </p:cNvSpPr>
          <p:nvPr>
            <p:ph type="body" sz="quarter" idx="4294967295"/>
          </p:nvPr>
        </p:nvSpPr>
        <p:spPr>
          <a:xfrm>
            <a:off x="608013" y="2091054"/>
            <a:ext cx="10974387" cy="776287"/>
          </a:xfrm>
        </p:spPr>
        <p:txBody>
          <a:bodyPr/>
          <a:lstStyle/>
          <a:p>
            <a:r>
              <a:rPr lang="en-US" sz="1800" dirty="0"/>
              <a:t>Marketing costs do not include any costs associated with producing natural gas or with the separation of natural gas from oil, condensate and water.</a:t>
            </a:r>
          </a:p>
          <a:p>
            <a:endParaRPr lang="en-US" sz="1800" dirty="0"/>
          </a:p>
        </p:txBody>
      </p:sp>
      <p:sp>
        <p:nvSpPr>
          <p:cNvPr id="6" name="Text Placeholder 2">
            <a:extLst>
              <a:ext uri="{FF2B5EF4-FFF2-40B4-BE49-F238E27FC236}">
                <a16:creationId xmlns:a16="http://schemas.microsoft.com/office/drawing/2014/main" id="{19D077D7-5C6B-7F60-4AE6-474C52CF752B}"/>
              </a:ext>
            </a:extLst>
          </p:cNvPr>
          <p:cNvSpPr txBox="1">
            <a:spLocks/>
          </p:cNvSpPr>
          <p:nvPr/>
        </p:nvSpPr>
        <p:spPr>
          <a:xfrm>
            <a:off x="609600" y="1662113"/>
            <a:ext cx="10974387" cy="428941"/>
          </a:xfrm>
          <a:prstGeom prst="rect">
            <a:avLst/>
          </a:prstGeom>
        </p:spPr>
        <p:txBody>
          <a:bodyPr vert="horz" lIns="0" tIns="0" rIns="0" bIns="0" rtlCol="0" anchor="t" anchorCtr="0">
            <a:noAutofit/>
          </a:bodyPr>
          <a:lstStyle>
            <a:lvl1pPr marL="274320" indent="-274320" algn="l" defTabSz="913943" rtl="0" eaLnBrk="1" latinLnBrk="0" hangingPunct="1">
              <a:spcBef>
                <a:spcPct val="20000"/>
              </a:spcBef>
              <a:buClr>
                <a:schemeClr val="tx2"/>
              </a:buClr>
              <a:buSzPct val="100000"/>
              <a:buFont typeface="EYInterstate" panose="02000503020000020004" pitchFamily="2" charset="0"/>
              <a:buChar char="•"/>
              <a:defRPr sz="1999" kern="1200">
                <a:solidFill>
                  <a:schemeClr val="bg1"/>
                </a:solidFill>
                <a:latin typeface="EYInterstate Light" panose="02000506000000020004" pitchFamily="2" charset="0"/>
                <a:ea typeface="+mn-ea"/>
                <a:cs typeface="+mn-cs"/>
              </a:defRPr>
            </a:lvl1pPr>
            <a:lvl2pPr marL="548640" indent="-274320" algn="l" defTabSz="913943" rtl="0" eaLnBrk="1" latinLnBrk="0" hangingPunct="1">
              <a:spcBef>
                <a:spcPct val="20000"/>
              </a:spcBef>
              <a:buClr>
                <a:schemeClr val="tx2"/>
              </a:buClr>
              <a:buSzPct val="100000"/>
              <a:buFont typeface="EYInterstate" panose="02000503020000020004" pitchFamily="2" charset="0"/>
              <a:buChar char="•"/>
              <a:defRPr sz="1799" kern="1200">
                <a:solidFill>
                  <a:schemeClr val="bg1"/>
                </a:solidFill>
                <a:latin typeface="EYInterstate Light" panose="02000506000000020004" pitchFamily="2" charset="0"/>
                <a:ea typeface="+mn-ea"/>
                <a:cs typeface="+mn-cs"/>
              </a:defRPr>
            </a:lvl2pPr>
            <a:lvl3pPr marL="822960" indent="-274320" algn="l" defTabSz="913943" rtl="0" eaLnBrk="1" latinLnBrk="0" hangingPunct="1">
              <a:spcBef>
                <a:spcPct val="20000"/>
              </a:spcBef>
              <a:buClr>
                <a:schemeClr val="tx2"/>
              </a:buClr>
              <a:buSzPct val="100000"/>
              <a:buFont typeface="EYInterstate" panose="02000503020000020004" pitchFamily="2" charset="0"/>
              <a:buChar char="•"/>
              <a:defRPr sz="1599" kern="1200">
                <a:solidFill>
                  <a:schemeClr val="bg1"/>
                </a:solidFill>
                <a:latin typeface="EYInterstate Light" panose="02000506000000020004" pitchFamily="2" charset="0"/>
                <a:ea typeface="+mn-ea"/>
                <a:cs typeface="+mn-cs"/>
              </a:defRPr>
            </a:lvl3pPr>
            <a:lvl4pPr marL="1097280" indent="-274320" algn="l" defTabSz="913943" rtl="0" eaLnBrk="1" latinLnBrk="0" hangingPunct="1">
              <a:spcBef>
                <a:spcPct val="20000"/>
              </a:spcBef>
              <a:buClr>
                <a:schemeClr val="tx2"/>
              </a:buClr>
              <a:buSzPct val="100000"/>
              <a:buFont typeface="EYInterstate" panose="02000503020000020004" pitchFamily="2" charset="0"/>
              <a:buChar char="•"/>
              <a:defRPr sz="1399" kern="1200">
                <a:solidFill>
                  <a:schemeClr val="bg1"/>
                </a:solidFill>
                <a:latin typeface="EYInterstate Light" panose="02000506000000020004" pitchFamily="2" charset="0"/>
                <a:ea typeface="+mn-ea"/>
                <a:cs typeface="+mn-cs"/>
              </a:defRPr>
            </a:lvl4pPr>
            <a:lvl5pPr marL="1371600" indent="-274320" algn="l" defTabSz="913943" rtl="0" eaLnBrk="1" latinLnBrk="0" hangingPunct="1">
              <a:spcBef>
                <a:spcPct val="20000"/>
              </a:spcBef>
              <a:buClr>
                <a:schemeClr val="tx2"/>
              </a:buClr>
              <a:buSzPct val="100000"/>
              <a:buFont typeface="EYInterstate" panose="02000503020000020004" pitchFamily="2"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indent="0">
              <a:buNone/>
            </a:pPr>
            <a:r>
              <a:rPr lang="en-US" b="1" dirty="0">
                <a:solidFill>
                  <a:srgbClr val="FFE600"/>
                </a:solidFill>
              </a:rPr>
              <a:t>Deductions for marketing costs</a:t>
            </a:r>
          </a:p>
        </p:txBody>
      </p:sp>
      <p:graphicFrame>
        <p:nvGraphicFramePr>
          <p:cNvPr id="7" name="Table 6">
            <a:extLst>
              <a:ext uri="{FF2B5EF4-FFF2-40B4-BE49-F238E27FC236}">
                <a16:creationId xmlns:a16="http://schemas.microsoft.com/office/drawing/2014/main" id="{77E590D7-1EBB-22F2-85F6-25A63BCD88EA}"/>
              </a:ext>
            </a:extLst>
          </p:cNvPr>
          <p:cNvGraphicFramePr>
            <a:graphicFrameLocks noGrp="1"/>
          </p:cNvGraphicFramePr>
          <p:nvPr>
            <p:extLst>
              <p:ext uri="{D42A27DB-BD31-4B8C-83A1-F6EECF244321}">
                <p14:modId xmlns:p14="http://schemas.microsoft.com/office/powerpoint/2010/main" val="3158943904"/>
              </p:ext>
            </p:extLst>
          </p:nvPr>
        </p:nvGraphicFramePr>
        <p:xfrm>
          <a:off x="609599" y="2867341"/>
          <a:ext cx="10972800" cy="2073308"/>
        </p:xfrm>
        <a:graphic>
          <a:graphicData uri="http://schemas.openxmlformats.org/drawingml/2006/table">
            <a:tbl>
              <a:tblPr firstRow="1" bandRow="1"/>
              <a:tblGrid>
                <a:gridCol w="5474525">
                  <a:extLst>
                    <a:ext uri="{9D8B030D-6E8A-4147-A177-3AD203B41FA5}">
                      <a16:colId xmlns:a16="http://schemas.microsoft.com/office/drawing/2014/main" val="20000"/>
                    </a:ext>
                  </a:extLst>
                </a:gridCol>
                <a:gridCol w="5498275">
                  <a:extLst>
                    <a:ext uri="{9D8B030D-6E8A-4147-A177-3AD203B41FA5}">
                      <a16:colId xmlns:a16="http://schemas.microsoft.com/office/drawing/2014/main" val="20001"/>
                    </a:ext>
                  </a:extLst>
                </a:gridCol>
              </a:tblGrid>
              <a:tr h="341189">
                <a:tc>
                  <a:txBody>
                    <a:bodyPr/>
                    <a:lstStyle>
                      <a:lvl1pPr marL="0" algn="l" defTabSz="685434" rtl="0" eaLnBrk="1" latinLnBrk="0" hangingPunct="1">
                        <a:defRPr sz="1349" b="1" kern="1200">
                          <a:solidFill>
                            <a:schemeClr val="lt1"/>
                          </a:solidFill>
                          <a:latin typeface="Arial"/>
                        </a:defRPr>
                      </a:lvl1pPr>
                      <a:lvl2pPr marL="342717" algn="l" defTabSz="685434" rtl="0" eaLnBrk="1" latinLnBrk="0" hangingPunct="1">
                        <a:defRPr sz="1349" b="1" kern="1200">
                          <a:solidFill>
                            <a:schemeClr val="lt1"/>
                          </a:solidFill>
                          <a:latin typeface="Arial"/>
                        </a:defRPr>
                      </a:lvl2pPr>
                      <a:lvl3pPr marL="685434" algn="l" defTabSz="685434" rtl="0" eaLnBrk="1" latinLnBrk="0" hangingPunct="1">
                        <a:defRPr sz="1349" b="1" kern="1200">
                          <a:solidFill>
                            <a:schemeClr val="lt1"/>
                          </a:solidFill>
                          <a:latin typeface="Arial"/>
                        </a:defRPr>
                      </a:lvl3pPr>
                      <a:lvl4pPr marL="1028151" algn="l" defTabSz="685434" rtl="0" eaLnBrk="1" latinLnBrk="0" hangingPunct="1">
                        <a:defRPr sz="1349" b="1" kern="1200">
                          <a:solidFill>
                            <a:schemeClr val="lt1"/>
                          </a:solidFill>
                          <a:latin typeface="Arial"/>
                        </a:defRPr>
                      </a:lvl4pPr>
                      <a:lvl5pPr marL="1370868" algn="l" defTabSz="685434" rtl="0" eaLnBrk="1" latinLnBrk="0" hangingPunct="1">
                        <a:defRPr sz="1349" b="1" kern="1200">
                          <a:solidFill>
                            <a:schemeClr val="lt1"/>
                          </a:solidFill>
                          <a:latin typeface="Arial"/>
                        </a:defRPr>
                      </a:lvl5pPr>
                      <a:lvl6pPr marL="1713586" algn="l" defTabSz="685434" rtl="0" eaLnBrk="1" latinLnBrk="0" hangingPunct="1">
                        <a:defRPr sz="1349" b="1" kern="1200">
                          <a:solidFill>
                            <a:schemeClr val="lt1"/>
                          </a:solidFill>
                          <a:latin typeface="Arial"/>
                        </a:defRPr>
                      </a:lvl6pPr>
                      <a:lvl7pPr marL="2056303" algn="l" defTabSz="685434" rtl="0" eaLnBrk="1" latinLnBrk="0" hangingPunct="1">
                        <a:defRPr sz="1349" b="1" kern="1200">
                          <a:solidFill>
                            <a:schemeClr val="lt1"/>
                          </a:solidFill>
                          <a:latin typeface="Arial"/>
                        </a:defRPr>
                      </a:lvl7pPr>
                      <a:lvl8pPr marL="2399020" algn="l" defTabSz="685434" rtl="0" eaLnBrk="1" latinLnBrk="0" hangingPunct="1">
                        <a:defRPr sz="1349" b="1" kern="1200">
                          <a:solidFill>
                            <a:schemeClr val="lt1"/>
                          </a:solidFill>
                          <a:latin typeface="Arial"/>
                        </a:defRPr>
                      </a:lvl8pPr>
                      <a:lvl9pPr marL="2741737" algn="l" defTabSz="685434" rtl="0" eaLnBrk="1" latinLnBrk="0" hangingPunct="1">
                        <a:defRPr sz="1349" b="1" kern="1200">
                          <a:solidFill>
                            <a:schemeClr val="lt1"/>
                          </a:solidFill>
                          <a:latin typeface="Arial"/>
                        </a:defRPr>
                      </a:lvl9pPr>
                    </a:lstStyle>
                    <a:p>
                      <a:pPr algn="l"/>
                      <a:r>
                        <a:rPr lang="en-US" sz="1600" dirty="0">
                          <a:solidFill>
                            <a:schemeClr val="bg1"/>
                          </a:solidFill>
                          <a:latin typeface="+mn-lt"/>
                        </a:rPr>
                        <a:t>Includes</a:t>
                      </a:r>
                    </a:p>
                  </a:txBody>
                  <a:tcPr anchor="ctr">
                    <a:lnL w="9525" cap="flat" cmpd="sng" algn="ctr">
                      <a:solidFill>
                        <a:srgbClr val="747480"/>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747480"/>
                    </a:solidFill>
                  </a:tcPr>
                </a:tc>
                <a:tc>
                  <a:txBody>
                    <a:bodyPr/>
                    <a:lstStyle>
                      <a:lvl1pPr marL="0" algn="l" defTabSz="685434" rtl="0" eaLnBrk="1" latinLnBrk="0" hangingPunct="1">
                        <a:defRPr sz="1349" b="1" kern="1200">
                          <a:solidFill>
                            <a:schemeClr val="lt1"/>
                          </a:solidFill>
                          <a:latin typeface="Arial"/>
                        </a:defRPr>
                      </a:lvl1pPr>
                      <a:lvl2pPr marL="342717" algn="l" defTabSz="685434" rtl="0" eaLnBrk="1" latinLnBrk="0" hangingPunct="1">
                        <a:defRPr sz="1349" b="1" kern="1200">
                          <a:solidFill>
                            <a:schemeClr val="lt1"/>
                          </a:solidFill>
                          <a:latin typeface="Arial"/>
                        </a:defRPr>
                      </a:lvl2pPr>
                      <a:lvl3pPr marL="685434" algn="l" defTabSz="685434" rtl="0" eaLnBrk="1" latinLnBrk="0" hangingPunct="1">
                        <a:defRPr sz="1349" b="1" kern="1200">
                          <a:solidFill>
                            <a:schemeClr val="lt1"/>
                          </a:solidFill>
                          <a:latin typeface="Arial"/>
                        </a:defRPr>
                      </a:lvl3pPr>
                      <a:lvl4pPr marL="1028151" algn="l" defTabSz="685434" rtl="0" eaLnBrk="1" latinLnBrk="0" hangingPunct="1">
                        <a:defRPr sz="1349" b="1" kern="1200">
                          <a:solidFill>
                            <a:schemeClr val="lt1"/>
                          </a:solidFill>
                          <a:latin typeface="Arial"/>
                        </a:defRPr>
                      </a:lvl4pPr>
                      <a:lvl5pPr marL="1370868" algn="l" defTabSz="685434" rtl="0" eaLnBrk="1" latinLnBrk="0" hangingPunct="1">
                        <a:defRPr sz="1349" b="1" kern="1200">
                          <a:solidFill>
                            <a:schemeClr val="lt1"/>
                          </a:solidFill>
                          <a:latin typeface="Arial"/>
                        </a:defRPr>
                      </a:lvl5pPr>
                      <a:lvl6pPr marL="1713586" algn="l" defTabSz="685434" rtl="0" eaLnBrk="1" latinLnBrk="0" hangingPunct="1">
                        <a:defRPr sz="1349" b="1" kern="1200">
                          <a:solidFill>
                            <a:schemeClr val="lt1"/>
                          </a:solidFill>
                          <a:latin typeface="Arial"/>
                        </a:defRPr>
                      </a:lvl6pPr>
                      <a:lvl7pPr marL="2056303" algn="l" defTabSz="685434" rtl="0" eaLnBrk="1" latinLnBrk="0" hangingPunct="1">
                        <a:defRPr sz="1349" b="1" kern="1200">
                          <a:solidFill>
                            <a:schemeClr val="lt1"/>
                          </a:solidFill>
                          <a:latin typeface="Arial"/>
                        </a:defRPr>
                      </a:lvl7pPr>
                      <a:lvl8pPr marL="2399020" algn="l" defTabSz="685434" rtl="0" eaLnBrk="1" latinLnBrk="0" hangingPunct="1">
                        <a:defRPr sz="1349" b="1" kern="1200">
                          <a:solidFill>
                            <a:schemeClr val="lt1"/>
                          </a:solidFill>
                          <a:latin typeface="Arial"/>
                        </a:defRPr>
                      </a:lvl8pPr>
                      <a:lvl9pPr marL="2741737" algn="l" defTabSz="685434" rtl="0" eaLnBrk="1" latinLnBrk="0" hangingPunct="1">
                        <a:defRPr sz="1349" b="1" kern="1200">
                          <a:solidFill>
                            <a:schemeClr val="lt1"/>
                          </a:solidFill>
                          <a:latin typeface="Arial"/>
                        </a:defRPr>
                      </a:lvl9pPr>
                    </a:lstStyle>
                    <a:p>
                      <a:pPr algn="l"/>
                      <a:r>
                        <a:rPr lang="en-US" sz="1600" dirty="0">
                          <a:solidFill>
                            <a:schemeClr val="bg1"/>
                          </a:solidFill>
                          <a:latin typeface="+mn-lt"/>
                        </a:rPr>
                        <a:t>Does NOT include</a:t>
                      </a:r>
                    </a:p>
                  </a:txBody>
                  <a:tcPr anchor="ctr">
                    <a:lnL w="9525" cap="flat" cmpd="sng" algn="ctr">
                      <a:solidFill>
                        <a:schemeClr val="bg1"/>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747480"/>
                    </a:solidFill>
                  </a:tcPr>
                </a:tc>
                <a:extLst>
                  <a:ext uri="{0D108BD9-81ED-4DB2-BD59-A6C34878D82A}">
                    <a16:rowId xmlns:a16="http://schemas.microsoft.com/office/drawing/2014/main" val="10000"/>
                  </a:ext>
                </a:extLst>
              </a:tr>
              <a:tr h="376495">
                <a:tc>
                  <a:txBody>
                    <a:bodyPr/>
                    <a:lstStyle>
                      <a:lvl1pPr marL="0" algn="l" defTabSz="685434" rtl="0" eaLnBrk="1" latinLnBrk="0" hangingPunct="1">
                        <a:defRPr sz="1349" kern="1200">
                          <a:solidFill>
                            <a:schemeClr val="dk1"/>
                          </a:solidFill>
                          <a:latin typeface="Arial"/>
                        </a:defRPr>
                      </a:lvl1pPr>
                      <a:lvl2pPr marL="342717" algn="l" defTabSz="685434" rtl="0" eaLnBrk="1" latinLnBrk="0" hangingPunct="1">
                        <a:defRPr sz="1349" kern="1200">
                          <a:solidFill>
                            <a:schemeClr val="dk1"/>
                          </a:solidFill>
                          <a:latin typeface="Arial"/>
                        </a:defRPr>
                      </a:lvl2pPr>
                      <a:lvl3pPr marL="685434" algn="l" defTabSz="685434" rtl="0" eaLnBrk="1" latinLnBrk="0" hangingPunct="1">
                        <a:defRPr sz="1349" kern="1200">
                          <a:solidFill>
                            <a:schemeClr val="dk1"/>
                          </a:solidFill>
                          <a:latin typeface="Arial"/>
                        </a:defRPr>
                      </a:lvl3pPr>
                      <a:lvl4pPr marL="1028151" algn="l" defTabSz="685434" rtl="0" eaLnBrk="1" latinLnBrk="0" hangingPunct="1">
                        <a:defRPr sz="1349" kern="1200">
                          <a:solidFill>
                            <a:schemeClr val="dk1"/>
                          </a:solidFill>
                          <a:latin typeface="Arial"/>
                        </a:defRPr>
                      </a:lvl4pPr>
                      <a:lvl5pPr marL="1370868" algn="l" defTabSz="685434" rtl="0" eaLnBrk="1" latinLnBrk="0" hangingPunct="1">
                        <a:defRPr sz="1349" kern="1200">
                          <a:solidFill>
                            <a:schemeClr val="dk1"/>
                          </a:solidFill>
                          <a:latin typeface="Arial"/>
                        </a:defRPr>
                      </a:lvl5pPr>
                      <a:lvl6pPr marL="1713586" algn="l" defTabSz="685434" rtl="0" eaLnBrk="1" latinLnBrk="0" hangingPunct="1">
                        <a:defRPr sz="1349" kern="1200">
                          <a:solidFill>
                            <a:schemeClr val="dk1"/>
                          </a:solidFill>
                          <a:latin typeface="Arial"/>
                        </a:defRPr>
                      </a:lvl6pPr>
                      <a:lvl7pPr marL="2056303" algn="l" defTabSz="685434" rtl="0" eaLnBrk="1" latinLnBrk="0" hangingPunct="1">
                        <a:defRPr sz="1349" kern="1200">
                          <a:solidFill>
                            <a:schemeClr val="dk1"/>
                          </a:solidFill>
                          <a:latin typeface="Arial"/>
                        </a:defRPr>
                      </a:lvl7pPr>
                      <a:lvl8pPr marL="2399020" algn="l" defTabSz="685434" rtl="0" eaLnBrk="1" latinLnBrk="0" hangingPunct="1">
                        <a:defRPr sz="1349" kern="1200">
                          <a:solidFill>
                            <a:schemeClr val="dk1"/>
                          </a:solidFill>
                          <a:latin typeface="Arial"/>
                        </a:defRPr>
                      </a:lvl8pPr>
                      <a:lvl9pPr marL="2741737" algn="l" defTabSz="685434" rtl="0" eaLnBrk="1" latinLnBrk="0" hangingPunct="1">
                        <a:defRPr sz="1349" kern="1200">
                          <a:solidFill>
                            <a:schemeClr val="dk1"/>
                          </a:solidFill>
                          <a:latin typeface="Arial"/>
                        </a:defRPr>
                      </a:lvl9pPr>
                    </a:lstStyle>
                    <a:p>
                      <a:pPr algn="l"/>
                      <a:r>
                        <a:rPr lang="en-US" sz="1400" dirty="0">
                          <a:solidFill>
                            <a:schemeClr val="bg1"/>
                          </a:solidFill>
                          <a:latin typeface="+mn-lt"/>
                        </a:rPr>
                        <a:t>Costs for compressing the gas sold</a:t>
                      </a:r>
                    </a:p>
                  </a:txBody>
                  <a:tcPr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434" rtl="0" eaLnBrk="1" latinLnBrk="0" hangingPunct="1">
                        <a:defRPr sz="1349" kern="1200">
                          <a:solidFill>
                            <a:schemeClr val="dk1"/>
                          </a:solidFill>
                          <a:latin typeface="Arial"/>
                        </a:defRPr>
                      </a:lvl1pPr>
                      <a:lvl2pPr marL="342717" algn="l" defTabSz="685434" rtl="0" eaLnBrk="1" latinLnBrk="0" hangingPunct="1">
                        <a:defRPr sz="1349" kern="1200">
                          <a:solidFill>
                            <a:schemeClr val="dk1"/>
                          </a:solidFill>
                          <a:latin typeface="Arial"/>
                        </a:defRPr>
                      </a:lvl2pPr>
                      <a:lvl3pPr marL="685434" algn="l" defTabSz="685434" rtl="0" eaLnBrk="1" latinLnBrk="0" hangingPunct="1">
                        <a:defRPr sz="1349" kern="1200">
                          <a:solidFill>
                            <a:schemeClr val="dk1"/>
                          </a:solidFill>
                          <a:latin typeface="Arial"/>
                        </a:defRPr>
                      </a:lvl3pPr>
                      <a:lvl4pPr marL="1028151" algn="l" defTabSz="685434" rtl="0" eaLnBrk="1" latinLnBrk="0" hangingPunct="1">
                        <a:defRPr sz="1349" kern="1200">
                          <a:solidFill>
                            <a:schemeClr val="dk1"/>
                          </a:solidFill>
                          <a:latin typeface="Arial"/>
                        </a:defRPr>
                      </a:lvl4pPr>
                      <a:lvl5pPr marL="1370868" algn="l" defTabSz="685434" rtl="0" eaLnBrk="1" latinLnBrk="0" hangingPunct="1">
                        <a:defRPr sz="1349" kern="1200">
                          <a:solidFill>
                            <a:schemeClr val="dk1"/>
                          </a:solidFill>
                          <a:latin typeface="Arial"/>
                        </a:defRPr>
                      </a:lvl5pPr>
                      <a:lvl6pPr marL="1713586" algn="l" defTabSz="685434" rtl="0" eaLnBrk="1" latinLnBrk="0" hangingPunct="1">
                        <a:defRPr sz="1349" kern="1200">
                          <a:solidFill>
                            <a:schemeClr val="dk1"/>
                          </a:solidFill>
                          <a:latin typeface="Arial"/>
                        </a:defRPr>
                      </a:lvl6pPr>
                      <a:lvl7pPr marL="2056303" algn="l" defTabSz="685434" rtl="0" eaLnBrk="1" latinLnBrk="0" hangingPunct="1">
                        <a:defRPr sz="1349" kern="1200">
                          <a:solidFill>
                            <a:schemeClr val="dk1"/>
                          </a:solidFill>
                          <a:latin typeface="Arial"/>
                        </a:defRPr>
                      </a:lvl7pPr>
                      <a:lvl8pPr marL="2399020" algn="l" defTabSz="685434" rtl="0" eaLnBrk="1" latinLnBrk="0" hangingPunct="1">
                        <a:defRPr sz="1349" kern="1200">
                          <a:solidFill>
                            <a:schemeClr val="dk1"/>
                          </a:solidFill>
                          <a:latin typeface="Arial"/>
                        </a:defRPr>
                      </a:lvl8pPr>
                      <a:lvl9pPr marL="2741737" algn="l" defTabSz="685434" rtl="0" eaLnBrk="1" latinLnBrk="0" hangingPunct="1">
                        <a:defRPr sz="1349" kern="1200">
                          <a:solidFill>
                            <a:schemeClr val="dk1"/>
                          </a:solidFill>
                          <a:latin typeface="Arial"/>
                        </a:defRPr>
                      </a:lvl9pPr>
                    </a:lstStyle>
                    <a:p>
                      <a:pPr algn="l"/>
                      <a:r>
                        <a:rPr lang="en-US" sz="1400" dirty="0">
                          <a:solidFill>
                            <a:schemeClr val="bg1"/>
                          </a:solidFill>
                          <a:latin typeface="+mn-lt"/>
                        </a:rPr>
                        <a:t>Costs incurred in producing the gas</a:t>
                      </a:r>
                    </a:p>
                  </a:txBody>
                  <a:tcPr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10172">
                <a:tc>
                  <a:txBody>
                    <a:bodyPr/>
                    <a:lstStyle>
                      <a:lvl1pPr marL="0" algn="l" defTabSz="685434" rtl="0" eaLnBrk="1" latinLnBrk="0" hangingPunct="1">
                        <a:defRPr sz="1349" kern="1200">
                          <a:solidFill>
                            <a:schemeClr val="dk1"/>
                          </a:solidFill>
                          <a:latin typeface="Arial"/>
                        </a:defRPr>
                      </a:lvl1pPr>
                      <a:lvl2pPr marL="342717" algn="l" defTabSz="685434" rtl="0" eaLnBrk="1" latinLnBrk="0" hangingPunct="1">
                        <a:defRPr sz="1349" kern="1200">
                          <a:solidFill>
                            <a:schemeClr val="dk1"/>
                          </a:solidFill>
                          <a:latin typeface="Arial"/>
                        </a:defRPr>
                      </a:lvl2pPr>
                      <a:lvl3pPr marL="685434" algn="l" defTabSz="685434" rtl="0" eaLnBrk="1" latinLnBrk="0" hangingPunct="1">
                        <a:defRPr sz="1349" kern="1200">
                          <a:solidFill>
                            <a:schemeClr val="dk1"/>
                          </a:solidFill>
                          <a:latin typeface="Arial"/>
                        </a:defRPr>
                      </a:lvl3pPr>
                      <a:lvl4pPr marL="1028151" algn="l" defTabSz="685434" rtl="0" eaLnBrk="1" latinLnBrk="0" hangingPunct="1">
                        <a:defRPr sz="1349" kern="1200">
                          <a:solidFill>
                            <a:schemeClr val="dk1"/>
                          </a:solidFill>
                          <a:latin typeface="Arial"/>
                        </a:defRPr>
                      </a:lvl4pPr>
                      <a:lvl5pPr marL="1370868" algn="l" defTabSz="685434" rtl="0" eaLnBrk="1" latinLnBrk="0" hangingPunct="1">
                        <a:defRPr sz="1349" kern="1200">
                          <a:solidFill>
                            <a:schemeClr val="dk1"/>
                          </a:solidFill>
                          <a:latin typeface="Arial"/>
                        </a:defRPr>
                      </a:lvl5pPr>
                      <a:lvl6pPr marL="1713586" algn="l" defTabSz="685434" rtl="0" eaLnBrk="1" latinLnBrk="0" hangingPunct="1">
                        <a:defRPr sz="1349" kern="1200">
                          <a:solidFill>
                            <a:schemeClr val="dk1"/>
                          </a:solidFill>
                          <a:latin typeface="Arial"/>
                        </a:defRPr>
                      </a:lvl6pPr>
                      <a:lvl7pPr marL="2056303" algn="l" defTabSz="685434" rtl="0" eaLnBrk="1" latinLnBrk="0" hangingPunct="1">
                        <a:defRPr sz="1349" kern="1200">
                          <a:solidFill>
                            <a:schemeClr val="dk1"/>
                          </a:solidFill>
                          <a:latin typeface="Arial"/>
                        </a:defRPr>
                      </a:lvl7pPr>
                      <a:lvl8pPr marL="2399020" algn="l" defTabSz="685434" rtl="0" eaLnBrk="1" latinLnBrk="0" hangingPunct="1">
                        <a:defRPr sz="1349" kern="1200">
                          <a:solidFill>
                            <a:schemeClr val="dk1"/>
                          </a:solidFill>
                          <a:latin typeface="Arial"/>
                        </a:defRPr>
                      </a:lvl8pPr>
                      <a:lvl9pPr marL="2741737" algn="l" defTabSz="685434" rtl="0" eaLnBrk="1" latinLnBrk="0" hangingPunct="1">
                        <a:defRPr sz="1349" kern="1200">
                          <a:solidFill>
                            <a:schemeClr val="dk1"/>
                          </a:solidFill>
                          <a:latin typeface="Arial"/>
                        </a:defRPr>
                      </a:lvl9pPr>
                    </a:lstStyle>
                    <a:p>
                      <a:pPr algn="l"/>
                      <a:r>
                        <a:rPr lang="en-US" sz="1400" dirty="0">
                          <a:solidFill>
                            <a:schemeClr val="bg1"/>
                          </a:solidFill>
                          <a:latin typeface="+mn-lt"/>
                        </a:rPr>
                        <a:t>Costs for dehydrating</a:t>
                      </a:r>
                      <a:r>
                        <a:rPr lang="en-US" sz="1400" baseline="0" dirty="0">
                          <a:solidFill>
                            <a:schemeClr val="bg1"/>
                          </a:solidFill>
                          <a:latin typeface="+mn-lt"/>
                        </a:rPr>
                        <a:t> the gas sold</a:t>
                      </a:r>
                      <a:endParaRPr lang="en-US" sz="1400" dirty="0">
                        <a:solidFill>
                          <a:schemeClr val="bg1"/>
                        </a:solidFill>
                        <a:latin typeface="+mn-lt"/>
                      </a:endParaRPr>
                    </a:p>
                  </a:txBody>
                  <a:tcPr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434" rtl="0" eaLnBrk="1" latinLnBrk="0" hangingPunct="1">
                        <a:defRPr sz="1349" kern="1200">
                          <a:solidFill>
                            <a:schemeClr val="dk1"/>
                          </a:solidFill>
                          <a:latin typeface="Arial"/>
                        </a:defRPr>
                      </a:lvl1pPr>
                      <a:lvl2pPr marL="342717" algn="l" defTabSz="685434" rtl="0" eaLnBrk="1" latinLnBrk="0" hangingPunct="1">
                        <a:defRPr sz="1349" kern="1200">
                          <a:solidFill>
                            <a:schemeClr val="dk1"/>
                          </a:solidFill>
                          <a:latin typeface="Arial"/>
                        </a:defRPr>
                      </a:lvl2pPr>
                      <a:lvl3pPr marL="685434" algn="l" defTabSz="685434" rtl="0" eaLnBrk="1" latinLnBrk="0" hangingPunct="1">
                        <a:defRPr sz="1349" kern="1200">
                          <a:solidFill>
                            <a:schemeClr val="dk1"/>
                          </a:solidFill>
                          <a:latin typeface="Arial"/>
                        </a:defRPr>
                      </a:lvl3pPr>
                      <a:lvl4pPr marL="1028151" algn="l" defTabSz="685434" rtl="0" eaLnBrk="1" latinLnBrk="0" hangingPunct="1">
                        <a:defRPr sz="1349" kern="1200">
                          <a:solidFill>
                            <a:schemeClr val="dk1"/>
                          </a:solidFill>
                          <a:latin typeface="Arial"/>
                        </a:defRPr>
                      </a:lvl4pPr>
                      <a:lvl5pPr marL="1370868" algn="l" defTabSz="685434" rtl="0" eaLnBrk="1" latinLnBrk="0" hangingPunct="1">
                        <a:defRPr sz="1349" kern="1200">
                          <a:solidFill>
                            <a:schemeClr val="dk1"/>
                          </a:solidFill>
                          <a:latin typeface="Arial"/>
                        </a:defRPr>
                      </a:lvl5pPr>
                      <a:lvl6pPr marL="1713586" algn="l" defTabSz="685434" rtl="0" eaLnBrk="1" latinLnBrk="0" hangingPunct="1">
                        <a:defRPr sz="1349" kern="1200">
                          <a:solidFill>
                            <a:schemeClr val="dk1"/>
                          </a:solidFill>
                          <a:latin typeface="Arial"/>
                        </a:defRPr>
                      </a:lvl6pPr>
                      <a:lvl7pPr marL="2056303" algn="l" defTabSz="685434" rtl="0" eaLnBrk="1" latinLnBrk="0" hangingPunct="1">
                        <a:defRPr sz="1349" kern="1200">
                          <a:solidFill>
                            <a:schemeClr val="dk1"/>
                          </a:solidFill>
                          <a:latin typeface="Arial"/>
                        </a:defRPr>
                      </a:lvl7pPr>
                      <a:lvl8pPr marL="2399020" algn="l" defTabSz="685434" rtl="0" eaLnBrk="1" latinLnBrk="0" hangingPunct="1">
                        <a:defRPr sz="1349" kern="1200">
                          <a:solidFill>
                            <a:schemeClr val="dk1"/>
                          </a:solidFill>
                          <a:latin typeface="Arial"/>
                        </a:defRPr>
                      </a:lvl8pPr>
                      <a:lvl9pPr marL="2741737" algn="l" defTabSz="685434" rtl="0" eaLnBrk="1" latinLnBrk="0" hangingPunct="1">
                        <a:defRPr sz="1349" kern="1200">
                          <a:solidFill>
                            <a:schemeClr val="dk1"/>
                          </a:solidFill>
                          <a:latin typeface="Arial"/>
                        </a:defRPr>
                      </a:lvl9pPr>
                    </a:lstStyle>
                    <a:p>
                      <a:pPr algn="l"/>
                      <a:r>
                        <a:rPr lang="en-US" sz="1400" dirty="0">
                          <a:solidFill>
                            <a:schemeClr val="bg1"/>
                          </a:solidFill>
                          <a:latin typeface="+mn-lt"/>
                        </a:rPr>
                        <a:t>Costs incurred in normal lease separation of the oil, gas or condensate</a:t>
                      </a:r>
                    </a:p>
                  </a:txBody>
                  <a:tcPr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94567280"/>
                  </a:ext>
                </a:extLst>
              </a:tr>
              <a:tr h="310172">
                <a:tc>
                  <a:txBody>
                    <a:bodyPr/>
                    <a:lstStyle>
                      <a:lvl1pPr marL="0" algn="l" defTabSz="685434" rtl="0" eaLnBrk="1" latinLnBrk="0" hangingPunct="1">
                        <a:defRPr sz="1349" kern="1200">
                          <a:solidFill>
                            <a:schemeClr val="dk1"/>
                          </a:solidFill>
                          <a:latin typeface="Arial"/>
                        </a:defRPr>
                      </a:lvl1pPr>
                      <a:lvl2pPr marL="342717" algn="l" defTabSz="685434" rtl="0" eaLnBrk="1" latinLnBrk="0" hangingPunct="1">
                        <a:defRPr sz="1349" kern="1200">
                          <a:solidFill>
                            <a:schemeClr val="dk1"/>
                          </a:solidFill>
                          <a:latin typeface="Arial"/>
                        </a:defRPr>
                      </a:lvl2pPr>
                      <a:lvl3pPr marL="685434" algn="l" defTabSz="685434" rtl="0" eaLnBrk="1" latinLnBrk="0" hangingPunct="1">
                        <a:defRPr sz="1349" kern="1200">
                          <a:solidFill>
                            <a:schemeClr val="dk1"/>
                          </a:solidFill>
                          <a:latin typeface="Arial"/>
                        </a:defRPr>
                      </a:lvl3pPr>
                      <a:lvl4pPr marL="1028151" algn="l" defTabSz="685434" rtl="0" eaLnBrk="1" latinLnBrk="0" hangingPunct="1">
                        <a:defRPr sz="1349" kern="1200">
                          <a:solidFill>
                            <a:schemeClr val="dk1"/>
                          </a:solidFill>
                          <a:latin typeface="Arial"/>
                        </a:defRPr>
                      </a:lvl4pPr>
                      <a:lvl5pPr marL="1370868" algn="l" defTabSz="685434" rtl="0" eaLnBrk="1" latinLnBrk="0" hangingPunct="1">
                        <a:defRPr sz="1349" kern="1200">
                          <a:solidFill>
                            <a:schemeClr val="dk1"/>
                          </a:solidFill>
                          <a:latin typeface="Arial"/>
                        </a:defRPr>
                      </a:lvl5pPr>
                      <a:lvl6pPr marL="1713586" algn="l" defTabSz="685434" rtl="0" eaLnBrk="1" latinLnBrk="0" hangingPunct="1">
                        <a:defRPr sz="1349" kern="1200">
                          <a:solidFill>
                            <a:schemeClr val="dk1"/>
                          </a:solidFill>
                          <a:latin typeface="Arial"/>
                        </a:defRPr>
                      </a:lvl6pPr>
                      <a:lvl7pPr marL="2056303" algn="l" defTabSz="685434" rtl="0" eaLnBrk="1" latinLnBrk="0" hangingPunct="1">
                        <a:defRPr sz="1349" kern="1200">
                          <a:solidFill>
                            <a:schemeClr val="dk1"/>
                          </a:solidFill>
                          <a:latin typeface="Arial"/>
                        </a:defRPr>
                      </a:lvl7pPr>
                      <a:lvl8pPr marL="2399020" algn="l" defTabSz="685434" rtl="0" eaLnBrk="1" latinLnBrk="0" hangingPunct="1">
                        <a:defRPr sz="1349" kern="1200">
                          <a:solidFill>
                            <a:schemeClr val="dk1"/>
                          </a:solidFill>
                          <a:latin typeface="Arial"/>
                        </a:defRPr>
                      </a:lvl8pPr>
                      <a:lvl9pPr marL="2741737" algn="l" defTabSz="685434" rtl="0" eaLnBrk="1" latinLnBrk="0" hangingPunct="1">
                        <a:defRPr sz="1349" kern="1200">
                          <a:solidFill>
                            <a:schemeClr val="dk1"/>
                          </a:solidFill>
                          <a:latin typeface="Arial"/>
                        </a:defRPr>
                      </a:lvl9pPr>
                    </a:lstStyle>
                    <a:p>
                      <a:pPr algn="l"/>
                      <a:r>
                        <a:rPr lang="en-US" sz="1400" dirty="0">
                          <a:solidFill>
                            <a:schemeClr val="bg1"/>
                          </a:solidFill>
                          <a:latin typeface="+mn-lt"/>
                        </a:rPr>
                        <a:t>Costs for sweetening</a:t>
                      </a:r>
                      <a:r>
                        <a:rPr lang="en-US" sz="1400" baseline="0" dirty="0">
                          <a:solidFill>
                            <a:schemeClr val="bg1"/>
                          </a:solidFill>
                          <a:latin typeface="+mn-lt"/>
                        </a:rPr>
                        <a:t> the gas</a:t>
                      </a:r>
                      <a:endParaRPr lang="en-US" sz="1400" dirty="0">
                        <a:solidFill>
                          <a:schemeClr val="bg1"/>
                        </a:solidFill>
                        <a:latin typeface="+mn-lt"/>
                      </a:endParaRPr>
                    </a:p>
                  </a:txBody>
                  <a:tcPr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434" rtl="0" eaLnBrk="1" latinLnBrk="0" hangingPunct="1">
                        <a:defRPr sz="1349" kern="1200">
                          <a:solidFill>
                            <a:schemeClr val="dk1"/>
                          </a:solidFill>
                          <a:latin typeface="Arial"/>
                        </a:defRPr>
                      </a:lvl1pPr>
                      <a:lvl2pPr marL="342717" algn="l" defTabSz="685434" rtl="0" eaLnBrk="1" latinLnBrk="0" hangingPunct="1">
                        <a:defRPr sz="1349" kern="1200">
                          <a:solidFill>
                            <a:schemeClr val="dk1"/>
                          </a:solidFill>
                          <a:latin typeface="Arial"/>
                        </a:defRPr>
                      </a:lvl2pPr>
                      <a:lvl3pPr marL="685434" algn="l" defTabSz="685434" rtl="0" eaLnBrk="1" latinLnBrk="0" hangingPunct="1">
                        <a:defRPr sz="1349" kern="1200">
                          <a:solidFill>
                            <a:schemeClr val="dk1"/>
                          </a:solidFill>
                          <a:latin typeface="Arial"/>
                        </a:defRPr>
                      </a:lvl3pPr>
                      <a:lvl4pPr marL="1028151" algn="l" defTabSz="685434" rtl="0" eaLnBrk="1" latinLnBrk="0" hangingPunct="1">
                        <a:defRPr sz="1349" kern="1200">
                          <a:solidFill>
                            <a:schemeClr val="dk1"/>
                          </a:solidFill>
                          <a:latin typeface="Arial"/>
                        </a:defRPr>
                      </a:lvl4pPr>
                      <a:lvl5pPr marL="1370868" algn="l" defTabSz="685434" rtl="0" eaLnBrk="1" latinLnBrk="0" hangingPunct="1">
                        <a:defRPr sz="1349" kern="1200">
                          <a:solidFill>
                            <a:schemeClr val="dk1"/>
                          </a:solidFill>
                          <a:latin typeface="Arial"/>
                        </a:defRPr>
                      </a:lvl5pPr>
                      <a:lvl6pPr marL="1713586" algn="l" defTabSz="685434" rtl="0" eaLnBrk="1" latinLnBrk="0" hangingPunct="1">
                        <a:defRPr sz="1349" kern="1200">
                          <a:solidFill>
                            <a:schemeClr val="dk1"/>
                          </a:solidFill>
                          <a:latin typeface="Arial"/>
                        </a:defRPr>
                      </a:lvl6pPr>
                      <a:lvl7pPr marL="2056303" algn="l" defTabSz="685434" rtl="0" eaLnBrk="1" latinLnBrk="0" hangingPunct="1">
                        <a:defRPr sz="1349" kern="1200">
                          <a:solidFill>
                            <a:schemeClr val="dk1"/>
                          </a:solidFill>
                          <a:latin typeface="Arial"/>
                        </a:defRPr>
                      </a:lvl7pPr>
                      <a:lvl8pPr marL="2399020" algn="l" defTabSz="685434" rtl="0" eaLnBrk="1" latinLnBrk="0" hangingPunct="1">
                        <a:defRPr sz="1349" kern="1200">
                          <a:solidFill>
                            <a:schemeClr val="dk1"/>
                          </a:solidFill>
                          <a:latin typeface="Arial"/>
                        </a:defRPr>
                      </a:lvl8pPr>
                      <a:lvl9pPr marL="2741737" algn="l" defTabSz="685434" rtl="0" eaLnBrk="1" latinLnBrk="0" hangingPunct="1">
                        <a:defRPr sz="1349" kern="1200">
                          <a:solidFill>
                            <a:schemeClr val="dk1"/>
                          </a:solidFill>
                          <a:latin typeface="Arial"/>
                        </a:defRPr>
                      </a:lvl9pPr>
                    </a:lstStyle>
                    <a:p>
                      <a:pPr algn="l"/>
                      <a:r>
                        <a:rPr lang="en-US" sz="1400" dirty="0">
                          <a:solidFill>
                            <a:schemeClr val="bg1"/>
                          </a:solidFill>
                          <a:latin typeface="+mn-lt"/>
                        </a:rPr>
                        <a:t>Insurance premiums</a:t>
                      </a:r>
                      <a:r>
                        <a:rPr lang="en-US" sz="1400" baseline="0" dirty="0">
                          <a:solidFill>
                            <a:schemeClr val="bg1"/>
                          </a:solidFill>
                          <a:latin typeface="+mn-lt"/>
                        </a:rPr>
                        <a:t> on the marketing </a:t>
                      </a:r>
                      <a:endParaRPr lang="en-US" sz="1400" dirty="0">
                        <a:solidFill>
                          <a:schemeClr val="bg1"/>
                        </a:solidFill>
                        <a:latin typeface="+mn-lt"/>
                      </a:endParaRPr>
                    </a:p>
                  </a:txBody>
                  <a:tcPr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34015685"/>
                  </a:ext>
                </a:extLst>
              </a:tr>
              <a:tr h="527292">
                <a:tc>
                  <a:txBody>
                    <a:bodyPr/>
                    <a:lstStyle>
                      <a:lvl1pPr marL="0" algn="l" defTabSz="685434" rtl="0" eaLnBrk="1" latinLnBrk="0" hangingPunct="1">
                        <a:defRPr sz="1349" kern="1200">
                          <a:solidFill>
                            <a:schemeClr val="dk1"/>
                          </a:solidFill>
                          <a:latin typeface="Arial"/>
                        </a:defRPr>
                      </a:lvl1pPr>
                      <a:lvl2pPr marL="342717" algn="l" defTabSz="685434" rtl="0" eaLnBrk="1" latinLnBrk="0" hangingPunct="1">
                        <a:defRPr sz="1349" kern="1200">
                          <a:solidFill>
                            <a:schemeClr val="dk1"/>
                          </a:solidFill>
                          <a:latin typeface="Arial"/>
                        </a:defRPr>
                      </a:lvl2pPr>
                      <a:lvl3pPr marL="685434" algn="l" defTabSz="685434" rtl="0" eaLnBrk="1" latinLnBrk="0" hangingPunct="1">
                        <a:defRPr sz="1349" kern="1200">
                          <a:solidFill>
                            <a:schemeClr val="dk1"/>
                          </a:solidFill>
                          <a:latin typeface="Arial"/>
                        </a:defRPr>
                      </a:lvl3pPr>
                      <a:lvl4pPr marL="1028151" algn="l" defTabSz="685434" rtl="0" eaLnBrk="1" latinLnBrk="0" hangingPunct="1">
                        <a:defRPr sz="1349" kern="1200">
                          <a:solidFill>
                            <a:schemeClr val="dk1"/>
                          </a:solidFill>
                          <a:latin typeface="Arial"/>
                        </a:defRPr>
                      </a:lvl4pPr>
                      <a:lvl5pPr marL="1370868" algn="l" defTabSz="685434" rtl="0" eaLnBrk="1" latinLnBrk="0" hangingPunct="1">
                        <a:defRPr sz="1349" kern="1200">
                          <a:solidFill>
                            <a:schemeClr val="dk1"/>
                          </a:solidFill>
                          <a:latin typeface="Arial"/>
                        </a:defRPr>
                      </a:lvl5pPr>
                      <a:lvl6pPr marL="1713586" algn="l" defTabSz="685434" rtl="0" eaLnBrk="1" latinLnBrk="0" hangingPunct="1">
                        <a:defRPr sz="1349" kern="1200">
                          <a:solidFill>
                            <a:schemeClr val="dk1"/>
                          </a:solidFill>
                          <a:latin typeface="Arial"/>
                        </a:defRPr>
                      </a:lvl6pPr>
                      <a:lvl7pPr marL="2056303" algn="l" defTabSz="685434" rtl="0" eaLnBrk="1" latinLnBrk="0" hangingPunct="1">
                        <a:defRPr sz="1349" kern="1200">
                          <a:solidFill>
                            <a:schemeClr val="dk1"/>
                          </a:solidFill>
                          <a:latin typeface="Arial"/>
                        </a:defRPr>
                      </a:lvl7pPr>
                      <a:lvl8pPr marL="2399020" algn="l" defTabSz="685434" rtl="0" eaLnBrk="1" latinLnBrk="0" hangingPunct="1">
                        <a:defRPr sz="1349" kern="1200">
                          <a:solidFill>
                            <a:schemeClr val="dk1"/>
                          </a:solidFill>
                          <a:latin typeface="Arial"/>
                        </a:defRPr>
                      </a:lvl8pPr>
                      <a:lvl9pPr marL="2741737" algn="l" defTabSz="685434" rtl="0" eaLnBrk="1" latinLnBrk="0" hangingPunct="1">
                        <a:defRPr sz="1349" kern="1200">
                          <a:solidFill>
                            <a:schemeClr val="dk1"/>
                          </a:solidFill>
                          <a:latin typeface="Arial"/>
                        </a:defRPr>
                      </a:lvl9pPr>
                    </a:lstStyle>
                    <a:p>
                      <a:pPr algn="l"/>
                      <a:r>
                        <a:rPr lang="en-US" sz="1400" dirty="0">
                          <a:solidFill>
                            <a:schemeClr val="bg1"/>
                          </a:solidFill>
                          <a:latin typeface="+mn-lt"/>
                        </a:rPr>
                        <a:t>Costs for delivering</a:t>
                      </a:r>
                      <a:r>
                        <a:rPr lang="en-US" sz="1400" baseline="0" dirty="0">
                          <a:solidFill>
                            <a:schemeClr val="bg1"/>
                          </a:solidFill>
                          <a:latin typeface="+mn-lt"/>
                        </a:rPr>
                        <a:t> the gas to the purchaser</a:t>
                      </a:r>
                      <a:endParaRPr lang="en-US" sz="1400" dirty="0">
                        <a:solidFill>
                          <a:schemeClr val="bg1"/>
                        </a:solidFill>
                        <a:latin typeface="+mn-lt"/>
                      </a:endParaRPr>
                    </a:p>
                  </a:txBody>
                  <a:tcPr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US" sz="1400" b="0" i="0" u="none" strike="noStrike" dirty="0">
                        <a:solidFill>
                          <a:schemeClr val="bg1"/>
                        </a:solidFill>
                        <a:effectLst/>
                        <a:latin typeface="+mn-lt"/>
                      </a:endParaRPr>
                    </a:p>
                  </a:txBody>
                  <a:tcPr anchor="b">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sp>
        <p:nvSpPr>
          <p:cNvPr id="8" name="Text Placeholder 2">
            <a:extLst>
              <a:ext uri="{FF2B5EF4-FFF2-40B4-BE49-F238E27FC236}">
                <a16:creationId xmlns:a16="http://schemas.microsoft.com/office/drawing/2014/main" id="{7FB07422-5A0A-712D-1C17-5524A74934C4}"/>
              </a:ext>
            </a:extLst>
          </p:cNvPr>
          <p:cNvSpPr txBox="1">
            <a:spLocks/>
          </p:cNvSpPr>
          <p:nvPr/>
        </p:nvSpPr>
        <p:spPr>
          <a:xfrm>
            <a:off x="608012" y="5195887"/>
            <a:ext cx="10974387" cy="776287"/>
          </a:xfrm>
          <a:prstGeom prst="rect">
            <a:avLst/>
          </a:prstGeom>
        </p:spPr>
        <p:txBody>
          <a:bodyPr vert="horz" lIns="0" tIns="0" rIns="0" bIns="0" rtlCol="0" anchor="t" anchorCtr="0">
            <a:noAutofit/>
          </a:bodyPr>
          <a:lstStyle>
            <a:lvl1pPr marL="274320" indent="-274320" algn="l" defTabSz="913943" rtl="0" eaLnBrk="1" latinLnBrk="0" hangingPunct="1">
              <a:spcBef>
                <a:spcPct val="20000"/>
              </a:spcBef>
              <a:buClr>
                <a:schemeClr val="tx2"/>
              </a:buClr>
              <a:buSzPct val="100000"/>
              <a:buFont typeface="EYInterstate" panose="02000503020000020004" pitchFamily="2" charset="0"/>
              <a:buChar char="•"/>
              <a:defRPr sz="1999" kern="1200">
                <a:solidFill>
                  <a:schemeClr val="bg1"/>
                </a:solidFill>
                <a:latin typeface="EYInterstate Light" panose="02000506000000020004" pitchFamily="2" charset="0"/>
                <a:ea typeface="+mn-ea"/>
                <a:cs typeface="+mn-cs"/>
              </a:defRPr>
            </a:lvl1pPr>
            <a:lvl2pPr marL="548640" indent="-274320" algn="l" defTabSz="913943" rtl="0" eaLnBrk="1" latinLnBrk="0" hangingPunct="1">
              <a:spcBef>
                <a:spcPct val="20000"/>
              </a:spcBef>
              <a:buClr>
                <a:schemeClr val="tx2"/>
              </a:buClr>
              <a:buSzPct val="100000"/>
              <a:buFont typeface="EYInterstate" panose="02000503020000020004" pitchFamily="2" charset="0"/>
              <a:buChar char="•"/>
              <a:defRPr sz="1799" kern="1200">
                <a:solidFill>
                  <a:schemeClr val="bg1"/>
                </a:solidFill>
                <a:latin typeface="EYInterstate Light" panose="02000506000000020004" pitchFamily="2" charset="0"/>
                <a:ea typeface="+mn-ea"/>
                <a:cs typeface="+mn-cs"/>
              </a:defRPr>
            </a:lvl2pPr>
            <a:lvl3pPr marL="822960" indent="-274320" algn="l" defTabSz="913943" rtl="0" eaLnBrk="1" latinLnBrk="0" hangingPunct="1">
              <a:spcBef>
                <a:spcPct val="20000"/>
              </a:spcBef>
              <a:buClr>
                <a:schemeClr val="tx2"/>
              </a:buClr>
              <a:buSzPct val="100000"/>
              <a:buFont typeface="EYInterstate" panose="02000503020000020004" pitchFamily="2" charset="0"/>
              <a:buChar char="•"/>
              <a:defRPr sz="1599" kern="1200">
                <a:solidFill>
                  <a:schemeClr val="bg1"/>
                </a:solidFill>
                <a:latin typeface="EYInterstate Light" panose="02000506000000020004" pitchFamily="2" charset="0"/>
                <a:ea typeface="+mn-ea"/>
                <a:cs typeface="+mn-cs"/>
              </a:defRPr>
            </a:lvl3pPr>
            <a:lvl4pPr marL="1097280" indent="-274320" algn="l" defTabSz="913943" rtl="0" eaLnBrk="1" latinLnBrk="0" hangingPunct="1">
              <a:spcBef>
                <a:spcPct val="20000"/>
              </a:spcBef>
              <a:buClr>
                <a:schemeClr val="tx2"/>
              </a:buClr>
              <a:buSzPct val="100000"/>
              <a:buFont typeface="EYInterstate" panose="02000503020000020004" pitchFamily="2" charset="0"/>
              <a:buChar char="•"/>
              <a:defRPr sz="1399" kern="1200">
                <a:solidFill>
                  <a:schemeClr val="bg1"/>
                </a:solidFill>
                <a:latin typeface="EYInterstate Light" panose="02000506000000020004" pitchFamily="2" charset="0"/>
                <a:ea typeface="+mn-ea"/>
                <a:cs typeface="+mn-cs"/>
              </a:defRPr>
            </a:lvl4pPr>
            <a:lvl5pPr marL="1371600" indent="-274320" algn="l" defTabSz="913943" rtl="0" eaLnBrk="1" latinLnBrk="0" hangingPunct="1">
              <a:spcBef>
                <a:spcPct val="20000"/>
              </a:spcBef>
              <a:buClr>
                <a:schemeClr val="tx2"/>
              </a:buClr>
              <a:buSzPct val="100000"/>
              <a:buFont typeface="EYInterstate" panose="02000503020000020004" pitchFamily="2"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r>
              <a:rPr lang="en-US" sz="1800" dirty="0"/>
              <a:t>Any process that occurs beyond the mouth of the well that helps bring the gas to market is deductible. </a:t>
            </a:r>
          </a:p>
          <a:p>
            <a:r>
              <a:rPr lang="en-US" sz="1800" dirty="0"/>
              <a:t>The Texas Comptroller has posted the “Natural Gas Severance Taxes — Audit Policy on Marketing Costs” guide. The Oklahoma Tax Commission has a similar guide, “OAC 710:45 — Appendix A. Marketing Costs.”</a:t>
            </a:r>
          </a:p>
        </p:txBody>
      </p:sp>
    </p:spTree>
    <p:extLst>
      <p:ext uri="{BB962C8B-B14F-4D97-AF65-F5344CB8AC3E}">
        <p14:creationId xmlns:p14="http://schemas.microsoft.com/office/powerpoint/2010/main" val="9093684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D51DFFE9DD7874E83BA9A42BB769D48" ma:contentTypeVersion="18" ma:contentTypeDescription="Create a new document." ma:contentTypeScope="" ma:versionID="81c3268423ff8894ecf5705e799eafeb">
  <xsd:schema xmlns:xsd="http://www.w3.org/2001/XMLSchema" xmlns:xs="http://www.w3.org/2001/XMLSchema" xmlns:p="http://schemas.microsoft.com/office/2006/metadata/properties" xmlns:ns2="f89660e8-e0a9-45eb-9416-243e16fe8619" xmlns:ns3="e4623d91-ca87-4728-acea-0769948bf67f" xmlns:ns4="50c908b1-f277-4340-90a9-4611d0b0f078" targetNamespace="http://schemas.microsoft.com/office/2006/metadata/properties" ma:root="true" ma:fieldsID="a2d7c896ed956df8ce47be54ba6d9a75" ns2:_="" ns3:_="" ns4:_="">
    <xsd:import namespace="f89660e8-e0a9-45eb-9416-243e16fe8619"/>
    <xsd:import namespace="e4623d91-ca87-4728-acea-0769948bf67f"/>
    <xsd:import namespace="50c908b1-f277-4340-90a9-4611d0b0f078"/>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MediaServiceLocation" minOccurs="0"/>
                <xsd:element ref="ns2:MediaLengthInSeconds" minOccurs="0"/>
                <xsd:element ref="ns3:SharedWithUsers" minOccurs="0"/>
                <xsd:element ref="ns3:SharedWithDetails" minOccurs="0"/>
                <xsd:element ref="ns2:lcf76f155ced4ddcb4097134ff3c332f" minOccurs="0"/>
                <xsd:element ref="ns4: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89660e8-e0a9-45eb-9416-243e16fe861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33ef62f9-2e07-484b-bd79-00aec90129fe"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4623d91-ca87-4728-acea-0769948bf67f" elementFormDefault="qualified">
    <xsd:import namespace="http://schemas.microsoft.com/office/2006/documentManagement/types"/>
    <xsd:import namespace="http://schemas.microsoft.com/office/infopath/2007/PartnerControls"/>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0c908b1-f277-4340-90a9-4611d0b0f078"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5ac822ac-089b-40f6-a02c-fc88003351f7}" ma:internalName="TaxCatchAll" ma:showField="CatchAllData" ma:web="e4623d91-ca87-4728-acea-0769948bf67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f89660e8-e0a9-45eb-9416-243e16fe8619">
      <Terms xmlns="http://schemas.microsoft.com/office/infopath/2007/PartnerControls"/>
    </lcf76f155ced4ddcb4097134ff3c332f>
    <TaxCatchAll xmlns="50c908b1-f277-4340-90a9-4611d0b0f078"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1DAFBCB-FD39-4A7A-953D-BAA4E2797F2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89660e8-e0a9-45eb-9416-243e16fe8619"/>
    <ds:schemaRef ds:uri="e4623d91-ca87-4728-acea-0769948bf67f"/>
    <ds:schemaRef ds:uri="50c908b1-f277-4340-90a9-4611d0b0f07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CCDBCDE-DADD-4F87-9198-FA9D01DDA5F1}">
  <ds:schemaRefs>
    <ds:schemaRef ds:uri="http://purl.org/dc/elements/1.1/"/>
    <ds:schemaRef ds:uri="http://schemas.microsoft.com/office/infopath/2007/PartnerControls"/>
    <ds:schemaRef ds:uri="http://schemas.microsoft.com/office/2006/metadata/properties"/>
    <ds:schemaRef ds:uri="http://www.w3.org/XML/1998/namespace"/>
    <ds:schemaRef ds:uri="http://purl.org/dc/dcmitype/"/>
    <ds:schemaRef ds:uri="http://schemas.microsoft.com/office/2006/documentManagement/types"/>
    <ds:schemaRef ds:uri="f89660e8-e0a9-45eb-9416-243e16fe8619"/>
    <ds:schemaRef ds:uri="http://purl.org/dc/terms/"/>
    <ds:schemaRef ds:uri="http://schemas.openxmlformats.org/package/2006/metadata/core-properties"/>
    <ds:schemaRef ds:uri="50c908b1-f277-4340-90a9-4611d0b0f078"/>
    <ds:schemaRef ds:uri="e4623d91-ca87-4728-acea-0769948bf67f"/>
  </ds:schemaRefs>
</ds:datastoreItem>
</file>

<file path=customXml/itemProps3.xml><?xml version="1.0" encoding="utf-8"?>
<ds:datastoreItem xmlns:ds="http://schemas.openxmlformats.org/officeDocument/2006/customXml" ds:itemID="{B003AFA8-5CD2-43DA-BEA6-9012C9F3C74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2309</TotalTime>
  <Words>2879</Words>
  <Application>Microsoft Office PowerPoint</Application>
  <PresentationFormat>Widescreen</PresentationFormat>
  <Paragraphs>365</Paragraphs>
  <Slides>18</Slides>
  <Notes>3</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8" baseType="lpstr">
      <vt:lpstr>Aptos</vt:lpstr>
      <vt:lpstr>Arial</vt:lpstr>
      <vt:lpstr>EYInterstate</vt:lpstr>
      <vt:lpstr>EYInterstate Light</vt:lpstr>
      <vt:lpstr>EYInterstate Regular</vt:lpstr>
      <vt:lpstr>Georgia</vt:lpstr>
      <vt:lpstr>Inter-Regular</vt:lpstr>
      <vt:lpstr>Times New Roman</vt:lpstr>
      <vt:lpstr>EY dark background</vt:lpstr>
      <vt:lpstr>think-cell Slide</vt:lpstr>
      <vt:lpstr>Severance tax Ernst &amp; Young LLP </vt:lpstr>
      <vt:lpstr>Disclaimer</vt:lpstr>
      <vt:lpstr>PowerPoint Presentation</vt:lpstr>
      <vt:lpstr>Overview of severance tax</vt:lpstr>
      <vt:lpstr>State severance tax rates</vt:lpstr>
      <vt:lpstr>Texas severance tax</vt:lpstr>
      <vt:lpstr>Texas severance tax: reporting requirements</vt:lpstr>
      <vt:lpstr>Texas severance tax: market value</vt:lpstr>
      <vt:lpstr>Texas severance tax: marketing costs</vt:lpstr>
      <vt:lpstr>Netback calculation: valuation point</vt:lpstr>
      <vt:lpstr>Texas severance tax: tax reimbursement language</vt:lpstr>
      <vt:lpstr>Texas severance tax: tax reimbursement language example</vt:lpstr>
      <vt:lpstr>Texas severance tax exemptions</vt:lpstr>
      <vt:lpstr>Texas severance tax exemptions</vt:lpstr>
      <vt:lpstr>Oklahoma Gross Production Tax: oil and gas  </vt:lpstr>
      <vt:lpstr>Oklahoma severance tax and legislation</vt:lpstr>
      <vt:lpstr>Oklahoma severance tax: marketing cost deduction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Hanna Peng</dc:creator>
  <cp:lastModifiedBy>Joseph Fonger</cp:lastModifiedBy>
  <cp:revision>16</cp:revision>
  <cp:lastPrinted>2024-10-16T21:48:48Z</cp:lastPrinted>
  <dcterms:created xsi:type="dcterms:W3CDTF">2024-09-09T18:56:48Z</dcterms:created>
  <dcterms:modified xsi:type="dcterms:W3CDTF">2024-10-22T04:20: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WppReportCurrencySymbol">
    <vt:lpwstr>$</vt:lpwstr>
  </property>
  <property fmtid="{D5CDD505-2E9C-101B-9397-08002B2CF9AE}" pid="3" name="WppReportIsTocUpdateRecommended">
    <vt:bool>true</vt:bool>
  </property>
  <property fmtid="{D5CDD505-2E9C-101B-9397-08002B2CF9AE}" pid="4" name="WppReportVersion">
    <vt:lpwstr>Version 1.0</vt:lpwstr>
  </property>
  <property fmtid="{D5CDD505-2E9C-101B-9397-08002B2CF9AE}" pid="5" name="WppReportTocTitleText">
    <vt:lpwstr>Table of contents</vt:lpwstr>
  </property>
  <property fmtid="{D5CDD505-2E9C-101B-9397-08002B2CF9AE}" pid="6" name="WppReportPropertiesLastWrittenToDocument">
    <vt:filetime>2024-04-01T23:21:31Z</vt:filetime>
  </property>
  <property fmtid="{D5CDD505-2E9C-101B-9397-08002B2CF9AE}" pid="7" name="WppReportDate">
    <vt:lpwstr/>
  </property>
  <property fmtid="{D5CDD505-2E9C-101B-9397-08002B2CF9AE}" pid="8" name="MediaServiceImageTags">
    <vt:lpwstr/>
  </property>
  <property fmtid="{D5CDD505-2E9C-101B-9397-08002B2CF9AE}" pid="9" name="WppReportShortPageNumberFormat">
    <vt:lpwstr>Page &lt;#&gt;</vt:lpwstr>
  </property>
  <property fmtid="{D5CDD505-2E9C-101B-9397-08002B2CF9AE}" pid="10" name="WppReportLongPageNumberFormat">
    <vt:lpwstr>Page &lt;#&gt; of &lt;PageCount&gt;</vt:lpwstr>
  </property>
  <property fmtid="{D5CDD505-2E9C-101B-9397-08002B2CF9AE}" pid="11" name="WppReportDashboardTitleText">
    <vt:lpwstr>Dashboard</vt:lpwstr>
  </property>
  <property fmtid="{D5CDD505-2E9C-101B-9397-08002B2CF9AE}" pid="12" name="ContentTypeId">
    <vt:lpwstr>0x0101002D51DFFE9DD7874E83BA9A42BB769D48</vt:lpwstr>
  </property>
  <property fmtid="{D5CDD505-2E9C-101B-9397-08002B2CF9AE}" pid="13" name="WppReportDraft">
    <vt:lpwstr>(Draft)</vt:lpwstr>
  </property>
</Properties>
</file>